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1.xml" ContentType="application/vnd.openxmlformats-officedocument.presentationml.notesSlide+xml"/>
  <Override PartName="/ppt/tags/tag64.xml" ContentType="application/vnd.openxmlformats-officedocument.presentationml.tags+xml"/>
  <Override PartName="/ppt/notesSlides/notesSlide2.xml" ContentType="application/vnd.openxmlformats-officedocument.presentationml.notesSlide+xml"/>
  <Override PartName="/ppt/tags/tag65.xml" ContentType="application/vnd.openxmlformats-officedocument.presentationml.tags+xml"/>
  <Override PartName="/ppt/notesSlides/notesSlide3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89.xml" ContentType="application/vnd.openxmlformats-officedocument.presentationml.tags+xml"/>
  <Override PartName="/ppt/notesSlides/notesSlide4.xml" ContentType="application/vnd.openxmlformats-officedocument.presentationml.notesSlide+xml"/>
  <Override PartName="/ppt/tags/tag90.xml" ContentType="application/vnd.openxmlformats-officedocument.presentationml.tags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5.xml" ContentType="application/vnd.openxmlformats-officedocument.presentationml.notesSlide+xml"/>
  <Override PartName="/ppt/tags/tag97.xml" ContentType="application/vnd.openxmlformats-officedocument.presentationml.tags+xml"/>
  <Override PartName="/ppt/notesSlides/notesSlide6.xml" ContentType="application/vnd.openxmlformats-officedocument.presentationml.notesSlide+xml"/>
  <Override PartName="/ppt/tags/tag9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84" r:id="rId2"/>
  </p:sldMasterIdLst>
  <p:notesMasterIdLst>
    <p:notesMasterId r:id="rId16"/>
  </p:notesMasterIdLst>
  <p:handoutMasterIdLst>
    <p:handoutMasterId r:id="rId17"/>
  </p:handoutMasterIdLst>
  <p:sldIdLst>
    <p:sldId id="503" r:id="rId3"/>
    <p:sldId id="545" r:id="rId4"/>
    <p:sldId id="551" r:id="rId5"/>
    <p:sldId id="550" r:id="rId6"/>
    <p:sldId id="546" r:id="rId7"/>
    <p:sldId id="552" r:id="rId8"/>
    <p:sldId id="554" r:id="rId9"/>
    <p:sldId id="553" r:id="rId10"/>
    <p:sldId id="544" r:id="rId11"/>
    <p:sldId id="542" r:id="rId12"/>
    <p:sldId id="549" r:id="rId13"/>
    <p:sldId id="555" r:id="rId14"/>
    <p:sldId id="529" r:id="rId15"/>
  </p:sldIdLst>
  <p:sldSz cx="19010313" cy="10693400"/>
  <p:notesSz cx="6797675" cy="9926638"/>
  <p:custDataLst>
    <p:tags r:id="rId18"/>
  </p:custDataLst>
  <p:defaultTextStyle>
    <a:defPPr>
      <a:defRPr lang="ru-RU"/>
    </a:defPPr>
    <a:lvl1pPr marL="0" algn="l" defTabSz="1425751" rtl="0" eaLnBrk="1" latinLnBrk="0" hangingPunct="1">
      <a:defRPr sz="2807" kern="1200">
        <a:solidFill>
          <a:schemeClr val="tx1"/>
        </a:solidFill>
        <a:latin typeface="+mn-lt"/>
        <a:ea typeface="+mn-ea"/>
        <a:cs typeface="+mn-cs"/>
      </a:defRPr>
    </a:lvl1pPr>
    <a:lvl2pPr marL="712875" algn="l" defTabSz="1425751" rtl="0" eaLnBrk="1" latinLnBrk="0" hangingPunct="1">
      <a:defRPr sz="2807" kern="1200">
        <a:solidFill>
          <a:schemeClr val="tx1"/>
        </a:solidFill>
        <a:latin typeface="+mn-lt"/>
        <a:ea typeface="+mn-ea"/>
        <a:cs typeface="+mn-cs"/>
      </a:defRPr>
    </a:lvl2pPr>
    <a:lvl3pPr marL="1425751" algn="l" defTabSz="1425751" rtl="0" eaLnBrk="1" latinLnBrk="0" hangingPunct="1">
      <a:defRPr sz="2807" kern="1200">
        <a:solidFill>
          <a:schemeClr val="tx1"/>
        </a:solidFill>
        <a:latin typeface="+mn-lt"/>
        <a:ea typeface="+mn-ea"/>
        <a:cs typeface="+mn-cs"/>
      </a:defRPr>
    </a:lvl3pPr>
    <a:lvl4pPr marL="2138624" algn="l" defTabSz="1425751" rtl="0" eaLnBrk="1" latinLnBrk="0" hangingPunct="1">
      <a:defRPr sz="2807" kern="1200">
        <a:solidFill>
          <a:schemeClr val="tx1"/>
        </a:solidFill>
        <a:latin typeface="+mn-lt"/>
        <a:ea typeface="+mn-ea"/>
        <a:cs typeface="+mn-cs"/>
      </a:defRPr>
    </a:lvl4pPr>
    <a:lvl5pPr marL="2851500" algn="l" defTabSz="1425751" rtl="0" eaLnBrk="1" latinLnBrk="0" hangingPunct="1">
      <a:defRPr sz="2807" kern="1200">
        <a:solidFill>
          <a:schemeClr val="tx1"/>
        </a:solidFill>
        <a:latin typeface="+mn-lt"/>
        <a:ea typeface="+mn-ea"/>
        <a:cs typeface="+mn-cs"/>
      </a:defRPr>
    </a:lvl5pPr>
    <a:lvl6pPr marL="3564375" algn="l" defTabSz="1425751" rtl="0" eaLnBrk="1" latinLnBrk="0" hangingPunct="1">
      <a:defRPr sz="2807" kern="1200">
        <a:solidFill>
          <a:schemeClr val="tx1"/>
        </a:solidFill>
        <a:latin typeface="+mn-lt"/>
        <a:ea typeface="+mn-ea"/>
        <a:cs typeface="+mn-cs"/>
      </a:defRPr>
    </a:lvl6pPr>
    <a:lvl7pPr marL="4277249" algn="l" defTabSz="1425751" rtl="0" eaLnBrk="1" latinLnBrk="0" hangingPunct="1">
      <a:defRPr sz="2807" kern="1200">
        <a:solidFill>
          <a:schemeClr val="tx1"/>
        </a:solidFill>
        <a:latin typeface="+mn-lt"/>
        <a:ea typeface="+mn-ea"/>
        <a:cs typeface="+mn-cs"/>
      </a:defRPr>
    </a:lvl7pPr>
    <a:lvl8pPr marL="4990124" algn="l" defTabSz="1425751" rtl="0" eaLnBrk="1" latinLnBrk="0" hangingPunct="1">
      <a:defRPr sz="2807" kern="1200">
        <a:solidFill>
          <a:schemeClr val="tx1"/>
        </a:solidFill>
        <a:latin typeface="+mn-lt"/>
        <a:ea typeface="+mn-ea"/>
        <a:cs typeface="+mn-cs"/>
      </a:defRPr>
    </a:lvl8pPr>
    <a:lvl9pPr marL="5702998" algn="l" defTabSz="1425751" rtl="0" eaLnBrk="1" latinLnBrk="0" hangingPunct="1">
      <a:defRPr sz="280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965" userDrawn="1">
          <p15:clr>
            <a:srgbClr val="A4A3A4"/>
          </p15:clr>
        </p15:guide>
        <p15:guide id="4" pos="11635" userDrawn="1">
          <p15:clr>
            <a:srgbClr val="A4A3A4"/>
          </p15:clr>
        </p15:guide>
        <p15:guide id="5" orient="horz" pos="26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Zen" initials="ZKM" lastIdx="3" clrIdx="0"/>
  <p:cmAuthor id="7" name="Либефорт Евгения Александровна" initials="ЛЕА" lastIdx="18" clrIdx="7">
    <p:extLst>
      <p:ext uri="{19B8F6BF-5375-455C-9EA6-DF929625EA0E}">
        <p15:presenceInfo xmlns:p15="http://schemas.microsoft.com/office/powerpoint/2012/main" userId="Либефорт Евгения Александровна" providerId="None"/>
      </p:ext>
    </p:extLst>
  </p:cmAuthor>
  <p:cmAuthor id="1" name="Смирнова Галина Юрьевна" initials="СГЮ" lastIdx="17" clrIdx="1">
    <p:extLst>
      <p:ext uri="{19B8F6BF-5375-455C-9EA6-DF929625EA0E}">
        <p15:presenceInfo xmlns:p15="http://schemas.microsoft.com/office/powerpoint/2012/main" userId="Смирнова Галина Юрьевна" providerId="None"/>
      </p:ext>
    </p:extLst>
  </p:cmAuthor>
  <p:cmAuthor id="8" name="Рогожникова Елизавета Евгеньевна" initials="РЕЕ" lastIdx="6" clrIdx="8">
    <p:extLst>
      <p:ext uri="{19B8F6BF-5375-455C-9EA6-DF929625EA0E}">
        <p15:presenceInfo xmlns:p15="http://schemas.microsoft.com/office/powerpoint/2012/main" userId="Рогожникова Елизавета Евгеньевна" providerId="None"/>
      </p:ext>
    </p:extLst>
  </p:cmAuthor>
  <p:cmAuthor id="2" name="Слуцкая Марина Витальевна" initials="СМВ" lastIdx="102" clrIdx="2">
    <p:extLst>
      <p:ext uri="{19B8F6BF-5375-455C-9EA6-DF929625EA0E}">
        <p15:presenceInfo xmlns:p15="http://schemas.microsoft.com/office/powerpoint/2012/main" userId="Слуцкая Марина Витальевна" providerId="None"/>
      </p:ext>
    </p:extLst>
  </p:cmAuthor>
  <p:cmAuthor id="3" name="Пучков Александр Владимирович" initials="ПАВ" lastIdx="6" clrIdx="3">
    <p:extLst>
      <p:ext uri="{19B8F6BF-5375-455C-9EA6-DF929625EA0E}">
        <p15:presenceInfo xmlns:p15="http://schemas.microsoft.com/office/powerpoint/2012/main" userId="Пучков Александр Владимирович" providerId="None"/>
      </p:ext>
    </p:extLst>
  </p:cmAuthor>
  <p:cmAuthor id="4" name="Ахметова Зиля Фаридовна" initials="АЗФ" lastIdx="3" clrIdx="4">
    <p:extLst>
      <p:ext uri="{19B8F6BF-5375-455C-9EA6-DF929625EA0E}">
        <p15:presenceInfo xmlns:p15="http://schemas.microsoft.com/office/powerpoint/2012/main" userId="Ахметова Зиля Фаридовна" providerId="None"/>
      </p:ext>
    </p:extLst>
  </p:cmAuthor>
  <p:cmAuthor id="5" name="Глотова Елизавета Павловна" initials="ГЕП" lastIdx="7" clrIdx="5">
    <p:extLst>
      <p:ext uri="{19B8F6BF-5375-455C-9EA6-DF929625EA0E}">
        <p15:presenceInfo xmlns:p15="http://schemas.microsoft.com/office/powerpoint/2012/main" userId="Глотова Елизавета Павловна" providerId="None"/>
      </p:ext>
    </p:extLst>
  </p:cmAuthor>
  <p:cmAuthor id="6" name="Admin" initials="A" lastIdx="1" clrIdx="6">
    <p:extLst>
      <p:ext uri="{19B8F6BF-5375-455C-9EA6-DF929625EA0E}">
        <p15:presenceInfo xmlns:p15="http://schemas.microsoft.com/office/powerpoint/2012/main" userId="f4bc932410d4984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5912F"/>
    <a:srgbClr val="000000"/>
    <a:srgbClr val="D2E8B7"/>
    <a:srgbClr val="F9F9F9"/>
    <a:srgbClr val="FDE7E7"/>
    <a:srgbClr val="FBEFD1"/>
    <a:srgbClr val="F8E3AE"/>
    <a:srgbClr val="F5D3D3"/>
    <a:srgbClr val="EEB8B8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Средний стиль 3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Средний стиль 3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66" autoAdjust="0"/>
    <p:restoredTop sz="93800" autoAdjust="0"/>
  </p:normalViewPr>
  <p:slideViewPr>
    <p:cSldViewPr snapToGrid="0">
      <p:cViewPr varScale="1">
        <p:scale>
          <a:sx n="72" d="100"/>
          <a:sy n="72" d="100"/>
        </p:scale>
        <p:origin x="216" y="102"/>
      </p:cViewPr>
      <p:guideLst>
        <p:guide pos="5965"/>
        <p:guide pos="11635"/>
        <p:guide orient="horz" pos="264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8" d="100"/>
          <a:sy n="78" d="100"/>
        </p:scale>
        <p:origin x="4062" y="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\\ahml1\Agency\&#1054;&#1073;&#1097;&#1080;&#1077;%20&#1087;&#1088;&#1086;&#1077;&#1082;&#1090;&#1099;\ESG\5.%20&#1057;&#1051;&#1040;&#1049;&#1044;&#1067;%20&#1080;%20&#1090;&#1072;&#1073;&#1083;&#1080;&#1094;&#1099;%20&#1080;%20&#1089;&#1087;&#1088;&#1072;&#1074;&#1082;&#1080;\&#1040;&#1053;&#1060;\&#1044;&#1083;&#1103;%20&#1040;&#1062;%20&#1041;&#1072;&#1085;&#1082;&#1072;\20230906_&#1059;&#1056;_&#1079;&#1072;&#1089;&#1090;&#1088;&#1086;&#1081;&#1097;&#1080;&#1082;&#1086;&#1074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\\ahml1\Agency\&#1054;&#1073;&#1097;&#1080;&#1077;%20&#1087;&#1088;&#1086;&#1077;&#1082;&#1090;&#1099;\ESG\5.%20&#1057;&#1051;&#1040;&#1049;&#1044;&#1067;%20&#1080;%20&#1090;&#1072;&#1073;&#1083;&#1080;&#1094;&#1099;%20&#1080;%20&#1089;&#1087;&#1088;&#1072;&#1074;&#1082;&#1080;\&#1040;&#1053;&#1060;\&#1044;&#1083;&#1103;%20&#1040;&#1062;%20&#1041;&#1072;&#1085;&#1082;&#1072;\20230906_&#1059;&#1056;_&#1079;&#1072;&#1089;&#1090;&#1088;&#1086;&#1081;&#1097;&#1080;&#1082;&#1086;&#1074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351874244256349"/>
          <c:y val="4.3514644351464432E-2"/>
          <c:w val="0.65961305925030234"/>
          <c:h val="0.9129707112970710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BE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5E2-40FD-9883-99192AA1D854}"/>
              </c:ext>
            </c:extLst>
          </c:dPt>
          <c:dPt>
            <c:idx val="1"/>
            <c:bubble3D val="0"/>
            <c:spPr>
              <a:solidFill>
                <a:srgbClr val="C8CBC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5E2-40FD-9883-99192AA1D854}"/>
              </c:ext>
            </c:extLst>
          </c:dPt>
          <c:dPt>
            <c:idx val="2"/>
            <c:bubble3D val="0"/>
            <c:spPr>
              <a:solidFill>
                <a:srgbClr val="F2F2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05E2-40FD-9883-99192AA1D854}"/>
              </c:ext>
            </c:extLst>
          </c:dPt>
          <c:dPt>
            <c:idx val="3"/>
            <c:bubble3D val="0"/>
            <c:spPr>
              <a:solidFill>
                <a:srgbClr val="BADB9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05E2-40FD-9883-99192AA1D854}"/>
              </c:ext>
            </c:extLst>
          </c:dPt>
          <c:dPt>
            <c:idx val="4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05E2-40FD-9883-99192AA1D854}"/>
              </c:ext>
            </c:extLst>
          </c:dPt>
          <c:dPt>
            <c:idx val="5"/>
            <c:bubble3D val="0"/>
            <c:spPr>
              <a:solidFill>
                <a:srgbClr val="ABBCC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05E2-40FD-9883-99192AA1D854}"/>
              </c:ext>
            </c:extLst>
          </c:dPt>
          <c:dPt>
            <c:idx val="6"/>
            <c:bubble3D val="0"/>
            <c:spPr>
              <a:solidFill>
                <a:srgbClr val="68767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05E2-40FD-9883-99192AA1D854}"/>
              </c:ext>
            </c:extLst>
          </c:dPt>
          <c:dPt>
            <c:idx val="7"/>
            <c:bubble3D val="0"/>
            <c:spPr>
              <a:solidFill>
                <a:srgbClr val="58646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05E2-40FD-9883-99192AA1D854}"/>
              </c:ext>
            </c:extLst>
          </c:dPt>
          <c:dLbls>
            <c:dLbl>
              <c:idx val="0"/>
              <c:layout>
                <c:manualLayout>
                  <c:x val="-8.4643288996372433E-3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2200" b="1" kern="120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5DEAEEE-E35E-4827-BCFC-3D2196E1E03B}" type="VALUE">
                      <a:rPr lang="en-US" sz="2200">
                        <a:solidFill>
                          <a:schemeClr val="tx2"/>
                        </a:solidFill>
                      </a:rPr>
                      <a:pPr>
                        <a:defRPr sz="2200" b="1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5E2-40FD-9883-99192AA1D854}"/>
                </c:ext>
              </c:extLst>
            </c:dLbl>
            <c:dLbl>
              <c:idx val="1"/>
              <c:layout>
                <c:manualLayout>
                  <c:x val="5.4413542926239422E-3"/>
                  <c:y val="-4.7698744769874478E-2"/>
                </c:manualLayout>
              </c:layout>
              <c:tx>
                <c:rich>
                  <a:bodyPr wrap="none"/>
                  <a:lstStyle/>
                  <a:p>
                    <a:pPr>
                      <a:defRPr sz="2200" b="1" kern="120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B15446E-6636-4BDC-A1DF-F937B1A96399}" type="VALUE">
                      <a:rPr lang="en-US" sz="2200">
                        <a:solidFill>
                          <a:schemeClr val="tx2"/>
                        </a:solidFill>
                      </a:rPr>
                      <a:pPr>
                        <a:defRPr sz="2200" b="1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05E2-40FD-9883-99192AA1D854}"/>
                </c:ext>
              </c:extLst>
            </c:dLbl>
            <c:dLbl>
              <c:idx val="2"/>
              <c:layout>
                <c:manualLayout>
                  <c:x val="6.0459492140266021E-3"/>
                  <c:y val="-5.8577405857740588E-3"/>
                </c:manualLayout>
              </c:layout>
              <c:tx>
                <c:rich>
                  <a:bodyPr wrap="none"/>
                  <a:lstStyle/>
                  <a:p>
                    <a:pPr>
                      <a:defRPr sz="2200" b="1" kern="120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26B793C-E33C-4A89-9576-59718791E183}" type="VALUE">
                      <a:rPr lang="en-US" sz="2200">
                        <a:solidFill>
                          <a:schemeClr val="tx2"/>
                        </a:solidFill>
                      </a:rPr>
                      <a:pPr>
                        <a:defRPr sz="2200" b="1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05E2-40FD-9883-99192AA1D854}"/>
                </c:ext>
              </c:extLst>
            </c:dLbl>
            <c:dLbl>
              <c:idx val="4"/>
              <c:layout>
                <c:manualLayout>
                  <c:x val="1.9951632406287789E-2"/>
                  <c:y val="1.0878661087866108E-2"/>
                </c:manualLayout>
              </c:layout>
              <c:tx>
                <c:rich>
                  <a:bodyPr wrap="none"/>
                  <a:lstStyle/>
                  <a:p>
                    <a:pPr>
                      <a:defRPr sz="2200" b="1" kern="120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6F88E84-0B94-4AE9-9561-3A19F13DB06B}" type="VALUE">
                      <a:rPr lang="en-US" sz="2200">
                        <a:solidFill>
                          <a:schemeClr val="tx2"/>
                        </a:solidFill>
                      </a:rPr>
                      <a:pPr>
                        <a:defRPr sz="2200" b="1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05E2-40FD-9883-99192AA1D8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200">
                    <a:solidFill>
                      <a:schemeClr val="tx2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8</c:f>
              <c:numCache>
                <c:formatCode>General</c:formatCode>
                <c:ptCount val="8"/>
                <c:pt idx="0">
                  <c:v>45</c:v>
                </c:pt>
                <c:pt idx="1">
                  <c:v>15</c:v>
                </c:pt>
                <c:pt idx="2">
                  <c:v>14.000000000000002</c:v>
                </c:pt>
                <c:pt idx="3">
                  <c:v>3</c:v>
                </c:pt>
                <c:pt idx="4">
                  <c:v>9</c:v>
                </c:pt>
                <c:pt idx="5">
                  <c:v>6</c:v>
                </c:pt>
                <c:pt idx="6">
                  <c:v>5</c:v>
                </c:pt>
                <c:pt idx="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05E2-40FD-9883-99192AA1D8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351874244256349"/>
          <c:y val="4.3514644351464432E-2"/>
          <c:w val="0.65961305925030234"/>
          <c:h val="0.9129707112970710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BE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DFB-4795-A60B-2709076B7B2D}"/>
              </c:ext>
            </c:extLst>
          </c:dPt>
          <c:dPt>
            <c:idx val="1"/>
            <c:bubble3D val="0"/>
            <c:spPr>
              <a:solidFill>
                <a:srgbClr val="C8CBC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DFB-4795-A60B-2709076B7B2D}"/>
              </c:ext>
            </c:extLst>
          </c:dPt>
          <c:dPt>
            <c:idx val="2"/>
            <c:bubble3D val="0"/>
            <c:spPr>
              <a:solidFill>
                <a:srgbClr val="F2F2F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ADFB-4795-A60B-2709076B7B2D}"/>
              </c:ext>
            </c:extLst>
          </c:dPt>
          <c:dPt>
            <c:idx val="3"/>
            <c:bubble3D val="0"/>
            <c:spPr>
              <a:solidFill>
                <a:srgbClr val="BADB9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ADFB-4795-A60B-2709076B7B2D}"/>
              </c:ext>
            </c:extLst>
          </c:dPt>
          <c:dPt>
            <c:idx val="4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ADFB-4795-A60B-2709076B7B2D}"/>
              </c:ext>
            </c:extLst>
          </c:dPt>
          <c:dPt>
            <c:idx val="5"/>
            <c:bubble3D val="0"/>
            <c:spPr>
              <a:solidFill>
                <a:srgbClr val="ABBCC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ADFB-4795-A60B-2709076B7B2D}"/>
              </c:ext>
            </c:extLst>
          </c:dPt>
          <c:dPt>
            <c:idx val="6"/>
            <c:bubble3D val="0"/>
            <c:spPr>
              <a:solidFill>
                <a:srgbClr val="68767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ADFB-4795-A60B-2709076B7B2D}"/>
              </c:ext>
            </c:extLst>
          </c:dPt>
          <c:dPt>
            <c:idx val="7"/>
            <c:bubble3D val="0"/>
            <c:spPr>
              <a:solidFill>
                <a:srgbClr val="58646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ADFB-4795-A60B-2709076B7B2D}"/>
              </c:ext>
            </c:extLst>
          </c:dPt>
          <c:dLbls>
            <c:dLbl>
              <c:idx val="0"/>
              <c:layout>
                <c:manualLayout>
                  <c:x val="-8.4643288996372433E-3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2200" b="1" kern="120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200" dirty="0">
                        <a:solidFill>
                          <a:schemeClr val="tx2"/>
                        </a:solidFill>
                      </a:rPr>
                      <a:t>36%</a:t>
                    </a:r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DFB-4795-A60B-2709076B7B2D}"/>
                </c:ext>
              </c:extLst>
            </c:dLbl>
            <c:dLbl>
              <c:idx val="1"/>
              <c:layout>
                <c:manualLayout>
                  <c:x val="5.4413542926239422E-3"/>
                  <c:y val="-4.7698744769874478E-2"/>
                </c:manualLayout>
              </c:layout>
              <c:tx>
                <c:rich>
                  <a:bodyPr wrap="none"/>
                  <a:lstStyle/>
                  <a:p>
                    <a:pPr>
                      <a:defRPr sz="2200" b="1" kern="120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200" dirty="0">
                        <a:solidFill>
                          <a:schemeClr val="tx2"/>
                        </a:solidFill>
                      </a:rPr>
                      <a:t>26%</a:t>
                    </a:r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DFB-4795-A60B-2709076B7B2D}"/>
                </c:ext>
              </c:extLst>
            </c:dLbl>
            <c:dLbl>
              <c:idx val="2"/>
              <c:layout>
                <c:manualLayout>
                  <c:x val="6.0459492140266021E-3"/>
                  <c:y val="-5.8577405857740588E-3"/>
                </c:manualLayout>
              </c:layout>
              <c:tx>
                <c:rich>
                  <a:bodyPr wrap="none"/>
                  <a:lstStyle/>
                  <a:p>
                    <a:pPr>
                      <a:defRPr sz="2200" b="1" kern="120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200" dirty="0">
                        <a:solidFill>
                          <a:schemeClr val="tx2"/>
                        </a:solidFill>
                      </a:rPr>
                      <a:t>26%</a:t>
                    </a:r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DFB-4795-A60B-2709076B7B2D}"/>
                </c:ext>
              </c:extLst>
            </c:dLbl>
            <c:dLbl>
              <c:idx val="4"/>
              <c:layout>
                <c:manualLayout>
                  <c:x val="1.2178269959335719E-2"/>
                  <c:y val="4.6742276029712093E-2"/>
                </c:manualLayout>
              </c:layout>
              <c:tx>
                <c:rich>
                  <a:bodyPr wrap="none"/>
                  <a:lstStyle/>
                  <a:p>
                    <a:pPr>
                      <a:defRPr sz="2200" b="1" kern="120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200" dirty="0">
                        <a:solidFill>
                          <a:schemeClr val="tx2"/>
                        </a:solidFill>
                      </a:rPr>
                      <a:t>6%</a:t>
                    </a:r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DFB-4795-A60B-2709076B7B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200">
                    <a:solidFill>
                      <a:schemeClr val="tx2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8</c:f>
              <c:numCache>
                <c:formatCode>0%</c:formatCode>
                <c:ptCount val="8"/>
                <c:pt idx="0">
                  <c:v>0.36</c:v>
                </c:pt>
                <c:pt idx="1">
                  <c:v>0.26</c:v>
                </c:pt>
                <c:pt idx="2">
                  <c:v>0.26</c:v>
                </c:pt>
                <c:pt idx="3">
                  <c:v>0.06</c:v>
                </c:pt>
                <c:pt idx="4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ADFB-4795-A60B-2709076B7B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673341766824004E-2"/>
          <c:y val="7.2122052704576972E-2"/>
          <c:w val="0.97599600372800377"/>
          <c:h val="0.855755894590846"/>
        </c:manualLayout>
      </c:layout>
      <c:areaChart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axId val="1355505968"/>
        <c:axId val="1"/>
      </c:areaChart>
      <c:catAx>
        <c:axId val="13555059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55505968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5465393794749408E-3"/>
          <c:y val="7.6470588235294124E-2"/>
          <c:w val="0.98090692124105017"/>
          <c:h val="0.84705882352941175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val>
            <c:numRef>
              <c:f>Sheet1!$A$1:$E$1</c:f>
              <c:numCache>
                <c:formatCode>General</c:formatCode>
                <c:ptCount val="5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7C-4310-A99D-D75E0C0C75E1}"/>
            </c:ext>
          </c:extLst>
        </c:ser>
        <c:ser>
          <c:idx val="1"/>
          <c:order val="1"/>
          <c:spPr>
            <a:solidFill>
              <a:srgbClr val="BADB91"/>
            </a:solidFill>
            <a:ln>
              <a:noFill/>
            </a:ln>
          </c:spPr>
          <c:val>
            <c:numRef>
              <c:f>Sheet1!$A$2:$E$2</c:f>
              <c:numCache>
                <c:formatCode>General</c:formatCode>
                <c:ptCount val="5"/>
                <c:pt idx="0">
                  <c:v>0</c:v>
                </c:pt>
                <c:pt idx="1">
                  <c:v>8</c:v>
                </c:pt>
                <c:pt idx="2">
                  <c:v>13</c:v>
                </c:pt>
                <c:pt idx="3">
                  <c:v>16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7C-4310-A99D-D75E0C0C75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92073056"/>
        <c:axId val="1"/>
      </c:areaChart>
      <c:catAx>
        <c:axId val="18920730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bg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92073056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 sz="1400" b="1" dirty="0">
                <a:solidFill>
                  <a:schemeClr val="tx1"/>
                </a:solidFill>
              </a:rPr>
              <a:t>Количество</a:t>
            </a:r>
            <a:r>
              <a:rPr lang="ru-RU" sz="1400" b="1" baseline="0" dirty="0">
                <a:solidFill>
                  <a:schemeClr val="tx1"/>
                </a:solidFill>
              </a:rPr>
              <a:t> зелёных домов</a:t>
            </a:r>
            <a:endParaRPr lang="ru-RU" sz="1400" b="1" dirty="0">
              <a:solidFill>
                <a:schemeClr val="tx1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cked"/>
        <c:varyColors val="0"/>
        <c:ser>
          <c:idx val="0"/>
          <c:order val="0"/>
          <c:tx>
            <c:v>Ряд1</c:v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Топ застройщиков'!$P$36:$S$36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numCache>
            </c:numRef>
          </c:cat>
          <c:val>
            <c:numRef>
              <c:f>'Топ застройщиков'!$P$31:$S$31</c:f>
              <c:numCache>
                <c:formatCode>General</c:formatCode>
                <c:ptCount val="4"/>
                <c:pt idx="0">
                  <c:v>78</c:v>
                </c:pt>
                <c:pt idx="1">
                  <c:v>297</c:v>
                </c:pt>
                <c:pt idx="2">
                  <c:v>523</c:v>
                </c:pt>
                <c:pt idx="3">
                  <c:v>6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19C-44A9-B1C9-28D5AFFE4D01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731571295"/>
        <c:axId val="1731567135"/>
      </c:lineChart>
      <c:dateAx>
        <c:axId val="17315712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31567135"/>
        <c:crosses val="autoZero"/>
        <c:auto val="0"/>
        <c:lblOffset val="100"/>
        <c:baseTimeUnit val="days"/>
      </c:dateAx>
      <c:valAx>
        <c:axId val="17315671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731571295"/>
        <c:crossesAt val="1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 sz="1400" b="1" dirty="0">
                <a:solidFill>
                  <a:schemeClr val="tx1"/>
                </a:solidFill>
              </a:rPr>
              <a:t>Количество </a:t>
            </a:r>
            <a:r>
              <a:rPr lang="ru-RU" sz="1400" b="1" dirty="0" err="1">
                <a:solidFill>
                  <a:schemeClr val="tx1"/>
                </a:solidFill>
              </a:rPr>
              <a:t>энергоэффективных</a:t>
            </a:r>
            <a:r>
              <a:rPr lang="ru-RU" sz="1400" b="1" dirty="0">
                <a:solidFill>
                  <a:schemeClr val="tx1"/>
                </a:solidFill>
              </a:rPr>
              <a:t> домов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1</c:v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Топ застройщиков'!$P$36:$S$36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numCache>
            </c:numRef>
          </c:cat>
          <c:val>
            <c:numRef>
              <c:f>'Топ застройщиков'!$T$31:$W$31</c:f>
              <c:numCache>
                <c:formatCode>General</c:formatCode>
                <c:ptCount val="4"/>
                <c:pt idx="0">
                  <c:v>111</c:v>
                </c:pt>
                <c:pt idx="1">
                  <c:v>373</c:v>
                </c:pt>
                <c:pt idx="2">
                  <c:v>624</c:v>
                </c:pt>
                <c:pt idx="3">
                  <c:v>7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333-4B83-88E7-E800589B3565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509885759"/>
        <c:axId val="1509889087"/>
      </c:lineChart>
      <c:catAx>
        <c:axId val="15098857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09889087"/>
        <c:crosses val="autoZero"/>
        <c:auto val="1"/>
        <c:lblAlgn val="ctr"/>
        <c:lblOffset val="100"/>
        <c:noMultiLvlLbl val="0"/>
      </c:catAx>
      <c:valAx>
        <c:axId val="15098890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09885759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6400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3"/>
            <a:ext cx="2946400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AF21F0-B5AA-44B3-A1D1-861E42B1959A}" type="datetimeFigureOut">
              <a:rPr lang="ru-RU" smtClean="0"/>
              <a:pPr/>
              <a:t>12.09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7830"/>
            <a:ext cx="2946400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7830"/>
            <a:ext cx="2946400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2FAFEC-A59F-456E-8DE8-E6C8C6BD783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2090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3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8" y="3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ED5F50-9CB4-4354-93D5-81E7382320EB}" type="datetimeFigureOut">
              <a:rPr lang="ru-RU" smtClean="0"/>
              <a:pPr/>
              <a:t>12.09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428586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8" y="9428586"/>
            <a:ext cx="2945659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F26E4C-C26C-4AB6-BC3B-0231819F3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757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425751" rtl="0" eaLnBrk="1" latinLnBrk="0" hangingPunct="1">
      <a:defRPr sz="1871" kern="1200">
        <a:solidFill>
          <a:schemeClr val="tx1"/>
        </a:solidFill>
        <a:latin typeface="+mn-lt"/>
        <a:ea typeface="+mn-ea"/>
        <a:cs typeface="+mn-cs"/>
      </a:defRPr>
    </a:lvl1pPr>
    <a:lvl2pPr marL="712875" algn="l" defTabSz="1425751" rtl="0" eaLnBrk="1" latinLnBrk="0" hangingPunct="1">
      <a:defRPr sz="1871" kern="1200">
        <a:solidFill>
          <a:schemeClr val="tx1"/>
        </a:solidFill>
        <a:latin typeface="+mn-lt"/>
        <a:ea typeface="+mn-ea"/>
        <a:cs typeface="+mn-cs"/>
      </a:defRPr>
    </a:lvl2pPr>
    <a:lvl3pPr marL="1425751" algn="l" defTabSz="1425751" rtl="0" eaLnBrk="1" latinLnBrk="0" hangingPunct="1">
      <a:defRPr sz="1871" kern="1200">
        <a:solidFill>
          <a:schemeClr val="tx1"/>
        </a:solidFill>
        <a:latin typeface="+mn-lt"/>
        <a:ea typeface="+mn-ea"/>
        <a:cs typeface="+mn-cs"/>
      </a:defRPr>
    </a:lvl3pPr>
    <a:lvl4pPr marL="2138624" algn="l" defTabSz="1425751" rtl="0" eaLnBrk="1" latinLnBrk="0" hangingPunct="1">
      <a:defRPr sz="1871" kern="1200">
        <a:solidFill>
          <a:schemeClr val="tx1"/>
        </a:solidFill>
        <a:latin typeface="+mn-lt"/>
        <a:ea typeface="+mn-ea"/>
        <a:cs typeface="+mn-cs"/>
      </a:defRPr>
    </a:lvl4pPr>
    <a:lvl5pPr marL="2851500" algn="l" defTabSz="1425751" rtl="0" eaLnBrk="1" latinLnBrk="0" hangingPunct="1">
      <a:defRPr sz="1871" kern="1200">
        <a:solidFill>
          <a:schemeClr val="tx1"/>
        </a:solidFill>
        <a:latin typeface="+mn-lt"/>
        <a:ea typeface="+mn-ea"/>
        <a:cs typeface="+mn-cs"/>
      </a:defRPr>
    </a:lvl5pPr>
    <a:lvl6pPr marL="3564375" algn="l" defTabSz="1425751" rtl="0" eaLnBrk="1" latinLnBrk="0" hangingPunct="1">
      <a:defRPr sz="1871" kern="1200">
        <a:solidFill>
          <a:schemeClr val="tx1"/>
        </a:solidFill>
        <a:latin typeface="+mn-lt"/>
        <a:ea typeface="+mn-ea"/>
        <a:cs typeface="+mn-cs"/>
      </a:defRPr>
    </a:lvl6pPr>
    <a:lvl7pPr marL="4277249" algn="l" defTabSz="1425751" rtl="0" eaLnBrk="1" latinLnBrk="0" hangingPunct="1">
      <a:defRPr sz="1871" kern="1200">
        <a:solidFill>
          <a:schemeClr val="tx1"/>
        </a:solidFill>
        <a:latin typeface="+mn-lt"/>
        <a:ea typeface="+mn-ea"/>
        <a:cs typeface="+mn-cs"/>
      </a:defRPr>
    </a:lvl7pPr>
    <a:lvl8pPr marL="4990124" algn="l" defTabSz="1425751" rtl="0" eaLnBrk="1" latinLnBrk="0" hangingPunct="1">
      <a:defRPr sz="1871" kern="1200">
        <a:solidFill>
          <a:schemeClr val="tx1"/>
        </a:solidFill>
        <a:latin typeface="+mn-lt"/>
        <a:ea typeface="+mn-ea"/>
        <a:cs typeface="+mn-cs"/>
      </a:defRPr>
    </a:lvl8pPr>
    <a:lvl9pPr marL="5702998" algn="l" defTabSz="1425751" rtl="0" eaLnBrk="1" latinLnBrk="0" hangingPunct="1">
      <a:defRPr sz="187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2:notes"/>
          <p:cNvSpPr txBox="1">
            <a:spLocks noGrp="1"/>
          </p:cNvSpPr>
          <p:nvPr>
            <p:ph type="body" idx="1"/>
          </p:nvPr>
        </p:nvSpPr>
        <p:spPr>
          <a:xfrm>
            <a:off x="679768" y="4681974"/>
            <a:ext cx="5438140" cy="4435555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9" name="Google Shape;5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" y="739775"/>
            <a:ext cx="6569075" cy="3695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584529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Google Shape;67;g113a34e5a1f_0_37:notes"/>
          <p:cNvSpPr>
            <a:spLocks noGrp="1"/>
          </p:cNvSpPr>
          <p:nvPr>
            <p:ph type="body" idx="1"/>
          </p:nvPr>
        </p:nvSpPr>
        <p:spPr bwMode="auto">
          <a:xfrm>
            <a:off x="1001473" y="2974323"/>
            <a:ext cx="8011784" cy="281777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5" tIns="45700" rIns="91425" bIns="4570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buSzPts val="1400"/>
            </a:pPr>
            <a:endParaRPr lang="ru-RU" altLang="ru-RU"/>
          </a:p>
        </p:txBody>
      </p:sp>
      <p:sp>
        <p:nvSpPr>
          <p:cNvPr id="23555" name="Google Shape;68;g113a34e5a1f_0_37:notes"/>
          <p:cNvSpPr>
            <a:spLocks noGrp="1" noRot="1" noChangeAspect="1" noTextEdit="1"/>
          </p:cNvSpPr>
          <p:nvPr>
            <p:ph type="sldImg" idx="2"/>
          </p:nvPr>
        </p:nvSpPr>
        <p:spPr bwMode="auto">
          <a:xfrm>
            <a:off x="2919413" y="469900"/>
            <a:ext cx="4175125" cy="2347913"/>
          </a:xfrm>
          <a:custGeom>
            <a:avLst/>
            <a:gdLst>
              <a:gd name="T0" fmla="*/ 0 w 120000"/>
              <a:gd name="T1" fmla="*/ 0 h 120000"/>
              <a:gd name="T2" fmla="*/ 2147483646 w 120000"/>
              <a:gd name="T3" fmla="*/ 0 h 120000"/>
              <a:gd name="T4" fmla="*/ 2147483646 w 120000"/>
              <a:gd name="T5" fmla="*/ 2147483646 h 120000"/>
              <a:gd name="T6" fmla="*/ 0 w 120000"/>
              <a:gd name="T7" fmla="*/ 2147483646 h 120000"/>
              <a:gd name="T8" fmla="*/ 0 w 120000"/>
              <a:gd name="T9" fmla="*/ 0 h 12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lnTo>
                  <a:pt x="0" y="0"/>
                </a:lnTo>
                <a:close/>
              </a:path>
            </a:pathLst>
          </a:custGeom>
          <a:noFill/>
          <a:ln cap="flat">
            <a:solidFill>
              <a:srgbClr val="00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</p:spTree>
    <p:extLst>
      <p:ext uri="{BB962C8B-B14F-4D97-AF65-F5344CB8AC3E}">
        <p14:creationId xmlns:p14="http://schemas.microsoft.com/office/powerpoint/2010/main" val="21437433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113a34e5a1f_0_37:notes"/>
          <p:cNvSpPr txBox="1">
            <a:spLocks noGrp="1"/>
          </p:cNvSpPr>
          <p:nvPr>
            <p:ph type="body" idx="1"/>
          </p:nvPr>
        </p:nvSpPr>
        <p:spPr>
          <a:xfrm>
            <a:off x="685801" y="4467841"/>
            <a:ext cx="5486400" cy="4232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68" name="Google Shape;68;g113a34e5a1f_0_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93688" y="704850"/>
            <a:ext cx="6270625" cy="35274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9886480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681288" y="512763"/>
            <a:ext cx="4564062" cy="25685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D32C24F-3273-471A-8B91-CAACF7E15C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80EC6-76D4-45AB-BAA9-C419E70E344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860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113a34e5a1f_0_37:notes"/>
          <p:cNvSpPr txBox="1">
            <a:spLocks noGrp="1"/>
          </p:cNvSpPr>
          <p:nvPr>
            <p:ph type="body" idx="1"/>
          </p:nvPr>
        </p:nvSpPr>
        <p:spPr>
          <a:xfrm>
            <a:off x="469630" y="3024637"/>
            <a:ext cx="3757039" cy="2865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2964" tIns="31474" rIns="62964" bIns="31474" anchor="t" anchorCtr="0">
            <a:noAutofit/>
          </a:bodyPr>
          <a:lstStyle/>
          <a:p>
            <a:pPr>
              <a:buSzPts val="1400"/>
            </a:pPr>
            <a:endParaRPr/>
          </a:p>
        </p:txBody>
      </p:sp>
      <p:sp>
        <p:nvSpPr>
          <p:cNvPr id="68" name="Google Shape;68;g113a34e5a1f_0_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7013" y="477838"/>
            <a:ext cx="4241800" cy="23876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7558633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g113a34e5a1f_0_37:notes"/>
          <p:cNvSpPr txBox="1">
            <a:spLocks noGrp="1"/>
          </p:cNvSpPr>
          <p:nvPr>
            <p:ph type="body" idx="1"/>
          </p:nvPr>
        </p:nvSpPr>
        <p:spPr>
          <a:xfrm>
            <a:off x="469630" y="3024637"/>
            <a:ext cx="3757039" cy="2865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2964" tIns="31474" rIns="62964" bIns="31474" anchor="t" anchorCtr="0">
            <a:noAutofit/>
          </a:bodyPr>
          <a:lstStyle/>
          <a:p>
            <a:pPr>
              <a:buSzPts val="1400"/>
            </a:pPr>
            <a:endParaRPr/>
          </a:p>
        </p:txBody>
      </p:sp>
      <p:sp>
        <p:nvSpPr>
          <p:cNvPr id="68" name="Google Shape;68;g113a34e5a1f_0_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7013" y="477838"/>
            <a:ext cx="4241800" cy="23876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8681038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13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0159907"/>
              </p:ext>
            </p:extLst>
          </p:nvPr>
        </p:nvGraphicFramePr>
        <p:xfrm>
          <a:off x="3307" y="2478"/>
          <a:ext cx="3299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07" y="2478"/>
                        <a:ext cx="3299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751568" y="5031666"/>
            <a:ext cx="17501110" cy="6301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3143" marR="9258">
              <a:lnSpc>
                <a:spcPct val="101099"/>
              </a:lnSpc>
              <a:tabLst>
                <a:tab pos="4815954" algn="l"/>
              </a:tabLst>
              <a:defRPr sz="4054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4054" dirty="0">
                <a:latin typeface="Arial"/>
                <a:cs typeface="Arial"/>
              </a:rPr>
              <a:t>Название презентации</a:t>
            </a:r>
            <a:endParaRPr sz="4054" dirty="0">
              <a:latin typeface="Arial"/>
              <a:cs typeface="Arial"/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751567" y="1869265"/>
            <a:ext cx="17737969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751567" y="8824137"/>
            <a:ext cx="17737969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751569" y="5786868"/>
            <a:ext cx="17501112" cy="3839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2495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/>
              <a:t>Адресат презентации, дата</a:t>
            </a:r>
          </a:p>
        </p:txBody>
      </p:sp>
      <p:pic>
        <p:nvPicPr>
          <p:cNvPr id="8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CB4A08B5-62D0-9B19-C0D2-353F336ABE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17490061" y="678259"/>
            <a:ext cx="1005391" cy="1053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34221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3307" y="2477"/>
          <a:ext cx="3301" cy="2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3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07" y="2477"/>
                        <a:ext cx="3301" cy="2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hape 233"/>
          <p:cNvSpPr>
            <a:spLocks noChangeArrowheads="1"/>
          </p:cNvSpPr>
          <p:nvPr userDrawn="1"/>
        </p:nvSpPr>
        <p:spPr bwMode="auto">
          <a:xfrm>
            <a:off x="18445524" y="10418790"/>
            <a:ext cx="408765" cy="205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>
              <a:lnSpc>
                <a:spcPts val="1560"/>
              </a:lnSpc>
            </a:pPr>
            <a:fld id="{9341A735-39CE-4E30-A45B-8F69B017A70B}" type="slidenum">
              <a:rPr lang="ru-RU" altLang="ru-RU" sz="1634" b="1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pPr algn="ctr" eaLnBrk="1">
                <a:lnSpc>
                  <a:spcPts val="1560"/>
                </a:lnSpc>
              </a:pPr>
              <a:t>‹#›</a:t>
            </a:fld>
            <a:r>
              <a:rPr lang="ru-RU" altLang="ru-RU" sz="1634" b="1" dirty="0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val="21718647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3307" y="2477"/>
          <a:ext cx="3301" cy="2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7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07" y="2477"/>
                        <a:ext cx="3301" cy="2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751568" y="2887372"/>
            <a:ext cx="17501111" cy="84010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2398" marR="4959">
              <a:lnSpc>
                <a:spcPct val="101099"/>
              </a:lnSpc>
              <a:tabLst>
                <a:tab pos="2579859" algn="l"/>
              </a:tabLst>
              <a:defRPr sz="5405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5405" dirty="0">
                <a:latin typeface="Arial"/>
                <a:cs typeface="Arial"/>
              </a:rPr>
              <a:t>Название презентации</a:t>
            </a:r>
            <a:endParaRPr sz="5405" dirty="0">
              <a:latin typeface="Arial"/>
              <a:cs typeface="Arial"/>
            </a:endParaRPr>
          </a:p>
        </p:txBody>
      </p:sp>
      <p:pic>
        <p:nvPicPr>
          <p:cNvPr id="5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17175491" y="787260"/>
            <a:ext cx="1083255" cy="851778"/>
          </a:xfrm>
          <a:prstGeom prst="rect">
            <a:avLst/>
          </a:prstGeom>
        </p:spPr>
      </p:pic>
      <p:grpSp>
        <p:nvGrpSpPr>
          <p:cNvPr id="6" name="Группа 2"/>
          <p:cNvGrpSpPr/>
          <p:nvPr userDrawn="1"/>
        </p:nvGrpSpPr>
        <p:grpSpPr>
          <a:xfrm>
            <a:off x="751576" y="1869272"/>
            <a:ext cx="17507175" cy="6954872"/>
            <a:chOff x="361505" y="1198816"/>
            <a:chExt cx="8420988" cy="4460369"/>
          </a:xfrm>
        </p:grpSpPr>
        <p:cxnSp>
          <p:nvCxnSpPr>
            <p:cNvPr id="7" name="Прямая соединительная линия 10"/>
            <p:cNvCxnSpPr/>
            <p:nvPr userDrawn="1"/>
          </p:nvCxnSpPr>
          <p:spPr>
            <a:xfrm>
              <a:off x="361505" y="1198816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Прямая соединительная линия 11"/>
            <p:cNvCxnSpPr/>
            <p:nvPr userDrawn="1"/>
          </p:nvCxnSpPr>
          <p:spPr>
            <a:xfrm>
              <a:off x="361505" y="5659185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751570" y="5786869"/>
            <a:ext cx="17501111" cy="51196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332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18879927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303" y="2477"/>
          <a:ext cx="3300" cy="2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1" name="Слайд think-cell" r:id="rId5" imgW="229" imgH="229" progId="TCLayout.ActiveDocument.1">
                  <p:embed/>
                </p:oleObj>
              </mc:Choice>
              <mc:Fallback>
                <p:oleObj name="Слайд think-cell" r:id="rId5" imgW="229" imgH="229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303" y="2477"/>
                        <a:ext cx="3300" cy="2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748437" y="10270418"/>
            <a:ext cx="16914688" cy="28794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87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ru-RU" dirty="0"/>
              <a:t>Источники:</a:t>
            </a:r>
          </a:p>
        </p:txBody>
      </p:sp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748438" y="416080"/>
            <a:ext cx="17513438" cy="666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950453" hangingPunct="0">
              <a:lnSpc>
                <a:spcPts val="5198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4641475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3304" y="2478"/>
          <a:ext cx="3299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9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04" y="2478"/>
                        <a:ext cx="3299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751569" y="5031666"/>
            <a:ext cx="17501110" cy="6301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2398" marR="4959">
              <a:lnSpc>
                <a:spcPct val="101099"/>
              </a:lnSpc>
              <a:tabLst>
                <a:tab pos="2579859" algn="l"/>
              </a:tabLst>
              <a:defRPr sz="4054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4054" dirty="0">
                <a:latin typeface="Arial"/>
                <a:cs typeface="Arial"/>
              </a:rPr>
              <a:t>Название презентации</a:t>
            </a:r>
            <a:endParaRPr sz="4054" dirty="0">
              <a:latin typeface="Arial"/>
              <a:cs typeface="Arial"/>
            </a:endParaRPr>
          </a:p>
        </p:txBody>
      </p:sp>
      <p:pic>
        <p:nvPicPr>
          <p:cNvPr id="8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1268"/>
          <a:stretch/>
        </p:blipFill>
        <p:spPr>
          <a:xfrm>
            <a:off x="17550501" y="709770"/>
            <a:ext cx="944948" cy="945774"/>
          </a:xfrm>
          <a:prstGeom prst="rect">
            <a:avLst/>
          </a:prstGeom>
        </p:spPr>
      </p:pic>
      <p:cxnSp>
        <p:nvCxnSpPr>
          <p:cNvPr id="11" name="Прямая соединительная линия 10"/>
          <p:cNvCxnSpPr/>
          <p:nvPr userDrawn="1"/>
        </p:nvCxnSpPr>
        <p:spPr>
          <a:xfrm>
            <a:off x="751566" y="1869265"/>
            <a:ext cx="17737969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751566" y="8824137"/>
            <a:ext cx="17737969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751570" y="5786869"/>
            <a:ext cx="17501112" cy="3839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2495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212518092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3304" y="2478"/>
          <a:ext cx="3299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3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304" y="2478"/>
                        <a:ext cx="3299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748438" y="390255"/>
            <a:ext cx="17737969" cy="500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defTabSz="712869" hangingPunct="0">
              <a:lnSpc>
                <a:spcPts val="3898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983123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304" y="2478"/>
          <a:ext cx="3299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7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04" y="2478"/>
                        <a:ext cx="3299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523620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 userDrawn="1">
  <p:cSld name="Заголовок и объект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AE3343E8-8949-A6E2-A522-EF5DDF6095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302" y="3302"/>
          <a:ext cx="3301" cy="33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1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AE3343E8-8949-A6E2-A522-EF5DDF6095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02" y="3302"/>
                        <a:ext cx="3301" cy="33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917845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3306" y="2478"/>
          <a:ext cx="3299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5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306" y="2478"/>
                        <a:ext cx="3299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748439" y="390256"/>
            <a:ext cx="17737969" cy="500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defTabSz="712883" hangingPunct="0">
              <a:lnSpc>
                <a:spcPts val="3898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553124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3305" y="2478"/>
          <a:ext cx="3299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9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305" y="2478"/>
                        <a:ext cx="3299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748438" y="390255"/>
            <a:ext cx="17737969" cy="500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defTabSz="712889" hangingPunct="0">
              <a:lnSpc>
                <a:spcPts val="3898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4275131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1325759"/>
              </p:ext>
            </p:extLst>
          </p:nvPr>
        </p:nvGraphicFramePr>
        <p:xfrm>
          <a:off x="3307" y="2478"/>
          <a:ext cx="3299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3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307" y="2478"/>
                        <a:ext cx="3299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748438" y="390257"/>
            <a:ext cx="17737969" cy="500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defTabSz="712845" hangingPunct="0">
              <a:lnSpc>
                <a:spcPts val="3898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178109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C50F0F6-A4F6-C4BC-B09D-4720830800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8438" y="390253"/>
            <a:ext cx="17737969" cy="57581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7DC99E0-8AFA-7135-0AF9-9AE8B64FB0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44212" y="406230"/>
            <a:ext cx="1599924" cy="566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385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0159907"/>
              </p:ext>
            </p:extLst>
          </p:nvPr>
        </p:nvGraphicFramePr>
        <p:xfrm>
          <a:off x="3307" y="2478"/>
          <a:ext cx="3299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7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07" y="2478"/>
                        <a:ext cx="3299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751568" y="5031666"/>
            <a:ext cx="17501110" cy="6301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3143" marR="9258">
              <a:lnSpc>
                <a:spcPct val="101099"/>
              </a:lnSpc>
              <a:tabLst>
                <a:tab pos="4815954" algn="l"/>
              </a:tabLst>
              <a:defRPr sz="4054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4054" dirty="0">
                <a:latin typeface="Arial"/>
                <a:cs typeface="Arial"/>
              </a:rPr>
              <a:t>Название презентации</a:t>
            </a:r>
            <a:endParaRPr sz="4054" dirty="0">
              <a:latin typeface="Arial"/>
              <a:cs typeface="Arial"/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751567" y="1869265"/>
            <a:ext cx="17737969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751567" y="8824137"/>
            <a:ext cx="17737969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751569" y="5786868"/>
            <a:ext cx="17501112" cy="3839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2495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/>
              <a:t>Адресат презентации, дат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1902FCE-88C5-8469-BE67-C5DBDCDF406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92212" y="667358"/>
            <a:ext cx="3005116" cy="1064565"/>
          </a:xfrm>
          <a:prstGeom prst="rect">
            <a:avLst/>
          </a:prstGeom>
        </p:spPr>
      </p:pic>
      <p:pic>
        <p:nvPicPr>
          <p:cNvPr id="8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7E6F4114-8406-DE82-18A5-854ED1FBE0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17490061" y="678259"/>
            <a:ext cx="1005391" cy="1053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0020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307" y="2478"/>
          <a:ext cx="3299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1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07" y="2478"/>
                        <a:ext cx="3299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720513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3307" y="2477"/>
          <a:ext cx="3301" cy="2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0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07" y="2477"/>
                        <a:ext cx="3301" cy="2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hape 233"/>
          <p:cNvSpPr>
            <a:spLocks noChangeArrowheads="1"/>
          </p:cNvSpPr>
          <p:nvPr userDrawn="1"/>
        </p:nvSpPr>
        <p:spPr bwMode="auto">
          <a:xfrm>
            <a:off x="18445524" y="10418790"/>
            <a:ext cx="408765" cy="205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>
              <a:lnSpc>
                <a:spcPts val="1560"/>
              </a:lnSpc>
            </a:pPr>
            <a:fld id="{9341A735-39CE-4E30-A45B-8F69B017A70B}" type="slidenum">
              <a:rPr lang="ru-RU" altLang="ru-RU" sz="1634" b="1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pPr algn="ctr" eaLnBrk="1">
                <a:lnSpc>
                  <a:spcPts val="1560"/>
                </a:lnSpc>
              </a:pPr>
              <a:t>‹#›</a:t>
            </a:fld>
            <a:r>
              <a:rPr lang="ru-RU" altLang="ru-RU" sz="1634" b="1" dirty="0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val="26061926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3304" y="2486"/>
          <a:ext cx="3299" cy="2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6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304" y="2486"/>
                        <a:ext cx="3299" cy="2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748437" y="10306419"/>
            <a:ext cx="16914688" cy="21595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1403"/>
            </a:lvl1pPr>
          </a:lstStyle>
          <a:p>
            <a:pPr lvl="0"/>
            <a:r>
              <a:rPr lang="ru-RU" dirty="0"/>
              <a:t>Источник:</a:t>
            </a:r>
          </a:p>
        </p:txBody>
      </p:sp>
      <p:sp>
        <p:nvSpPr>
          <p:cNvPr id="8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748437" y="10034190"/>
            <a:ext cx="16914688" cy="19196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>
              <a:buNone/>
              <a:defRPr sz="1247" baseline="0"/>
            </a:lvl1pPr>
          </a:lstStyle>
          <a:p>
            <a:pPr lvl="0"/>
            <a:r>
              <a:rPr lang="ru-RU" dirty="0"/>
              <a:t>1 Сноска</a:t>
            </a:r>
          </a:p>
        </p:txBody>
      </p:sp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748438" y="416087"/>
            <a:ext cx="17513438" cy="500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lvl="0" defTabSz="712840" hangingPunct="0">
              <a:lnSpc>
                <a:spcPts val="3898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05062047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3303" y="3302"/>
          <a:ext cx="3300" cy="32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0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3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03" y="3302"/>
                        <a:ext cx="3300" cy="32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hape 233">
            <a:extLst>
              <a:ext uri="{FF2B5EF4-FFF2-40B4-BE49-F238E27FC236}">
                <a16:creationId xmlns:a16="http://schemas.microsoft.com/office/drawing/2014/main" id="{288B1FBB-E463-4BC8-B664-F0A8066072F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8129109" y="10311922"/>
            <a:ext cx="597372" cy="205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457200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defTabSz="457200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defTabSz="457200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defTabSz="457200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defTabSz="457200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algn="ctr" eaLnBrk="1">
              <a:lnSpc>
                <a:spcPts val="1638"/>
              </a:lnSpc>
            </a:pPr>
            <a:fld id="{55E3D9B7-FA1F-4746-87EB-02D681ED7F41}" type="slidenum">
              <a:rPr lang="ru-RU" altLang="ru-RU" sz="1247" b="1">
                <a:solidFill>
                  <a:srgbClr val="8FC54C"/>
                </a:solidFill>
                <a:ea typeface="Helvetica Neue" charset="0"/>
                <a:cs typeface="Helvetica Neue" charset="0"/>
                <a:sym typeface="Helvetica Neue" charset="0"/>
              </a:rPr>
              <a:pPr algn="ctr" eaLnBrk="1">
                <a:lnSpc>
                  <a:spcPts val="1638"/>
                </a:lnSpc>
              </a:pPr>
              <a:t>‹#›</a:t>
            </a:fld>
            <a:r>
              <a:rPr lang="ru-RU" altLang="ru-RU" sz="1247" b="1">
                <a:solidFill>
                  <a:srgbClr val="8FC54C"/>
                </a:solidFill>
                <a:ea typeface="Helvetica Neue" charset="0"/>
                <a:cs typeface="Helvetica Neue" charset="0"/>
                <a:sym typeface="Helvetica Neue" charset="0"/>
              </a:rPr>
              <a:t>￼</a:t>
            </a:r>
          </a:p>
        </p:txBody>
      </p:sp>
      <p:pic>
        <p:nvPicPr>
          <p:cNvPr id="5" name="Изображение 14" descr="1_Визитная карточка-04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73989" y="409256"/>
            <a:ext cx="521464" cy="5478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3303" y="3302"/>
          <a:ext cx="3300" cy="32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1" name="Слайд think-cell" r:id="rId8" imgW="286" imgH="286" progId="TCLayout.ActiveDocument.1">
                  <p:embed/>
                </p:oleObj>
              </mc:Choice>
              <mc:Fallback>
                <p:oleObj name="Слайд think-cell" r:id="rId8" imgW="286" imgH="286" progId="TCLayout.ActiveDocument.1">
                  <p:embed/>
                  <p:pic>
                    <p:nvPicPr>
                      <p:cNvPr id="7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03" y="3302"/>
                        <a:ext cx="3300" cy="32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748438" y="390256"/>
            <a:ext cx="17737969" cy="373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4141997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 type="obj">
  <p:cSld name="Заголовок и объект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14"/>
          <p:cNvSpPr txBox="1">
            <a:spLocks noGrp="1"/>
          </p:cNvSpPr>
          <p:nvPr>
            <p:ph type="title"/>
          </p:nvPr>
        </p:nvSpPr>
        <p:spPr>
          <a:xfrm>
            <a:off x="748438" y="297267"/>
            <a:ext cx="17513438" cy="5758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14"/>
          <p:cNvSpPr txBox="1">
            <a:spLocks noGrp="1"/>
          </p:cNvSpPr>
          <p:nvPr>
            <p:ph type="body" idx="1"/>
          </p:nvPr>
        </p:nvSpPr>
        <p:spPr>
          <a:xfrm>
            <a:off x="0" y="0"/>
            <a:ext cx="4677734" cy="4677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712845" marR="0" lvl="0" indent="-673245" algn="l" rtl="0">
              <a:lnSpc>
                <a:spcPct val="100000"/>
              </a:lnSpc>
              <a:spcBef>
                <a:spcPts val="998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4990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1pPr>
            <a:lvl2pPr marL="1425693" marR="0" lvl="1" indent="-633642" algn="l" rtl="0">
              <a:lnSpc>
                <a:spcPct val="100000"/>
              </a:lnSpc>
              <a:spcBef>
                <a:spcPts val="873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4366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2pPr>
            <a:lvl3pPr marL="2138538" marR="0" lvl="2" indent="-594039" algn="l" rtl="0">
              <a:lnSpc>
                <a:spcPct val="100000"/>
              </a:lnSpc>
              <a:spcBef>
                <a:spcPts val="748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3742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3pPr>
            <a:lvl4pPr marL="2851386" marR="0" lvl="3" indent="-554436" algn="l" rtl="0">
              <a:lnSpc>
                <a:spcPct val="100000"/>
              </a:lnSpc>
              <a:spcBef>
                <a:spcPts val="624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3119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4pPr>
            <a:lvl5pPr marL="3564231" marR="0" lvl="4" indent="-554436" algn="l" rtl="0">
              <a:lnSpc>
                <a:spcPct val="100000"/>
              </a:lnSpc>
              <a:spcBef>
                <a:spcPts val="624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3119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5pPr>
            <a:lvl6pPr marL="4277077" marR="0" lvl="5" indent="-554436" algn="l" rtl="0">
              <a:lnSpc>
                <a:spcPct val="100000"/>
              </a:lnSpc>
              <a:spcBef>
                <a:spcPts val="624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3119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6pPr>
            <a:lvl7pPr marL="4989924" marR="0" lvl="6" indent="-554436" algn="l" rtl="0">
              <a:lnSpc>
                <a:spcPct val="100000"/>
              </a:lnSpc>
              <a:spcBef>
                <a:spcPts val="624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3119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7pPr>
            <a:lvl8pPr marL="5702770" marR="0" lvl="7" indent="-554436" algn="l" rtl="0">
              <a:lnSpc>
                <a:spcPct val="100000"/>
              </a:lnSpc>
              <a:spcBef>
                <a:spcPts val="624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3119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8pPr>
            <a:lvl9pPr marL="6415615" marR="0" lvl="8" indent="-554436" algn="l" rtl="0">
              <a:lnSpc>
                <a:spcPct val="100000"/>
              </a:lnSpc>
              <a:spcBef>
                <a:spcPts val="624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3119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9pPr>
          </a:lstStyle>
          <a:p>
            <a:endParaRPr/>
          </a:p>
        </p:txBody>
      </p:sp>
      <p:sp>
        <p:nvSpPr>
          <p:cNvPr id="24" name="Google Shape;24;p1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4677734" cy="4677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9pPr>
          </a:lstStyle>
          <a:p>
            <a:endParaRPr/>
          </a:p>
        </p:txBody>
      </p:sp>
      <p:sp>
        <p:nvSpPr>
          <p:cNvPr id="25" name="Google Shape;25;p14"/>
          <p:cNvSpPr txBox="1">
            <a:spLocks noGrp="1"/>
          </p:cNvSpPr>
          <p:nvPr>
            <p:ph type="ftr" idx="11"/>
          </p:nvPr>
        </p:nvSpPr>
        <p:spPr>
          <a:xfrm>
            <a:off x="0" y="0"/>
            <a:ext cx="4677734" cy="4677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9pPr>
          </a:lstStyle>
          <a:p>
            <a:endParaRPr/>
          </a:p>
        </p:txBody>
      </p:sp>
      <p:sp>
        <p:nvSpPr>
          <p:cNvPr id="26" name="Google Shape;26;p14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4677734" cy="4677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2807" b="0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9pPr>
          </a:lstStyle>
          <a:p>
            <a:fld id="{00000000-1234-1234-1234-12341234123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46460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ags" Target="../tags/tag15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14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vmlDrawing" Target="../drawings/vmlDrawing9.v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1.emf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oleObject" Target="../embeddings/oleObject10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517987038"/>
              </p:ext>
            </p:extLst>
          </p:nvPr>
        </p:nvGraphicFramePr>
        <p:xfrm>
          <a:off x="3307" y="2478"/>
          <a:ext cx="3299" cy="2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" name="think-cell Slide" r:id="rId14" imgW="286" imgH="286" progId="TCLayout.ActiveDocument.1">
                  <p:embed/>
                </p:oleObj>
              </mc:Choice>
              <mc:Fallback>
                <p:oleObj name="think-cell Slide" r:id="rId1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3307" y="2478"/>
                        <a:ext cx="3299" cy="2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McK 2. Slide Title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748438" y="390257"/>
            <a:ext cx="17737969" cy="500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defTabSz="712845" hangingPunct="0">
              <a:lnSpc>
                <a:spcPts val="3898"/>
              </a:lnSpc>
            </a:pPr>
            <a:r>
              <a:rPr lang="ru-RU" altLang="zh-CN" dirty="0"/>
              <a:t>Образец заголовка</a:t>
            </a:r>
            <a:endParaRPr lang="en-US" altLang="zh-CN" dirty="0"/>
          </a:p>
        </p:txBody>
      </p:sp>
      <p:sp>
        <p:nvSpPr>
          <p:cNvPr id="6" name="Shape 233"/>
          <p:cNvSpPr>
            <a:spLocks noChangeArrowheads="1"/>
          </p:cNvSpPr>
          <p:nvPr userDrawn="1"/>
        </p:nvSpPr>
        <p:spPr bwMode="auto">
          <a:xfrm>
            <a:off x="18128001" y="10311796"/>
            <a:ext cx="598750" cy="205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>
              <a:lnSpc>
                <a:spcPts val="1638"/>
              </a:lnSpc>
            </a:pPr>
            <a:fld id="{9341A735-39CE-4E30-A45B-8F69B017A70B}" type="slidenum">
              <a:rPr lang="ru-RU" altLang="ru-RU" sz="1403" b="1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pPr algn="ctr" eaLnBrk="1">
                <a:lnSpc>
                  <a:spcPts val="1638"/>
                </a:lnSpc>
              </a:pPr>
              <a:t>‹#›</a:t>
            </a:fld>
            <a:r>
              <a:rPr lang="ru-RU" altLang="ru-RU" sz="1403" b="1" dirty="0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t>￼</a:t>
            </a:r>
          </a:p>
        </p:txBody>
      </p:sp>
      <p:pic>
        <p:nvPicPr>
          <p:cNvPr id="11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F9E03F81-FA92-7648-89D6-588C9ECD6A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17972975" y="409401"/>
            <a:ext cx="522399" cy="547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068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51" r:id="rId2"/>
    <p:sldLayoutId id="2147483680" r:id="rId3"/>
    <p:sldLayoutId id="2147483681" r:id="rId4"/>
    <p:sldLayoutId id="2147483682" r:id="rId5"/>
    <p:sldLayoutId id="2147483703" r:id="rId6"/>
    <p:sldLayoutId id="2147483706" r:id="rId7"/>
    <p:sldLayoutId id="2147483707" r:id="rId8"/>
    <p:sldLayoutId id="2147483709" r:id="rId9"/>
  </p:sldLayoutIdLst>
  <p:hf hdr="0" ftr="0" dt="0"/>
  <p:txStyles>
    <p:titleStyle>
      <a:lvl1pPr algn="l" defTabSz="1425693" rtl="0" eaLnBrk="1" latinLnBrk="0" hangingPunct="1">
        <a:lnSpc>
          <a:spcPct val="100000"/>
        </a:lnSpc>
        <a:spcBef>
          <a:spcPct val="0"/>
        </a:spcBef>
        <a:buNone/>
        <a:defRPr sz="3742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34636" indent="-534636" algn="l" defTabSz="1425693" rtl="0" eaLnBrk="1" latinLnBrk="0" hangingPunct="1">
        <a:spcBef>
          <a:spcPct val="20000"/>
        </a:spcBef>
        <a:buFont typeface="Arial" panose="020B0604020202020204" pitchFamily="34" charset="0"/>
        <a:buChar char="•"/>
        <a:defRPr sz="4990" kern="1200">
          <a:solidFill>
            <a:schemeClr val="tx1"/>
          </a:solidFill>
          <a:latin typeface="+mn-lt"/>
          <a:ea typeface="+mn-ea"/>
          <a:cs typeface="+mn-cs"/>
        </a:defRPr>
      </a:lvl1pPr>
      <a:lvl2pPr marL="1158375" indent="-445530" algn="l" defTabSz="1425693" rtl="0" eaLnBrk="1" latinLnBrk="0" hangingPunct="1">
        <a:spcBef>
          <a:spcPct val="20000"/>
        </a:spcBef>
        <a:buFont typeface="Arial" panose="020B0604020202020204" pitchFamily="34" charset="0"/>
        <a:buChar char="–"/>
        <a:defRPr sz="4366" kern="1200">
          <a:solidFill>
            <a:schemeClr val="tx1"/>
          </a:solidFill>
          <a:latin typeface="+mn-lt"/>
          <a:ea typeface="+mn-ea"/>
          <a:cs typeface="+mn-cs"/>
        </a:defRPr>
      </a:lvl2pPr>
      <a:lvl3pPr marL="1782115" indent="-356424" algn="l" defTabSz="1425693" rtl="0" eaLnBrk="1" latinLnBrk="0" hangingPunct="1">
        <a:spcBef>
          <a:spcPct val="20000"/>
        </a:spcBef>
        <a:buFont typeface="Arial" panose="020B0604020202020204" pitchFamily="34" charset="0"/>
        <a:buChar char="•"/>
        <a:defRPr sz="3742" kern="1200">
          <a:solidFill>
            <a:schemeClr val="tx1"/>
          </a:solidFill>
          <a:latin typeface="+mn-lt"/>
          <a:ea typeface="+mn-ea"/>
          <a:cs typeface="+mn-cs"/>
        </a:defRPr>
      </a:lvl3pPr>
      <a:lvl4pPr marL="2494962" indent="-356424" algn="l" defTabSz="1425693" rtl="0" eaLnBrk="1" latinLnBrk="0" hangingPunct="1">
        <a:spcBef>
          <a:spcPct val="20000"/>
        </a:spcBef>
        <a:buFont typeface="Arial" panose="020B0604020202020204" pitchFamily="34" charset="0"/>
        <a:buChar char="–"/>
        <a:defRPr sz="3119" kern="1200">
          <a:solidFill>
            <a:schemeClr val="tx1"/>
          </a:solidFill>
          <a:latin typeface="+mn-lt"/>
          <a:ea typeface="+mn-ea"/>
          <a:cs typeface="+mn-cs"/>
        </a:defRPr>
      </a:lvl4pPr>
      <a:lvl5pPr marL="3207808" indent="-356424" algn="l" defTabSz="1425693" rtl="0" eaLnBrk="1" latinLnBrk="0" hangingPunct="1">
        <a:spcBef>
          <a:spcPct val="20000"/>
        </a:spcBef>
        <a:buFont typeface="Arial" panose="020B0604020202020204" pitchFamily="34" charset="0"/>
        <a:buChar char="»"/>
        <a:defRPr sz="3119" kern="1200">
          <a:solidFill>
            <a:schemeClr val="tx1"/>
          </a:solidFill>
          <a:latin typeface="+mn-lt"/>
          <a:ea typeface="+mn-ea"/>
          <a:cs typeface="+mn-cs"/>
        </a:defRPr>
      </a:lvl5pPr>
      <a:lvl6pPr marL="3920655" indent="-356424" algn="l" defTabSz="1425693" rtl="0" eaLnBrk="1" latinLnBrk="0" hangingPunct="1">
        <a:spcBef>
          <a:spcPct val="20000"/>
        </a:spcBef>
        <a:buFont typeface="Arial" panose="020B0604020202020204" pitchFamily="34" charset="0"/>
        <a:buChar char="•"/>
        <a:defRPr sz="3119" kern="1200">
          <a:solidFill>
            <a:schemeClr val="tx1"/>
          </a:solidFill>
          <a:latin typeface="+mn-lt"/>
          <a:ea typeface="+mn-ea"/>
          <a:cs typeface="+mn-cs"/>
        </a:defRPr>
      </a:lvl6pPr>
      <a:lvl7pPr marL="4633501" indent="-356424" algn="l" defTabSz="1425693" rtl="0" eaLnBrk="1" latinLnBrk="0" hangingPunct="1">
        <a:spcBef>
          <a:spcPct val="20000"/>
        </a:spcBef>
        <a:buFont typeface="Arial" panose="020B0604020202020204" pitchFamily="34" charset="0"/>
        <a:buChar char="•"/>
        <a:defRPr sz="3119" kern="1200">
          <a:solidFill>
            <a:schemeClr val="tx1"/>
          </a:solidFill>
          <a:latin typeface="+mn-lt"/>
          <a:ea typeface="+mn-ea"/>
          <a:cs typeface="+mn-cs"/>
        </a:defRPr>
      </a:lvl7pPr>
      <a:lvl8pPr marL="5346346" indent="-356424" algn="l" defTabSz="1425693" rtl="0" eaLnBrk="1" latinLnBrk="0" hangingPunct="1">
        <a:spcBef>
          <a:spcPct val="20000"/>
        </a:spcBef>
        <a:buFont typeface="Arial" panose="020B0604020202020204" pitchFamily="34" charset="0"/>
        <a:buChar char="•"/>
        <a:defRPr sz="3119" kern="1200">
          <a:solidFill>
            <a:schemeClr val="tx1"/>
          </a:solidFill>
          <a:latin typeface="+mn-lt"/>
          <a:ea typeface="+mn-ea"/>
          <a:cs typeface="+mn-cs"/>
        </a:defRPr>
      </a:lvl8pPr>
      <a:lvl9pPr marL="6059194" indent="-356424" algn="l" defTabSz="1425693" rtl="0" eaLnBrk="1" latinLnBrk="0" hangingPunct="1">
        <a:spcBef>
          <a:spcPct val="20000"/>
        </a:spcBef>
        <a:buFont typeface="Arial" panose="020B0604020202020204" pitchFamily="34" charset="0"/>
        <a:buChar char="•"/>
        <a:defRPr sz="311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425693" rtl="0" eaLnBrk="1" latinLnBrk="0" hangingPunct="1">
        <a:defRPr sz="2807" kern="1200">
          <a:solidFill>
            <a:schemeClr val="tx1"/>
          </a:solidFill>
          <a:latin typeface="+mn-lt"/>
          <a:ea typeface="+mn-ea"/>
          <a:cs typeface="+mn-cs"/>
        </a:defRPr>
      </a:lvl1pPr>
      <a:lvl2pPr marL="712845" algn="l" defTabSz="1425693" rtl="0" eaLnBrk="1" latinLnBrk="0" hangingPunct="1">
        <a:defRPr sz="2807" kern="1200">
          <a:solidFill>
            <a:schemeClr val="tx1"/>
          </a:solidFill>
          <a:latin typeface="+mn-lt"/>
          <a:ea typeface="+mn-ea"/>
          <a:cs typeface="+mn-cs"/>
        </a:defRPr>
      </a:lvl2pPr>
      <a:lvl3pPr marL="1425693" algn="l" defTabSz="1425693" rtl="0" eaLnBrk="1" latinLnBrk="0" hangingPunct="1">
        <a:defRPr sz="2807" kern="1200">
          <a:solidFill>
            <a:schemeClr val="tx1"/>
          </a:solidFill>
          <a:latin typeface="+mn-lt"/>
          <a:ea typeface="+mn-ea"/>
          <a:cs typeface="+mn-cs"/>
        </a:defRPr>
      </a:lvl3pPr>
      <a:lvl4pPr marL="2138538" algn="l" defTabSz="1425693" rtl="0" eaLnBrk="1" latinLnBrk="0" hangingPunct="1">
        <a:defRPr sz="2807" kern="1200">
          <a:solidFill>
            <a:schemeClr val="tx1"/>
          </a:solidFill>
          <a:latin typeface="+mn-lt"/>
          <a:ea typeface="+mn-ea"/>
          <a:cs typeface="+mn-cs"/>
        </a:defRPr>
      </a:lvl4pPr>
      <a:lvl5pPr marL="2851386" algn="l" defTabSz="1425693" rtl="0" eaLnBrk="1" latinLnBrk="0" hangingPunct="1">
        <a:defRPr sz="2807" kern="1200">
          <a:solidFill>
            <a:schemeClr val="tx1"/>
          </a:solidFill>
          <a:latin typeface="+mn-lt"/>
          <a:ea typeface="+mn-ea"/>
          <a:cs typeface="+mn-cs"/>
        </a:defRPr>
      </a:lvl5pPr>
      <a:lvl6pPr marL="3564231" algn="l" defTabSz="1425693" rtl="0" eaLnBrk="1" latinLnBrk="0" hangingPunct="1">
        <a:defRPr sz="2807" kern="1200">
          <a:solidFill>
            <a:schemeClr val="tx1"/>
          </a:solidFill>
          <a:latin typeface="+mn-lt"/>
          <a:ea typeface="+mn-ea"/>
          <a:cs typeface="+mn-cs"/>
        </a:defRPr>
      </a:lvl6pPr>
      <a:lvl7pPr marL="4277077" algn="l" defTabSz="1425693" rtl="0" eaLnBrk="1" latinLnBrk="0" hangingPunct="1">
        <a:defRPr sz="2807" kern="1200">
          <a:solidFill>
            <a:schemeClr val="tx1"/>
          </a:solidFill>
          <a:latin typeface="+mn-lt"/>
          <a:ea typeface="+mn-ea"/>
          <a:cs typeface="+mn-cs"/>
        </a:defRPr>
      </a:lvl7pPr>
      <a:lvl8pPr marL="4989924" algn="l" defTabSz="1425693" rtl="0" eaLnBrk="1" latinLnBrk="0" hangingPunct="1">
        <a:defRPr sz="2807" kern="1200">
          <a:solidFill>
            <a:schemeClr val="tx1"/>
          </a:solidFill>
          <a:latin typeface="+mn-lt"/>
          <a:ea typeface="+mn-ea"/>
          <a:cs typeface="+mn-cs"/>
        </a:defRPr>
      </a:lvl8pPr>
      <a:lvl9pPr marL="5702770" algn="l" defTabSz="1425693" rtl="0" eaLnBrk="1" latinLnBrk="0" hangingPunct="1">
        <a:defRPr sz="280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3307" y="2477"/>
          <a:ext cx="3301" cy="2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0" name="Слайд think-cell" r:id="rId14" imgW="286" imgH="286" progId="TCLayout.ActiveDocument.1">
                  <p:embed/>
                </p:oleObj>
              </mc:Choice>
              <mc:Fallback>
                <p:oleObj name="Слайд think-cell" r:id="rId14" imgW="286" imgH="28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3307" y="2477"/>
                        <a:ext cx="3301" cy="2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13"/>
            </p:custDataLst>
          </p:nvPr>
        </p:nvSpPr>
        <p:spPr>
          <a:xfrm>
            <a:off x="3" y="0"/>
            <a:ext cx="330042" cy="2475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ru-RU" sz="4157" b="1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4" name="Shape 233"/>
          <p:cNvSpPr>
            <a:spLocks noChangeArrowheads="1"/>
          </p:cNvSpPr>
          <p:nvPr userDrawn="1"/>
        </p:nvSpPr>
        <p:spPr bwMode="auto">
          <a:xfrm>
            <a:off x="18445524" y="10418790"/>
            <a:ext cx="408765" cy="205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>
              <a:lnSpc>
                <a:spcPts val="1560"/>
              </a:lnSpc>
            </a:pPr>
            <a:fld id="{9341A735-39CE-4E30-A45B-8F69B017A70B}" type="slidenum">
              <a:rPr lang="ru-RU" altLang="ru-RU" sz="1634" b="1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pPr algn="ctr" eaLnBrk="1">
                <a:lnSpc>
                  <a:spcPts val="1560"/>
                </a:lnSpc>
              </a:pPr>
              <a:t>‹#›</a:t>
            </a:fld>
            <a:r>
              <a:rPr lang="ru-RU" altLang="ru-RU" sz="1634" b="1" dirty="0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val="1649059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708" r:id="rId9"/>
  </p:sldLayoutIdLst>
  <p:hf hdr="0" ftr="0" dt="0"/>
  <p:txStyles>
    <p:titleStyle>
      <a:lvl1pPr algn="l" defTabSz="1900762" rtl="0" eaLnBrk="1" latinLnBrk="0" hangingPunct="1">
        <a:lnSpc>
          <a:spcPct val="100000"/>
        </a:lnSpc>
        <a:spcBef>
          <a:spcPct val="0"/>
        </a:spcBef>
        <a:buNone/>
        <a:defRPr sz="4157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12786" indent="-712786" algn="l" defTabSz="1900762" rtl="0" eaLnBrk="1" latinLnBrk="0" hangingPunct="1">
        <a:spcBef>
          <a:spcPct val="20000"/>
        </a:spcBef>
        <a:buFont typeface="Arial" panose="020B0604020202020204" pitchFamily="34" charset="0"/>
        <a:buChar char="•"/>
        <a:defRPr sz="6652" kern="1200">
          <a:solidFill>
            <a:schemeClr val="tx1"/>
          </a:solidFill>
          <a:latin typeface="+mn-lt"/>
          <a:ea typeface="+mn-ea"/>
          <a:cs typeface="+mn-cs"/>
        </a:defRPr>
      </a:lvl1pPr>
      <a:lvl2pPr marL="1544371" indent="-593990" algn="l" defTabSz="1900762" rtl="0" eaLnBrk="1" latinLnBrk="0" hangingPunct="1">
        <a:spcBef>
          <a:spcPct val="20000"/>
        </a:spcBef>
        <a:buFont typeface="Arial" panose="020B0604020202020204" pitchFamily="34" charset="0"/>
        <a:buChar char="–"/>
        <a:defRPr sz="5821" kern="1200">
          <a:solidFill>
            <a:schemeClr val="tx1"/>
          </a:solidFill>
          <a:latin typeface="+mn-lt"/>
          <a:ea typeface="+mn-ea"/>
          <a:cs typeface="+mn-cs"/>
        </a:defRPr>
      </a:lvl2pPr>
      <a:lvl3pPr marL="2375953" indent="-475190" algn="l" defTabSz="1900762" rtl="0" eaLnBrk="1" latinLnBrk="0" hangingPunct="1">
        <a:spcBef>
          <a:spcPct val="20000"/>
        </a:spcBef>
        <a:buFont typeface="Arial" panose="020B0604020202020204" pitchFamily="34" charset="0"/>
        <a:buChar char="•"/>
        <a:defRPr sz="4989" kern="1200">
          <a:solidFill>
            <a:schemeClr val="tx1"/>
          </a:solidFill>
          <a:latin typeface="+mn-lt"/>
          <a:ea typeface="+mn-ea"/>
          <a:cs typeface="+mn-cs"/>
        </a:defRPr>
      </a:lvl3pPr>
      <a:lvl4pPr marL="3326333" indent="-475190" algn="l" defTabSz="1900762" rtl="0" eaLnBrk="1" latinLnBrk="0" hangingPunct="1">
        <a:spcBef>
          <a:spcPct val="20000"/>
        </a:spcBef>
        <a:buFont typeface="Arial" panose="020B0604020202020204" pitchFamily="34" charset="0"/>
        <a:buChar char="–"/>
        <a:defRPr sz="4157" kern="1200">
          <a:solidFill>
            <a:schemeClr val="tx1"/>
          </a:solidFill>
          <a:latin typeface="+mn-lt"/>
          <a:ea typeface="+mn-ea"/>
          <a:cs typeface="+mn-cs"/>
        </a:defRPr>
      </a:lvl4pPr>
      <a:lvl5pPr marL="4276715" indent="-475190" algn="l" defTabSz="1900762" rtl="0" eaLnBrk="1" latinLnBrk="0" hangingPunct="1">
        <a:spcBef>
          <a:spcPct val="20000"/>
        </a:spcBef>
        <a:buFont typeface="Arial" panose="020B0604020202020204" pitchFamily="34" charset="0"/>
        <a:buChar char="»"/>
        <a:defRPr sz="4157" kern="1200">
          <a:solidFill>
            <a:schemeClr val="tx1"/>
          </a:solidFill>
          <a:latin typeface="+mn-lt"/>
          <a:ea typeface="+mn-ea"/>
          <a:cs typeface="+mn-cs"/>
        </a:defRPr>
      </a:lvl5pPr>
      <a:lvl6pPr marL="5227096" indent="-475190" algn="l" defTabSz="1900762" rtl="0" eaLnBrk="1" latinLnBrk="0" hangingPunct="1">
        <a:spcBef>
          <a:spcPct val="20000"/>
        </a:spcBef>
        <a:buFont typeface="Arial" panose="020B0604020202020204" pitchFamily="34" charset="0"/>
        <a:buChar char="•"/>
        <a:defRPr sz="4157" kern="1200">
          <a:solidFill>
            <a:schemeClr val="tx1"/>
          </a:solidFill>
          <a:latin typeface="+mn-lt"/>
          <a:ea typeface="+mn-ea"/>
          <a:cs typeface="+mn-cs"/>
        </a:defRPr>
      </a:lvl6pPr>
      <a:lvl7pPr marL="6177477" indent="-475190" algn="l" defTabSz="1900762" rtl="0" eaLnBrk="1" latinLnBrk="0" hangingPunct="1">
        <a:spcBef>
          <a:spcPct val="20000"/>
        </a:spcBef>
        <a:buFont typeface="Arial" panose="020B0604020202020204" pitchFamily="34" charset="0"/>
        <a:buChar char="•"/>
        <a:defRPr sz="4157" kern="1200">
          <a:solidFill>
            <a:schemeClr val="tx1"/>
          </a:solidFill>
          <a:latin typeface="+mn-lt"/>
          <a:ea typeface="+mn-ea"/>
          <a:cs typeface="+mn-cs"/>
        </a:defRPr>
      </a:lvl7pPr>
      <a:lvl8pPr marL="7127858" indent="-475190" algn="l" defTabSz="1900762" rtl="0" eaLnBrk="1" latinLnBrk="0" hangingPunct="1">
        <a:spcBef>
          <a:spcPct val="20000"/>
        </a:spcBef>
        <a:buFont typeface="Arial" panose="020B0604020202020204" pitchFamily="34" charset="0"/>
        <a:buChar char="•"/>
        <a:defRPr sz="4157" kern="1200">
          <a:solidFill>
            <a:schemeClr val="tx1"/>
          </a:solidFill>
          <a:latin typeface="+mn-lt"/>
          <a:ea typeface="+mn-ea"/>
          <a:cs typeface="+mn-cs"/>
        </a:defRPr>
      </a:lvl8pPr>
      <a:lvl9pPr marL="8078240" indent="-475190" algn="l" defTabSz="1900762" rtl="0" eaLnBrk="1" latinLnBrk="0" hangingPunct="1">
        <a:spcBef>
          <a:spcPct val="20000"/>
        </a:spcBef>
        <a:buFont typeface="Arial" panose="020B0604020202020204" pitchFamily="34" charset="0"/>
        <a:buChar char="•"/>
        <a:defRPr sz="415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900762" rtl="0" eaLnBrk="1" latinLnBrk="0" hangingPunct="1">
        <a:defRPr sz="3742" kern="1200">
          <a:solidFill>
            <a:schemeClr val="tx1"/>
          </a:solidFill>
          <a:latin typeface="+mn-lt"/>
          <a:ea typeface="+mn-ea"/>
          <a:cs typeface="+mn-cs"/>
        </a:defRPr>
      </a:lvl1pPr>
      <a:lvl2pPr marL="950381" algn="l" defTabSz="1900762" rtl="0" eaLnBrk="1" latinLnBrk="0" hangingPunct="1">
        <a:defRPr sz="3742" kern="1200">
          <a:solidFill>
            <a:schemeClr val="tx1"/>
          </a:solidFill>
          <a:latin typeface="+mn-lt"/>
          <a:ea typeface="+mn-ea"/>
          <a:cs typeface="+mn-cs"/>
        </a:defRPr>
      </a:lvl2pPr>
      <a:lvl3pPr marL="1900762" algn="l" defTabSz="1900762" rtl="0" eaLnBrk="1" latinLnBrk="0" hangingPunct="1">
        <a:defRPr sz="3742" kern="1200">
          <a:solidFill>
            <a:schemeClr val="tx1"/>
          </a:solidFill>
          <a:latin typeface="+mn-lt"/>
          <a:ea typeface="+mn-ea"/>
          <a:cs typeface="+mn-cs"/>
        </a:defRPr>
      </a:lvl3pPr>
      <a:lvl4pPr marL="2851143" algn="l" defTabSz="1900762" rtl="0" eaLnBrk="1" latinLnBrk="0" hangingPunct="1">
        <a:defRPr sz="3742" kern="1200">
          <a:solidFill>
            <a:schemeClr val="tx1"/>
          </a:solidFill>
          <a:latin typeface="+mn-lt"/>
          <a:ea typeface="+mn-ea"/>
          <a:cs typeface="+mn-cs"/>
        </a:defRPr>
      </a:lvl4pPr>
      <a:lvl5pPr marL="3801525" algn="l" defTabSz="1900762" rtl="0" eaLnBrk="1" latinLnBrk="0" hangingPunct="1">
        <a:defRPr sz="3742" kern="1200">
          <a:solidFill>
            <a:schemeClr val="tx1"/>
          </a:solidFill>
          <a:latin typeface="+mn-lt"/>
          <a:ea typeface="+mn-ea"/>
          <a:cs typeface="+mn-cs"/>
        </a:defRPr>
      </a:lvl5pPr>
      <a:lvl6pPr marL="4751905" algn="l" defTabSz="1900762" rtl="0" eaLnBrk="1" latinLnBrk="0" hangingPunct="1">
        <a:defRPr sz="3742" kern="1200">
          <a:solidFill>
            <a:schemeClr val="tx1"/>
          </a:solidFill>
          <a:latin typeface="+mn-lt"/>
          <a:ea typeface="+mn-ea"/>
          <a:cs typeface="+mn-cs"/>
        </a:defRPr>
      </a:lvl6pPr>
      <a:lvl7pPr marL="5702287" algn="l" defTabSz="1900762" rtl="0" eaLnBrk="1" latinLnBrk="0" hangingPunct="1">
        <a:defRPr sz="3742" kern="1200">
          <a:solidFill>
            <a:schemeClr val="tx1"/>
          </a:solidFill>
          <a:latin typeface="+mn-lt"/>
          <a:ea typeface="+mn-ea"/>
          <a:cs typeface="+mn-cs"/>
        </a:defRPr>
      </a:lvl7pPr>
      <a:lvl8pPr marL="6652668" algn="l" defTabSz="1900762" rtl="0" eaLnBrk="1" latinLnBrk="0" hangingPunct="1">
        <a:defRPr sz="3742" kern="1200">
          <a:solidFill>
            <a:schemeClr val="tx1"/>
          </a:solidFill>
          <a:latin typeface="+mn-lt"/>
          <a:ea typeface="+mn-ea"/>
          <a:cs typeface="+mn-cs"/>
        </a:defRPr>
      </a:lvl8pPr>
      <a:lvl9pPr marL="7603048" algn="l" defTabSz="1900762" rtl="0" eaLnBrk="1" latinLnBrk="0" hangingPunct="1">
        <a:defRPr sz="374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0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13" Type="http://schemas.openxmlformats.org/officeDocument/2006/relationships/image" Target="../media/image49.emf"/><Relationship Id="rId18" Type="http://schemas.openxmlformats.org/officeDocument/2006/relationships/image" Target="../media/image54.emf"/><Relationship Id="rId3" Type="http://schemas.openxmlformats.org/officeDocument/2006/relationships/tags" Target="../tags/tag92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48.png"/><Relationship Id="rId17" Type="http://schemas.openxmlformats.org/officeDocument/2006/relationships/image" Target="../media/image53.emf"/><Relationship Id="rId2" Type="http://schemas.openxmlformats.org/officeDocument/2006/relationships/tags" Target="../tags/tag91.xml"/><Relationship Id="rId16" Type="http://schemas.openxmlformats.org/officeDocument/2006/relationships/image" Target="../media/image52.emf"/><Relationship Id="rId1" Type="http://schemas.openxmlformats.org/officeDocument/2006/relationships/vmlDrawing" Target="../drawings/vmlDrawing27.vml"/><Relationship Id="rId6" Type="http://schemas.openxmlformats.org/officeDocument/2006/relationships/tags" Target="../tags/tag95.xml"/><Relationship Id="rId11" Type="http://schemas.openxmlformats.org/officeDocument/2006/relationships/image" Target="../media/image47.png"/><Relationship Id="rId5" Type="http://schemas.openxmlformats.org/officeDocument/2006/relationships/tags" Target="../tags/tag94.xml"/><Relationship Id="rId15" Type="http://schemas.openxmlformats.org/officeDocument/2006/relationships/image" Target="../media/image51.emf"/><Relationship Id="rId10" Type="http://schemas.openxmlformats.org/officeDocument/2006/relationships/image" Target="../media/image46.png"/><Relationship Id="rId19" Type="http://schemas.openxmlformats.org/officeDocument/2006/relationships/image" Target="../media/image55.png"/><Relationship Id="rId4" Type="http://schemas.openxmlformats.org/officeDocument/2006/relationships/tags" Target="../tags/tag93.xml"/><Relationship Id="rId9" Type="http://schemas.openxmlformats.org/officeDocument/2006/relationships/image" Target="../media/image45.emf"/><Relationship Id="rId14" Type="http://schemas.openxmlformats.org/officeDocument/2006/relationships/image" Target="../media/image50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6.png"/><Relationship Id="rId2" Type="http://schemas.openxmlformats.org/officeDocument/2006/relationships/tags" Target="../tags/tag9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8.gif"/><Relationship Id="rId2" Type="http://schemas.openxmlformats.org/officeDocument/2006/relationships/tags" Target="../tags/tag9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hyperlink" Target="mailto:Evgeniya.libefort@domrf.ru" TargetMode="External"/><Relationship Id="rId2" Type="http://schemas.openxmlformats.org/officeDocument/2006/relationships/tags" Target="../tags/tag98.xml"/><Relationship Id="rId1" Type="http://schemas.openxmlformats.org/officeDocument/2006/relationships/vmlDrawing" Target="../drawings/vmlDrawing30.vml"/><Relationship Id="rId6" Type="http://schemas.openxmlformats.org/officeDocument/2006/relationships/hyperlink" Target="mailto:esg@domrf.ru" TargetMode="Externa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1.bin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9" Type="http://schemas.openxmlformats.org/officeDocument/2006/relationships/chart" Target="../charts/chart1.xml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38" Type="http://schemas.openxmlformats.org/officeDocument/2006/relationships/image" Target="../media/image8.emf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tags" Target="../tags/tag57.xml"/><Relationship Id="rId1" Type="http://schemas.openxmlformats.org/officeDocument/2006/relationships/vmlDrawing" Target="../drawings/vmlDrawing20.v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37" Type="http://schemas.openxmlformats.org/officeDocument/2006/relationships/oleObject" Target="../embeddings/oleObject21.bin"/><Relationship Id="rId40" Type="http://schemas.openxmlformats.org/officeDocument/2006/relationships/chart" Target="../charts/chart2.xml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slideLayout" Target="../slideLayouts/slideLayout8.xml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tags" Target="../tags/tag59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tags" Target="../tags/tag63.xml"/><Relationship Id="rId8" Type="http://schemas.openxmlformats.org/officeDocument/2006/relationships/tags" Target="../tags/tag36.xml"/><Relationship Id="rId3" Type="http://schemas.openxmlformats.org/officeDocument/2006/relationships/tags" Target="../tags/tag3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9.png"/><Relationship Id="rId12" Type="http://schemas.openxmlformats.org/officeDocument/2006/relationships/image" Target="../media/image2.png"/><Relationship Id="rId2" Type="http://schemas.openxmlformats.org/officeDocument/2006/relationships/tags" Target="../tags/tag6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8.emf"/><Relationship Id="rId11" Type="http://schemas.openxmlformats.org/officeDocument/2006/relationships/image" Target="../media/image13.jpe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image" Target="../media/image14.png"/><Relationship Id="rId18" Type="http://schemas.openxmlformats.org/officeDocument/2006/relationships/image" Target="../media/image17.jpeg"/><Relationship Id="rId3" Type="http://schemas.openxmlformats.org/officeDocument/2006/relationships/tags" Target="../tags/tag67.xml"/><Relationship Id="rId21" Type="http://schemas.openxmlformats.org/officeDocument/2006/relationships/image" Target="../media/image20.png"/><Relationship Id="rId7" Type="http://schemas.openxmlformats.org/officeDocument/2006/relationships/tags" Target="../tags/tag71.xml"/><Relationship Id="rId12" Type="http://schemas.openxmlformats.org/officeDocument/2006/relationships/slideLayout" Target="../slideLayouts/slideLayout8.xml"/><Relationship Id="rId17" Type="http://schemas.openxmlformats.org/officeDocument/2006/relationships/image" Target="../media/image16.png"/><Relationship Id="rId2" Type="http://schemas.openxmlformats.org/officeDocument/2006/relationships/tags" Target="../tags/tag66.xml"/><Relationship Id="rId16" Type="http://schemas.openxmlformats.org/officeDocument/2006/relationships/image" Target="../media/image8.emf"/><Relationship Id="rId20" Type="http://schemas.openxmlformats.org/officeDocument/2006/relationships/image" Target="../media/image19.png"/><Relationship Id="rId1" Type="http://schemas.openxmlformats.org/officeDocument/2006/relationships/vmlDrawing" Target="../drawings/vmlDrawing23.v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5" Type="http://schemas.openxmlformats.org/officeDocument/2006/relationships/oleObject" Target="../embeddings/oleObject24.bin"/><Relationship Id="rId10" Type="http://schemas.openxmlformats.org/officeDocument/2006/relationships/tags" Target="../tags/tag74.xml"/><Relationship Id="rId19" Type="http://schemas.openxmlformats.org/officeDocument/2006/relationships/image" Target="../media/image18.jpeg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image" Target="../media/image15.JPG"/><Relationship Id="rId22" Type="http://schemas.openxmlformats.org/officeDocument/2006/relationships/image" Target="../media/image21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tags" Target="../tags/tag87.xml"/><Relationship Id="rId18" Type="http://schemas.openxmlformats.org/officeDocument/2006/relationships/chart" Target="../charts/chart3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17" Type="http://schemas.openxmlformats.org/officeDocument/2006/relationships/image" Target="../media/image22.emf"/><Relationship Id="rId2" Type="http://schemas.openxmlformats.org/officeDocument/2006/relationships/tags" Target="../tags/tag76.xml"/><Relationship Id="rId16" Type="http://schemas.openxmlformats.org/officeDocument/2006/relationships/oleObject" Target="../embeddings/oleObject25.bin"/><Relationship Id="rId1" Type="http://schemas.openxmlformats.org/officeDocument/2006/relationships/vmlDrawing" Target="../drawings/vmlDrawing24.v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5" Type="http://schemas.openxmlformats.org/officeDocument/2006/relationships/tags" Target="../tags/tag79.xml"/><Relationship Id="rId15" Type="http://schemas.openxmlformats.org/officeDocument/2006/relationships/slideLayout" Target="../slideLayouts/slideLayout9.xml"/><Relationship Id="rId10" Type="http://schemas.openxmlformats.org/officeDocument/2006/relationships/tags" Target="../tags/tag84.xml"/><Relationship Id="rId19" Type="http://schemas.openxmlformats.org/officeDocument/2006/relationships/chart" Target="../charts/chart4.xml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tags" Target="../tags/tag8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tags" Target="../tags/tag8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3.emf"/><Relationship Id="rId11" Type="http://schemas.openxmlformats.org/officeDocument/2006/relationships/image" Target="../media/image28.png"/><Relationship Id="rId5" Type="http://schemas.openxmlformats.org/officeDocument/2006/relationships/oleObject" Target="../embeddings/oleObject26.bin"/><Relationship Id="rId15" Type="http://schemas.openxmlformats.org/officeDocument/2006/relationships/image" Target="../media/image32.png"/><Relationship Id="rId10" Type="http://schemas.openxmlformats.org/officeDocument/2006/relationships/image" Target="../media/image27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6.png"/><Relationship Id="rId1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39.png"/><Relationship Id="rId18" Type="http://schemas.openxmlformats.org/officeDocument/2006/relationships/image" Target="../media/image43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4.png"/><Relationship Id="rId12" Type="http://schemas.openxmlformats.org/officeDocument/2006/relationships/image" Target="../media/image38.png"/><Relationship Id="rId17" Type="http://schemas.openxmlformats.org/officeDocument/2006/relationships/image" Target="../media/image42.png"/><Relationship Id="rId2" Type="http://schemas.openxmlformats.org/officeDocument/2006/relationships/tags" Target="../tags/tag90.xml"/><Relationship Id="rId16" Type="http://schemas.openxmlformats.org/officeDocument/2006/relationships/image" Target="../media/image41.png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3.png"/><Relationship Id="rId11" Type="http://schemas.openxmlformats.org/officeDocument/2006/relationships/chart" Target="../charts/chart5.xml"/><Relationship Id="rId5" Type="http://schemas.openxmlformats.org/officeDocument/2006/relationships/image" Target="../media/image23.emf"/><Relationship Id="rId15" Type="http://schemas.openxmlformats.org/officeDocument/2006/relationships/image" Target="../media/image40.png"/><Relationship Id="rId10" Type="http://schemas.openxmlformats.org/officeDocument/2006/relationships/image" Target="../media/image37.png"/><Relationship Id="rId19" Type="http://schemas.openxmlformats.org/officeDocument/2006/relationships/image" Target="../media/image44.png"/><Relationship Id="rId4" Type="http://schemas.openxmlformats.org/officeDocument/2006/relationships/oleObject" Target="../embeddings/oleObject27.bin"/><Relationship Id="rId9" Type="http://schemas.openxmlformats.org/officeDocument/2006/relationships/image" Target="../media/image36.jpeg"/><Relationship Id="rId14" Type="http://schemas.openxmlformats.org/officeDocument/2006/relationships/chart" Target="../charts/char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479" y="2529"/>
          <a:ext cx="2476" cy="24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79" y="2529"/>
                        <a:ext cx="2476" cy="24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1566" y="4199880"/>
            <a:ext cx="17737281" cy="623953"/>
          </a:xfrm>
        </p:spPr>
        <p:txBody>
          <a:bodyPr vert="horz"/>
          <a:lstStyle/>
          <a:p>
            <a:r>
              <a:rPr lang="ru-RU" sz="4366" dirty="0"/>
              <a:t>Роль ДОМ.РФ в развитии рынка зеленого строительств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1ABDC14-0027-4817-8B0D-7D4EE6A00576}"/>
              </a:ext>
            </a:extLst>
          </p:cNvPr>
          <p:cNvSpPr txBox="1"/>
          <p:nvPr/>
        </p:nvSpPr>
        <p:spPr>
          <a:xfrm>
            <a:off x="751566" y="8368152"/>
            <a:ext cx="3435598" cy="3839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95" dirty="0" smtClean="0"/>
              <a:t>Сентябрь </a:t>
            </a:r>
            <a:r>
              <a:rPr lang="ru-RU" sz="2495" dirty="0"/>
              <a:t>202</a:t>
            </a:r>
            <a:r>
              <a:rPr lang="en-US" sz="2495" dirty="0"/>
              <a:t>3</a:t>
            </a:r>
            <a:r>
              <a:rPr lang="ru-RU" sz="2495" dirty="0"/>
              <a:t> г.</a:t>
            </a:r>
          </a:p>
        </p:txBody>
      </p:sp>
    </p:spTree>
    <p:extLst>
      <p:ext uri="{BB962C8B-B14F-4D97-AF65-F5344CB8AC3E}">
        <p14:creationId xmlns:p14="http://schemas.microsoft.com/office/powerpoint/2010/main" val="10520055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Box 2">
            <a:extLst>
              <a:ext uri="{FF2B5EF4-FFF2-40B4-BE49-F238E27FC236}">
                <a16:creationId xmlns:a16="http://schemas.microsoft.com/office/drawing/2014/main" id="{A8646BE7-79D6-1BF4-E8F8-6A8F052705D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93243" y="1000905"/>
            <a:ext cx="8865179" cy="2983015"/>
          </a:xfrm>
          <a:prstGeom prst="rect">
            <a:avLst/>
          </a:prstGeom>
          <a:noFill/>
          <a:ln w="9525">
            <a:solidFill>
              <a:schemeClr val="accent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149688" tIns="280664" rIns="149688" bIns="149688" anchor="ctr">
            <a:noAutofit/>
          </a:bodyPr>
          <a:lstStyle>
            <a:lvl1pPr marL="171450" indent="-171450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defTabSz="6858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17775" indent="0">
              <a:spcBef>
                <a:spcPts val="624"/>
              </a:spcBef>
              <a:buClr>
                <a:srgbClr val="8FC54C"/>
              </a:buClr>
              <a:defRPr/>
            </a:pPr>
            <a:endParaRPr lang="ru-RU" altLang="ru-RU" sz="2079" b="1" dirty="0">
              <a:solidFill>
                <a:srgbClr val="3E5057"/>
              </a:solidFill>
            </a:endParaRPr>
          </a:p>
          <a:p>
            <a:pPr marL="183266" indent="0">
              <a:spcBef>
                <a:spcPts val="624"/>
              </a:spcBef>
              <a:buClr>
                <a:srgbClr val="8FC54C"/>
              </a:buClr>
              <a:defRPr/>
            </a:pPr>
            <a:endParaRPr lang="ru-RU" altLang="ru-RU" sz="2079" b="1" dirty="0">
              <a:solidFill>
                <a:srgbClr val="3E5057"/>
              </a:solidFill>
            </a:endParaRPr>
          </a:p>
          <a:p>
            <a:pPr marL="374210">
              <a:spcBef>
                <a:spcPts val="624"/>
              </a:spcBef>
              <a:buClr>
                <a:srgbClr val="8FC54C"/>
              </a:buClr>
              <a:buFont typeface="Wingdings" panose="05000000000000000000" pitchFamily="2" charset="2"/>
              <a:buChar char="§"/>
              <a:defRPr/>
            </a:pPr>
            <a:endParaRPr lang="ru-RU" altLang="ru-RU" sz="2079" b="1" dirty="0">
              <a:solidFill>
                <a:srgbClr val="3E5057"/>
              </a:solidFill>
            </a:endParaRPr>
          </a:p>
        </p:txBody>
      </p:sp>
      <p:graphicFrame>
        <p:nvGraphicFramePr>
          <p:cNvPr id="100" name="Объект 99" hidden="1">
            <a:extLst>
              <a:ext uri="{FF2B5EF4-FFF2-40B4-BE49-F238E27FC236}">
                <a16:creationId xmlns:a16="http://schemas.microsoft.com/office/drawing/2014/main" id="{E12F67F7-2EA2-16C4-1FBA-1F98EFA02C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68" y="1818"/>
          <a:ext cx="1769" cy="17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1" name="Слайд think-cell" r:id="rId8" imgW="395" imgH="396" progId="TCLayout.ActiveDocument.1">
                  <p:embed/>
                </p:oleObj>
              </mc:Choice>
              <mc:Fallback>
                <p:oleObj name="Слайд think-cell" r:id="rId8" imgW="395" imgH="396" progId="TCLayout.ActiveDocument.1">
                  <p:embed/>
                  <p:pic>
                    <p:nvPicPr>
                      <p:cNvPr id="100" name="Объект 99" hidden="1">
                        <a:extLst>
                          <a:ext uri="{FF2B5EF4-FFF2-40B4-BE49-F238E27FC236}">
                            <a16:creationId xmlns:a16="http://schemas.microsoft.com/office/drawing/2014/main" id="{E12F67F7-2EA2-16C4-1FBA-1F98EFA02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768" y="1818"/>
                        <a:ext cx="1769" cy="176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04F4E089-7228-704E-5B36-54E908DFCF7E}"/>
              </a:ext>
            </a:extLst>
          </p:cNvPr>
          <p:cNvGrpSpPr/>
          <p:nvPr/>
        </p:nvGrpSpPr>
        <p:grpSpPr>
          <a:xfrm>
            <a:off x="388126" y="1005338"/>
            <a:ext cx="7940061" cy="4975280"/>
            <a:chOff x="7564070" y="4722292"/>
            <a:chExt cx="7528688" cy="2781586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CD5B635F-9D32-5FB9-4235-77897398772C}"/>
                </a:ext>
              </a:extLst>
            </p:cNvPr>
            <p:cNvSpPr/>
            <p:nvPr/>
          </p:nvSpPr>
          <p:spPr>
            <a:xfrm>
              <a:off x="7564070" y="4722292"/>
              <a:ext cx="7528688" cy="278158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126"/>
            </a:p>
          </p:txBody>
        </p:sp>
        <p:sp>
          <p:nvSpPr>
            <p:cNvPr id="9" name="Прямоугольник: скругленные углы 1">
              <a:extLst>
                <a:ext uri="{FF2B5EF4-FFF2-40B4-BE49-F238E27FC236}">
                  <a16:creationId xmlns:a16="http://schemas.microsoft.com/office/drawing/2014/main" id="{FDADAEF1-5987-1A24-8EC6-E944A7953D5C}"/>
                </a:ext>
              </a:extLst>
            </p:cNvPr>
            <p:cNvSpPr/>
            <p:nvPr/>
          </p:nvSpPr>
          <p:spPr>
            <a:xfrm>
              <a:off x="7738298" y="5087437"/>
              <a:ext cx="6937790" cy="1214178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spAutoFit/>
            </a:bodyPr>
            <a:lstStyle/>
            <a:p>
              <a:pPr marL="416741" indent="-416741" defTabSz="1587794">
                <a:spcAft>
                  <a:spcPts val="1336"/>
                </a:spcAft>
                <a:buClr>
                  <a:srgbClr val="8FC54C"/>
                </a:buClr>
                <a:buSzPct val="100000"/>
                <a:buFont typeface="Wingdings" pitchFamily="2" charset="2"/>
                <a:buChar char="§"/>
                <a:defRPr/>
              </a:pPr>
              <a:r>
                <a:rPr lang="ru-RU" sz="2000" dirty="0">
                  <a:solidFill>
                    <a:srgbClr val="3E5057"/>
                  </a:solidFill>
                  <a:ea typeface="Tahoma" panose="020B0604030504040204" pitchFamily="34" charset="0"/>
                  <a:cs typeface="Tahoma" panose="020B0604030504040204" pitchFamily="34" charset="0"/>
                  <a:sym typeface="Tahoma"/>
                </a:rPr>
                <a:t>Актуальность «зеленой» тематики в стране</a:t>
              </a:r>
            </a:p>
            <a:p>
              <a:pPr marL="416741" indent="-416741" defTabSz="1587794">
                <a:spcAft>
                  <a:spcPts val="1336"/>
                </a:spcAft>
                <a:buClr>
                  <a:srgbClr val="8FC54C"/>
                </a:buClr>
                <a:buSzPct val="100000"/>
                <a:buFont typeface="Wingdings" pitchFamily="2" charset="2"/>
                <a:buChar char="§"/>
                <a:defRPr/>
              </a:pPr>
              <a:r>
                <a:rPr lang="ru-RU" sz="2000" dirty="0">
                  <a:solidFill>
                    <a:srgbClr val="2F444E"/>
                  </a:solidFill>
                  <a:ea typeface="Verdana" panose="020B0604030504040204" pitchFamily="34" charset="0"/>
                  <a:cs typeface="DIN Pro Regular" panose="020B0504020101020102" pitchFamily="34" charset="0"/>
                </a:rPr>
                <a:t>Введение в ГОСТ Р</a:t>
              </a:r>
            </a:p>
            <a:p>
              <a:pPr marL="416741" indent="-416741" defTabSz="1587794">
                <a:spcAft>
                  <a:spcPts val="1336"/>
                </a:spcAft>
                <a:buClr>
                  <a:srgbClr val="8FC54C"/>
                </a:buClr>
                <a:buSzPct val="100000"/>
                <a:buFont typeface="Wingdings" pitchFamily="2" charset="2"/>
                <a:buChar char="§"/>
                <a:defRPr/>
              </a:pPr>
              <a:r>
                <a:rPr lang="ru-RU" sz="2000" dirty="0">
                  <a:solidFill>
                    <a:srgbClr val="2F444E"/>
                  </a:solidFill>
                  <a:ea typeface="Verdana" panose="020B0604030504040204" pitchFamily="34" charset="0"/>
                  <a:cs typeface="DIN Pro Regular" panose="020B0504020101020102" pitchFamily="34" charset="0"/>
                </a:rPr>
                <a:t>Общие положения ГОСТ Р</a:t>
              </a:r>
            </a:p>
            <a:p>
              <a:pPr marL="416741" indent="-416741" defTabSz="1587794">
                <a:spcAft>
                  <a:spcPts val="1336"/>
                </a:spcAft>
                <a:buClr>
                  <a:srgbClr val="8FC54C"/>
                </a:buClr>
                <a:buSzPct val="100000"/>
                <a:buFont typeface="Wingdings" pitchFamily="2" charset="2"/>
                <a:buChar char="§"/>
                <a:defRPr/>
              </a:pPr>
              <a:r>
                <a:rPr lang="ru-RU" sz="2000" dirty="0">
                  <a:solidFill>
                    <a:srgbClr val="2F444E"/>
                  </a:solidFill>
                  <a:ea typeface="Verdana" panose="020B0604030504040204" pitchFamily="34" charset="0"/>
                  <a:cs typeface="DIN Pro Regular" panose="020B0504020101020102" pitchFamily="34" charset="0"/>
                </a:rPr>
                <a:t>Категории оценки ГОСТ Р</a:t>
              </a:r>
            </a:p>
            <a:p>
              <a:pPr marL="416741" indent="-416741" defTabSz="1587794">
                <a:spcAft>
                  <a:spcPts val="1336"/>
                </a:spcAft>
                <a:buClr>
                  <a:srgbClr val="8FC54C"/>
                </a:buClr>
                <a:buSzPct val="100000"/>
                <a:buFont typeface="Wingdings" pitchFamily="2" charset="2"/>
                <a:buChar char="§"/>
                <a:defRPr/>
              </a:pPr>
              <a:r>
                <a:rPr lang="ru-RU" sz="2000" dirty="0">
                  <a:solidFill>
                    <a:srgbClr val="2F444E"/>
                  </a:solidFill>
                  <a:ea typeface="Verdana" panose="020B0604030504040204" pitchFamily="34" charset="0"/>
                  <a:cs typeface="DIN Pro Regular" panose="020B0504020101020102" pitchFamily="34" charset="0"/>
                </a:rPr>
                <a:t>Многоквартирные жилые дома, соответствующие ГОСТ Р</a:t>
              </a:r>
            </a:p>
          </p:txBody>
        </p:sp>
      </p:grpSp>
      <p:sp>
        <p:nvSpPr>
          <p:cNvPr id="58" name="Google Shape;73;p17">
            <a:extLst>
              <a:ext uri="{FF2B5EF4-FFF2-40B4-BE49-F238E27FC236}">
                <a16:creationId xmlns:a16="http://schemas.microsoft.com/office/drawing/2014/main" id="{58450CCB-41A8-6079-0CBC-790C6E7EF1E4}"/>
              </a:ext>
            </a:extLst>
          </p:cNvPr>
          <p:cNvSpPr/>
          <p:nvPr/>
        </p:nvSpPr>
        <p:spPr>
          <a:xfrm>
            <a:off x="9589892" y="1213951"/>
            <a:ext cx="9030050" cy="3427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1336"/>
              </a:spcAft>
              <a:buClr>
                <a:schemeClr val="accent6"/>
              </a:buClr>
              <a:buSzPct val="100000"/>
            </a:pPr>
            <a:r>
              <a:rPr lang="ru-RU" sz="2227" b="1" dirty="0">
                <a:solidFill>
                  <a:schemeClr val="accent6"/>
                </a:solidFill>
                <a:latin typeface="+mj-lt"/>
                <a:ea typeface="Tahoma"/>
                <a:cs typeface="Tahoma"/>
                <a:sym typeface="Tahoma"/>
              </a:rPr>
              <a:t>Форматы курса</a:t>
            </a:r>
          </a:p>
        </p:txBody>
      </p:sp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AC691225-29CD-413E-BBE1-A93752F51C3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3161" y="4899103"/>
            <a:ext cx="2240898" cy="810776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1DD630BE-A922-4F5B-937D-74687C0DFDD9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533"/>
          <a:stretch/>
        </p:blipFill>
        <p:spPr>
          <a:xfrm>
            <a:off x="11556447" y="4874324"/>
            <a:ext cx="857674" cy="810776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F6021488-8606-491F-A6D7-DF5688BCD80E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99" r="7874"/>
          <a:stretch/>
        </p:blipFill>
        <p:spPr>
          <a:xfrm>
            <a:off x="12617479" y="4853003"/>
            <a:ext cx="3221485" cy="852670"/>
          </a:xfrm>
          <a:prstGeom prst="rect">
            <a:avLst/>
          </a:prstGeom>
        </p:spPr>
      </p:pic>
      <p:sp>
        <p:nvSpPr>
          <p:cNvPr id="45" name="Google Shape;73;p17">
            <a:extLst>
              <a:ext uri="{FF2B5EF4-FFF2-40B4-BE49-F238E27FC236}">
                <a16:creationId xmlns:a16="http://schemas.microsoft.com/office/drawing/2014/main" id="{E3FFCF73-59E8-6B9B-D419-855A23AFE087}"/>
              </a:ext>
            </a:extLst>
          </p:cNvPr>
          <p:cNvSpPr/>
          <p:nvPr/>
        </p:nvSpPr>
        <p:spPr>
          <a:xfrm>
            <a:off x="1014417" y="1185216"/>
            <a:ext cx="5980449" cy="342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>
              <a:buClr>
                <a:srgbClr val="000000"/>
              </a:buClr>
              <a:buSzPts val="1000"/>
            </a:pPr>
            <a:r>
              <a:rPr lang="ru" sz="2227" b="1" dirty="0">
                <a:solidFill>
                  <a:schemeClr val="accent6"/>
                </a:solidFill>
                <a:latin typeface="+mj-lt"/>
                <a:ea typeface="Tahoma"/>
                <a:cs typeface="Tahoma"/>
                <a:sym typeface="Tahoma"/>
              </a:rPr>
              <a:t>Структура курса</a:t>
            </a:r>
            <a:endParaRPr lang="ru-RU" sz="2227" dirty="0">
              <a:solidFill>
                <a:schemeClr val="accent6"/>
              </a:solidFill>
              <a:latin typeface="+mj-lt"/>
            </a:endParaRPr>
          </a:p>
        </p:txBody>
      </p:sp>
      <p:sp>
        <p:nvSpPr>
          <p:cNvPr id="48" name="Прямоугольник: скругленные углы 104">
            <a:extLst>
              <a:ext uri="{FF2B5EF4-FFF2-40B4-BE49-F238E27FC236}">
                <a16:creationId xmlns:a16="http://schemas.microsoft.com/office/drawing/2014/main" id="{633D16E5-0BD2-4A68-8F0B-2E5E81E090DE}"/>
              </a:ext>
            </a:extLst>
          </p:cNvPr>
          <p:cNvSpPr/>
          <p:nvPr/>
        </p:nvSpPr>
        <p:spPr>
          <a:xfrm>
            <a:off x="9470171" y="1827695"/>
            <a:ext cx="536465" cy="427396"/>
          </a:xfrm>
          <a:prstGeom prst="roundRect">
            <a:avLst>
              <a:gd name="adj" fmla="val 9941"/>
            </a:avLst>
          </a:prstGeom>
          <a:solidFill>
            <a:srgbClr val="CFE7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26">
              <a:latin typeface="Etelka Thin Pro" panose="02000503000000020004" pitchFamily="2" charset="0"/>
            </a:endParaRPr>
          </a:p>
        </p:txBody>
      </p:sp>
      <p:sp>
        <p:nvSpPr>
          <p:cNvPr id="49" name="Freeform 13">
            <a:extLst>
              <a:ext uri="{FF2B5EF4-FFF2-40B4-BE49-F238E27FC236}">
                <a16:creationId xmlns:a16="http://schemas.microsoft.com/office/drawing/2014/main" id="{36004AF5-3F88-432E-9C93-D787C014A1C0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9596859" y="1935681"/>
            <a:ext cx="315303" cy="211128"/>
          </a:xfrm>
          <a:custGeom>
            <a:avLst/>
            <a:gdLst>
              <a:gd name="T0" fmla="*/ 126 w 192"/>
              <a:gd name="T1" fmla="*/ 128 h 128"/>
              <a:gd name="T2" fmla="*/ 14 w 192"/>
              <a:gd name="T3" fmla="*/ 128 h 128"/>
              <a:gd name="T4" fmla="*/ 0 w 192"/>
              <a:gd name="T5" fmla="*/ 114 h 128"/>
              <a:gd name="T6" fmla="*/ 0 w 192"/>
              <a:gd name="T7" fmla="*/ 23 h 128"/>
              <a:gd name="T8" fmla="*/ 23 w 192"/>
              <a:gd name="T9" fmla="*/ 0 h 128"/>
              <a:gd name="T10" fmla="*/ 117 w 192"/>
              <a:gd name="T11" fmla="*/ 0 h 128"/>
              <a:gd name="T12" fmla="*/ 140 w 192"/>
              <a:gd name="T13" fmla="*/ 23 h 128"/>
              <a:gd name="T14" fmla="*/ 140 w 192"/>
              <a:gd name="T15" fmla="*/ 32 h 128"/>
              <a:gd name="T16" fmla="*/ 179 w 192"/>
              <a:gd name="T17" fmla="*/ 17 h 128"/>
              <a:gd name="T18" fmla="*/ 179 w 192"/>
              <a:gd name="T19" fmla="*/ 17 h 128"/>
              <a:gd name="T20" fmla="*/ 185 w 192"/>
              <a:gd name="T21" fmla="*/ 15 h 128"/>
              <a:gd name="T22" fmla="*/ 190 w 192"/>
              <a:gd name="T23" fmla="*/ 17 h 128"/>
              <a:gd name="T24" fmla="*/ 192 w 192"/>
              <a:gd name="T25" fmla="*/ 22 h 128"/>
              <a:gd name="T26" fmla="*/ 192 w 192"/>
              <a:gd name="T27" fmla="*/ 25 h 128"/>
              <a:gd name="T28" fmla="*/ 192 w 192"/>
              <a:gd name="T29" fmla="*/ 26 h 128"/>
              <a:gd name="T30" fmla="*/ 192 w 192"/>
              <a:gd name="T31" fmla="*/ 102 h 128"/>
              <a:gd name="T32" fmla="*/ 191 w 192"/>
              <a:gd name="T33" fmla="*/ 108 h 128"/>
              <a:gd name="T34" fmla="*/ 184 w 192"/>
              <a:gd name="T35" fmla="*/ 113 h 128"/>
              <a:gd name="T36" fmla="*/ 184 w 192"/>
              <a:gd name="T37" fmla="*/ 113 h 128"/>
              <a:gd name="T38" fmla="*/ 183 w 192"/>
              <a:gd name="T39" fmla="*/ 112 h 128"/>
              <a:gd name="T40" fmla="*/ 183 w 192"/>
              <a:gd name="T41" fmla="*/ 112 h 128"/>
              <a:gd name="T42" fmla="*/ 182 w 192"/>
              <a:gd name="T43" fmla="*/ 112 h 128"/>
              <a:gd name="T44" fmla="*/ 179 w 192"/>
              <a:gd name="T45" fmla="*/ 111 h 128"/>
              <a:gd name="T46" fmla="*/ 178 w 192"/>
              <a:gd name="T47" fmla="*/ 111 h 128"/>
              <a:gd name="T48" fmla="*/ 140 w 192"/>
              <a:gd name="T49" fmla="*/ 96 h 128"/>
              <a:gd name="T50" fmla="*/ 140 w 192"/>
              <a:gd name="T51" fmla="*/ 114 h 128"/>
              <a:gd name="T52" fmla="*/ 126 w 192"/>
              <a:gd name="T53" fmla="*/ 128 h 128"/>
              <a:gd name="T54" fmla="*/ 23 w 192"/>
              <a:gd name="T55" fmla="*/ 12 h 128"/>
              <a:gd name="T56" fmla="*/ 12 w 192"/>
              <a:gd name="T57" fmla="*/ 23 h 128"/>
              <a:gd name="T58" fmla="*/ 12 w 192"/>
              <a:gd name="T59" fmla="*/ 114 h 128"/>
              <a:gd name="T60" fmla="*/ 14 w 192"/>
              <a:gd name="T61" fmla="*/ 116 h 128"/>
              <a:gd name="T62" fmla="*/ 126 w 192"/>
              <a:gd name="T63" fmla="*/ 116 h 128"/>
              <a:gd name="T64" fmla="*/ 128 w 192"/>
              <a:gd name="T65" fmla="*/ 114 h 128"/>
              <a:gd name="T66" fmla="*/ 128 w 192"/>
              <a:gd name="T67" fmla="*/ 23 h 128"/>
              <a:gd name="T68" fmla="*/ 117 w 192"/>
              <a:gd name="T69" fmla="*/ 12 h 128"/>
              <a:gd name="T70" fmla="*/ 23 w 192"/>
              <a:gd name="T71" fmla="*/ 12 h 128"/>
              <a:gd name="T72" fmla="*/ 140 w 192"/>
              <a:gd name="T73" fmla="*/ 83 h 128"/>
              <a:gd name="T74" fmla="*/ 180 w 192"/>
              <a:gd name="T75" fmla="*/ 99 h 128"/>
              <a:gd name="T76" fmla="*/ 180 w 192"/>
              <a:gd name="T77" fmla="*/ 29 h 128"/>
              <a:gd name="T78" fmla="*/ 177 w 192"/>
              <a:gd name="T79" fmla="*/ 31 h 128"/>
              <a:gd name="T80" fmla="*/ 177 w 192"/>
              <a:gd name="T81" fmla="*/ 31 h 128"/>
              <a:gd name="T82" fmla="*/ 140 w 192"/>
              <a:gd name="T83" fmla="*/ 45 h 128"/>
              <a:gd name="T84" fmla="*/ 140 w 192"/>
              <a:gd name="T85" fmla="*/ 83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92" h="128">
                <a:moveTo>
                  <a:pt x="126" y="128"/>
                </a:moveTo>
                <a:cubicBezTo>
                  <a:pt x="14" y="128"/>
                  <a:pt x="14" y="128"/>
                  <a:pt x="14" y="128"/>
                </a:cubicBezTo>
                <a:cubicBezTo>
                  <a:pt x="6" y="128"/>
                  <a:pt x="0" y="122"/>
                  <a:pt x="0" y="114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0"/>
                  <a:pt x="10" y="0"/>
                  <a:pt x="23" y="0"/>
                </a:cubicBezTo>
                <a:cubicBezTo>
                  <a:pt x="117" y="0"/>
                  <a:pt x="117" y="0"/>
                  <a:pt x="117" y="0"/>
                </a:cubicBezTo>
                <a:cubicBezTo>
                  <a:pt x="130" y="0"/>
                  <a:pt x="140" y="10"/>
                  <a:pt x="140" y="23"/>
                </a:cubicBezTo>
                <a:cubicBezTo>
                  <a:pt x="140" y="32"/>
                  <a:pt x="140" y="32"/>
                  <a:pt x="140" y="32"/>
                </a:cubicBezTo>
                <a:cubicBezTo>
                  <a:pt x="179" y="17"/>
                  <a:pt x="179" y="17"/>
                  <a:pt x="179" y="17"/>
                </a:cubicBezTo>
                <a:cubicBezTo>
                  <a:pt x="179" y="17"/>
                  <a:pt x="179" y="17"/>
                  <a:pt x="179" y="17"/>
                </a:cubicBezTo>
                <a:cubicBezTo>
                  <a:pt x="181" y="16"/>
                  <a:pt x="183" y="15"/>
                  <a:pt x="185" y="15"/>
                </a:cubicBezTo>
                <a:cubicBezTo>
                  <a:pt x="187" y="15"/>
                  <a:pt x="189" y="16"/>
                  <a:pt x="190" y="17"/>
                </a:cubicBezTo>
                <a:cubicBezTo>
                  <a:pt x="192" y="18"/>
                  <a:pt x="192" y="20"/>
                  <a:pt x="192" y="22"/>
                </a:cubicBezTo>
                <a:cubicBezTo>
                  <a:pt x="192" y="23"/>
                  <a:pt x="192" y="24"/>
                  <a:pt x="192" y="25"/>
                </a:cubicBezTo>
                <a:cubicBezTo>
                  <a:pt x="192" y="25"/>
                  <a:pt x="192" y="26"/>
                  <a:pt x="192" y="26"/>
                </a:cubicBezTo>
                <a:cubicBezTo>
                  <a:pt x="192" y="102"/>
                  <a:pt x="192" y="102"/>
                  <a:pt x="192" y="102"/>
                </a:cubicBezTo>
                <a:cubicBezTo>
                  <a:pt x="192" y="104"/>
                  <a:pt x="191" y="107"/>
                  <a:pt x="191" y="108"/>
                </a:cubicBezTo>
                <a:cubicBezTo>
                  <a:pt x="189" y="111"/>
                  <a:pt x="187" y="113"/>
                  <a:pt x="184" y="113"/>
                </a:cubicBezTo>
                <a:cubicBezTo>
                  <a:pt x="184" y="113"/>
                  <a:pt x="184" y="113"/>
                  <a:pt x="184" y="113"/>
                </a:cubicBezTo>
                <a:cubicBezTo>
                  <a:pt x="183" y="113"/>
                  <a:pt x="183" y="112"/>
                  <a:pt x="183" y="112"/>
                </a:cubicBezTo>
                <a:cubicBezTo>
                  <a:pt x="183" y="112"/>
                  <a:pt x="183" y="112"/>
                  <a:pt x="183" y="112"/>
                </a:cubicBezTo>
                <a:cubicBezTo>
                  <a:pt x="182" y="112"/>
                  <a:pt x="182" y="112"/>
                  <a:pt x="182" y="112"/>
                </a:cubicBezTo>
                <a:cubicBezTo>
                  <a:pt x="181" y="112"/>
                  <a:pt x="180" y="112"/>
                  <a:pt x="179" y="111"/>
                </a:cubicBezTo>
                <a:cubicBezTo>
                  <a:pt x="178" y="111"/>
                  <a:pt x="178" y="111"/>
                  <a:pt x="178" y="111"/>
                </a:cubicBezTo>
                <a:cubicBezTo>
                  <a:pt x="140" y="96"/>
                  <a:pt x="140" y="96"/>
                  <a:pt x="140" y="96"/>
                </a:cubicBezTo>
                <a:cubicBezTo>
                  <a:pt x="140" y="114"/>
                  <a:pt x="140" y="114"/>
                  <a:pt x="140" y="114"/>
                </a:cubicBezTo>
                <a:cubicBezTo>
                  <a:pt x="140" y="122"/>
                  <a:pt x="134" y="128"/>
                  <a:pt x="126" y="128"/>
                </a:cubicBezTo>
                <a:close/>
                <a:moveTo>
                  <a:pt x="23" y="12"/>
                </a:moveTo>
                <a:cubicBezTo>
                  <a:pt x="17" y="12"/>
                  <a:pt x="12" y="17"/>
                  <a:pt x="12" y="23"/>
                </a:cubicBezTo>
                <a:cubicBezTo>
                  <a:pt x="12" y="114"/>
                  <a:pt x="12" y="114"/>
                  <a:pt x="12" y="114"/>
                </a:cubicBezTo>
                <a:cubicBezTo>
                  <a:pt x="12" y="115"/>
                  <a:pt x="13" y="116"/>
                  <a:pt x="14" y="116"/>
                </a:cubicBezTo>
                <a:cubicBezTo>
                  <a:pt x="126" y="116"/>
                  <a:pt x="126" y="116"/>
                  <a:pt x="126" y="116"/>
                </a:cubicBezTo>
                <a:cubicBezTo>
                  <a:pt x="127" y="116"/>
                  <a:pt x="128" y="115"/>
                  <a:pt x="128" y="114"/>
                </a:cubicBezTo>
                <a:cubicBezTo>
                  <a:pt x="128" y="23"/>
                  <a:pt x="128" y="23"/>
                  <a:pt x="128" y="23"/>
                </a:cubicBezTo>
                <a:cubicBezTo>
                  <a:pt x="128" y="17"/>
                  <a:pt x="123" y="12"/>
                  <a:pt x="117" y="12"/>
                </a:cubicBezTo>
                <a:lnTo>
                  <a:pt x="23" y="12"/>
                </a:lnTo>
                <a:close/>
                <a:moveTo>
                  <a:pt x="140" y="83"/>
                </a:moveTo>
                <a:cubicBezTo>
                  <a:pt x="180" y="99"/>
                  <a:pt x="180" y="99"/>
                  <a:pt x="180" y="99"/>
                </a:cubicBezTo>
                <a:cubicBezTo>
                  <a:pt x="180" y="29"/>
                  <a:pt x="180" y="29"/>
                  <a:pt x="180" y="29"/>
                </a:cubicBezTo>
                <a:cubicBezTo>
                  <a:pt x="177" y="31"/>
                  <a:pt x="177" y="31"/>
                  <a:pt x="177" y="31"/>
                </a:cubicBezTo>
                <a:cubicBezTo>
                  <a:pt x="177" y="31"/>
                  <a:pt x="177" y="31"/>
                  <a:pt x="177" y="31"/>
                </a:cubicBezTo>
                <a:cubicBezTo>
                  <a:pt x="140" y="45"/>
                  <a:pt x="140" y="45"/>
                  <a:pt x="140" y="45"/>
                </a:cubicBezTo>
                <a:lnTo>
                  <a:pt x="140" y="83"/>
                </a:lnTo>
                <a:close/>
              </a:path>
            </a:pathLst>
          </a:custGeom>
          <a:solidFill>
            <a:schemeClr val="bg2">
              <a:lumMod val="25000"/>
            </a:schemeClr>
          </a:solidFill>
          <a:ln>
            <a:noFill/>
          </a:ln>
        </p:spPr>
        <p:txBody>
          <a:bodyPr vert="horz" wrap="square" lIns="101841" tIns="50920" rIns="101841" bIns="509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2005" dirty="0">
              <a:latin typeface="Etelka Thin Pro" panose="02000503000000020004" pitchFamily="2" charset="0"/>
            </a:endParaRPr>
          </a:p>
        </p:txBody>
      </p:sp>
      <p:sp>
        <p:nvSpPr>
          <p:cNvPr id="50" name="Прямоугольник: скругленные углы 88">
            <a:extLst>
              <a:ext uri="{FF2B5EF4-FFF2-40B4-BE49-F238E27FC236}">
                <a16:creationId xmlns:a16="http://schemas.microsoft.com/office/drawing/2014/main" id="{78404C28-B824-41F4-9CAB-64370D2DB55D}"/>
              </a:ext>
            </a:extLst>
          </p:cNvPr>
          <p:cNvSpPr/>
          <p:nvPr/>
        </p:nvSpPr>
        <p:spPr>
          <a:xfrm>
            <a:off x="9470171" y="2603144"/>
            <a:ext cx="536465" cy="427396"/>
          </a:xfrm>
          <a:prstGeom prst="roundRect">
            <a:avLst>
              <a:gd name="adj" fmla="val 9941"/>
            </a:avLst>
          </a:prstGeom>
          <a:solidFill>
            <a:srgbClr val="CFE7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26" dirty="0">
              <a:latin typeface="Etelka Thin Pro" panose="02000503000000020004" pitchFamily="2" charset="0"/>
            </a:endParaRPr>
          </a:p>
        </p:txBody>
      </p:sp>
      <p:sp>
        <p:nvSpPr>
          <p:cNvPr id="52" name="Прямоугольник: скругленные углы 96">
            <a:extLst>
              <a:ext uri="{FF2B5EF4-FFF2-40B4-BE49-F238E27FC236}">
                <a16:creationId xmlns:a16="http://schemas.microsoft.com/office/drawing/2014/main" id="{1166689C-E5EF-45D4-AF09-A74378F75807}"/>
              </a:ext>
            </a:extLst>
          </p:cNvPr>
          <p:cNvSpPr/>
          <p:nvPr/>
        </p:nvSpPr>
        <p:spPr>
          <a:xfrm>
            <a:off x="13042309" y="1835818"/>
            <a:ext cx="536466" cy="427396"/>
          </a:xfrm>
          <a:prstGeom prst="roundRect">
            <a:avLst>
              <a:gd name="adj" fmla="val 9941"/>
            </a:avLst>
          </a:prstGeom>
          <a:solidFill>
            <a:srgbClr val="CFE7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26" dirty="0">
              <a:latin typeface="Etelka Thin Pro" panose="02000503000000020004" pitchFamily="2" charset="0"/>
            </a:endParaRPr>
          </a:p>
        </p:txBody>
      </p:sp>
      <p:sp>
        <p:nvSpPr>
          <p:cNvPr id="53" name="Рисунок 28">
            <a:extLst>
              <a:ext uri="{FF2B5EF4-FFF2-40B4-BE49-F238E27FC236}">
                <a16:creationId xmlns:a16="http://schemas.microsoft.com/office/drawing/2014/main" id="{12E94717-A82A-416E-BDC7-913736BD609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3137950" y="1925628"/>
            <a:ext cx="345181" cy="317528"/>
          </a:xfrm>
          <a:custGeom>
            <a:avLst/>
            <a:gdLst>
              <a:gd name="connsiteX0" fmla="*/ 137998 w 462843"/>
              <a:gd name="connsiteY0" fmla="*/ 286832 h 475881"/>
              <a:gd name="connsiteX1" fmla="*/ 61930 w 462843"/>
              <a:gd name="connsiteY1" fmla="*/ 286832 h 475881"/>
              <a:gd name="connsiteX2" fmla="*/ 58670 w 462843"/>
              <a:gd name="connsiteY2" fmla="*/ 283573 h 475881"/>
              <a:gd name="connsiteX3" fmla="*/ 58670 w 462843"/>
              <a:gd name="connsiteY3" fmla="*/ 45632 h 475881"/>
              <a:gd name="connsiteX4" fmla="*/ 58670 w 462843"/>
              <a:gd name="connsiteY4" fmla="*/ 26076 h 475881"/>
              <a:gd name="connsiteX5" fmla="*/ 58670 w 462843"/>
              <a:gd name="connsiteY5" fmla="*/ 22816 h 475881"/>
              <a:gd name="connsiteX6" fmla="*/ 61930 w 462843"/>
              <a:gd name="connsiteY6" fmla="*/ 19557 h 475881"/>
              <a:gd name="connsiteX7" fmla="*/ 175624 w 462843"/>
              <a:gd name="connsiteY7" fmla="*/ 19557 h 475881"/>
              <a:gd name="connsiteX8" fmla="*/ 185185 w 462843"/>
              <a:gd name="connsiteY8" fmla="*/ 20570 h 475881"/>
              <a:gd name="connsiteX9" fmla="*/ 195768 w 462843"/>
              <a:gd name="connsiteY9" fmla="*/ 22838 h 475881"/>
              <a:gd name="connsiteX10" fmla="*/ 219673 w 462843"/>
              <a:gd name="connsiteY10" fmla="*/ 43658 h 475881"/>
              <a:gd name="connsiteX11" fmla="*/ 221643 w 462843"/>
              <a:gd name="connsiteY11" fmla="*/ 54845 h 475881"/>
              <a:gd name="connsiteX12" fmla="*/ 221643 w 462843"/>
              <a:gd name="connsiteY12" fmla="*/ 113766 h 475881"/>
              <a:gd name="connsiteX13" fmla="*/ 226425 w 462843"/>
              <a:gd name="connsiteY13" fmla="*/ 116765 h 475881"/>
              <a:gd name="connsiteX14" fmla="*/ 238955 w 462843"/>
              <a:gd name="connsiteY14" fmla="*/ 111738 h 475881"/>
              <a:gd name="connsiteX15" fmla="*/ 241200 w 462843"/>
              <a:gd name="connsiteY15" fmla="*/ 108619 h 475881"/>
              <a:gd name="connsiteX16" fmla="*/ 241200 w 462843"/>
              <a:gd name="connsiteY16" fmla="*/ 54845 h 475881"/>
              <a:gd name="connsiteX17" fmla="*/ 243171 w 462843"/>
              <a:gd name="connsiteY17" fmla="*/ 43658 h 475881"/>
              <a:gd name="connsiteX18" fmla="*/ 267075 w 462843"/>
              <a:gd name="connsiteY18" fmla="*/ 22838 h 475881"/>
              <a:gd name="connsiteX19" fmla="*/ 277658 w 462843"/>
              <a:gd name="connsiteY19" fmla="*/ 20570 h 475881"/>
              <a:gd name="connsiteX20" fmla="*/ 287220 w 462843"/>
              <a:gd name="connsiteY20" fmla="*/ 19557 h 475881"/>
              <a:gd name="connsiteX21" fmla="*/ 400913 w 462843"/>
              <a:gd name="connsiteY21" fmla="*/ 19557 h 475881"/>
              <a:gd name="connsiteX22" fmla="*/ 404173 w 462843"/>
              <a:gd name="connsiteY22" fmla="*/ 22816 h 475881"/>
              <a:gd name="connsiteX23" fmla="*/ 404173 w 462843"/>
              <a:gd name="connsiteY23" fmla="*/ 26076 h 475881"/>
              <a:gd name="connsiteX24" fmla="*/ 404173 w 462843"/>
              <a:gd name="connsiteY24" fmla="*/ 45632 h 475881"/>
              <a:gd name="connsiteX25" fmla="*/ 404173 w 462843"/>
              <a:gd name="connsiteY25" fmla="*/ 175541 h 475881"/>
              <a:gd name="connsiteX26" fmla="*/ 404561 w 462843"/>
              <a:gd name="connsiteY26" fmla="*/ 177088 h 475881"/>
              <a:gd name="connsiteX27" fmla="*/ 420470 w 462843"/>
              <a:gd name="connsiteY27" fmla="*/ 241200 h 475881"/>
              <a:gd name="connsiteX28" fmla="*/ 406497 w 462843"/>
              <a:gd name="connsiteY28" fmla="*/ 301524 h 475881"/>
              <a:gd name="connsiteX29" fmla="*/ 409459 w 462843"/>
              <a:gd name="connsiteY29" fmla="*/ 306389 h 475881"/>
              <a:gd name="connsiteX30" fmla="*/ 410692 w 462843"/>
              <a:gd name="connsiteY30" fmla="*/ 306389 h 475881"/>
              <a:gd name="connsiteX31" fmla="*/ 423730 w 462843"/>
              <a:gd name="connsiteY31" fmla="*/ 293351 h 475881"/>
              <a:gd name="connsiteX32" fmla="*/ 423730 w 462843"/>
              <a:gd name="connsiteY32" fmla="*/ 48892 h 475881"/>
              <a:gd name="connsiteX33" fmla="*/ 426989 w 462843"/>
              <a:gd name="connsiteY33" fmla="*/ 45632 h 475881"/>
              <a:gd name="connsiteX34" fmla="*/ 440027 w 462843"/>
              <a:gd name="connsiteY34" fmla="*/ 45632 h 475881"/>
              <a:gd name="connsiteX35" fmla="*/ 443286 w 462843"/>
              <a:gd name="connsiteY35" fmla="*/ 48892 h 475881"/>
              <a:gd name="connsiteX36" fmla="*/ 443286 w 462843"/>
              <a:gd name="connsiteY36" fmla="*/ 316168 h 475881"/>
              <a:gd name="connsiteX37" fmla="*/ 440027 w 462843"/>
              <a:gd name="connsiteY37" fmla="*/ 319427 h 475881"/>
              <a:gd name="connsiteX38" fmla="*/ 397633 w 462843"/>
              <a:gd name="connsiteY38" fmla="*/ 319427 h 475881"/>
              <a:gd name="connsiteX39" fmla="*/ 394951 w 462843"/>
              <a:gd name="connsiteY39" fmla="*/ 320816 h 475881"/>
              <a:gd name="connsiteX40" fmla="*/ 384918 w 462843"/>
              <a:gd name="connsiteY40" fmla="*/ 333234 h 475881"/>
              <a:gd name="connsiteX41" fmla="*/ 387364 w 462843"/>
              <a:gd name="connsiteY41" fmla="*/ 338984 h 475881"/>
              <a:gd name="connsiteX42" fmla="*/ 449805 w 462843"/>
              <a:gd name="connsiteY42" fmla="*/ 338984 h 475881"/>
              <a:gd name="connsiteX43" fmla="*/ 462843 w 462843"/>
              <a:gd name="connsiteY43" fmla="*/ 325946 h 475881"/>
              <a:gd name="connsiteX44" fmla="*/ 462843 w 462843"/>
              <a:gd name="connsiteY44" fmla="*/ 39114 h 475881"/>
              <a:gd name="connsiteX45" fmla="*/ 449805 w 462843"/>
              <a:gd name="connsiteY45" fmla="*/ 26076 h 475881"/>
              <a:gd name="connsiteX46" fmla="*/ 426989 w 462843"/>
              <a:gd name="connsiteY46" fmla="*/ 26076 h 475881"/>
              <a:gd name="connsiteX47" fmla="*/ 423730 w 462843"/>
              <a:gd name="connsiteY47" fmla="*/ 22816 h 475881"/>
              <a:gd name="connsiteX48" fmla="*/ 423730 w 462843"/>
              <a:gd name="connsiteY48" fmla="*/ 13038 h 475881"/>
              <a:gd name="connsiteX49" fmla="*/ 410692 w 462843"/>
              <a:gd name="connsiteY49" fmla="*/ 0 h 475881"/>
              <a:gd name="connsiteX50" fmla="*/ 287220 w 462843"/>
              <a:gd name="connsiteY50" fmla="*/ 0 h 475881"/>
              <a:gd name="connsiteX51" fmla="*/ 273560 w 462843"/>
              <a:gd name="connsiteY51" fmla="*/ 1447 h 475881"/>
              <a:gd name="connsiteX52" fmla="*/ 262978 w 462843"/>
              <a:gd name="connsiteY52" fmla="*/ 3715 h 475881"/>
              <a:gd name="connsiteX53" fmla="*/ 234229 w 462843"/>
              <a:gd name="connsiteY53" fmla="*/ 20817 h 475881"/>
              <a:gd name="connsiteX54" fmla="*/ 228614 w 462843"/>
              <a:gd name="connsiteY54" fmla="*/ 20817 h 475881"/>
              <a:gd name="connsiteX55" fmla="*/ 199865 w 462843"/>
              <a:gd name="connsiteY55" fmla="*/ 3715 h 475881"/>
              <a:gd name="connsiteX56" fmla="*/ 189283 w 462843"/>
              <a:gd name="connsiteY56" fmla="*/ 1447 h 475881"/>
              <a:gd name="connsiteX57" fmla="*/ 175624 w 462843"/>
              <a:gd name="connsiteY57" fmla="*/ 0 h 475881"/>
              <a:gd name="connsiteX58" fmla="*/ 52151 w 462843"/>
              <a:gd name="connsiteY58" fmla="*/ 0 h 475881"/>
              <a:gd name="connsiteX59" fmla="*/ 39114 w 462843"/>
              <a:gd name="connsiteY59" fmla="*/ 13038 h 475881"/>
              <a:gd name="connsiteX60" fmla="*/ 39114 w 462843"/>
              <a:gd name="connsiteY60" fmla="*/ 22816 h 475881"/>
              <a:gd name="connsiteX61" fmla="*/ 35854 w 462843"/>
              <a:gd name="connsiteY61" fmla="*/ 26076 h 475881"/>
              <a:gd name="connsiteX62" fmla="*/ 13038 w 462843"/>
              <a:gd name="connsiteY62" fmla="*/ 26076 h 475881"/>
              <a:gd name="connsiteX63" fmla="*/ 0 w 462843"/>
              <a:gd name="connsiteY63" fmla="*/ 39114 h 475881"/>
              <a:gd name="connsiteX64" fmla="*/ 0 w 462843"/>
              <a:gd name="connsiteY64" fmla="*/ 325946 h 475881"/>
              <a:gd name="connsiteX65" fmla="*/ 13038 w 462843"/>
              <a:gd name="connsiteY65" fmla="*/ 338984 h 475881"/>
              <a:gd name="connsiteX66" fmla="*/ 179781 w 462843"/>
              <a:gd name="connsiteY66" fmla="*/ 338984 h 475881"/>
              <a:gd name="connsiteX67" fmla="*/ 182228 w 462843"/>
              <a:gd name="connsiteY67" fmla="*/ 333234 h 475881"/>
              <a:gd name="connsiteX68" fmla="*/ 172195 w 462843"/>
              <a:gd name="connsiteY68" fmla="*/ 320816 h 475881"/>
              <a:gd name="connsiteX69" fmla="*/ 169513 w 462843"/>
              <a:gd name="connsiteY69" fmla="*/ 319427 h 475881"/>
              <a:gd name="connsiteX70" fmla="*/ 22816 w 462843"/>
              <a:gd name="connsiteY70" fmla="*/ 319427 h 475881"/>
              <a:gd name="connsiteX71" fmla="*/ 19557 w 462843"/>
              <a:gd name="connsiteY71" fmla="*/ 316168 h 475881"/>
              <a:gd name="connsiteX72" fmla="*/ 19557 w 462843"/>
              <a:gd name="connsiteY72" fmla="*/ 48892 h 475881"/>
              <a:gd name="connsiteX73" fmla="*/ 22816 w 462843"/>
              <a:gd name="connsiteY73" fmla="*/ 45632 h 475881"/>
              <a:gd name="connsiteX74" fmla="*/ 35854 w 462843"/>
              <a:gd name="connsiteY74" fmla="*/ 45632 h 475881"/>
              <a:gd name="connsiteX75" fmla="*/ 39114 w 462843"/>
              <a:gd name="connsiteY75" fmla="*/ 48892 h 475881"/>
              <a:gd name="connsiteX76" fmla="*/ 39114 w 462843"/>
              <a:gd name="connsiteY76" fmla="*/ 293351 h 475881"/>
              <a:gd name="connsiteX77" fmla="*/ 52151 w 462843"/>
              <a:gd name="connsiteY77" fmla="*/ 306389 h 475881"/>
              <a:gd name="connsiteX78" fmla="*/ 137998 w 462843"/>
              <a:gd name="connsiteY78" fmla="*/ 306389 h 475881"/>
              <a:gd name="connsiteX79" fmla="*/ 157651 w 462843"/>
              <a:gd name="connsiteY79" fmla="*/ 307259 h 475881"/>
              <a:gd name="connsiteX80" fmla="*/ 161019 w 462843"/>
              <a:gd name="connsiteY80" fmla="*/ 302270 h 475881"/>
              <a:gd name="connsiteX81" fmla="*/ 155404 w 462843"/>
              <a:gd name="connsiteY81" fmla="*/ 289407 h 475881"/>
              <a:gd name="connsiteX82" fmla="*/ 152545 w 462843"/>
              <a:gd name="connsiteY82" fmla="*/ 287271 h 475881"/>
              <a:gd name="connsiteX83" fmla="*/ 137998 w 462843"/>
              <a:gd name="connsiteY83" fmla="*/ 286832 h 475881"/>
              <a:gd name="connsiteX84" fmla="*/ 198827 w 462843"/>
              <a:gd name="connsiteY84" fmla="*/ 117341 h 475881"/>
              <a:gd name="connsiteX85" fmla="*/ 208329 w 462843"/>
              <a:gd name="connsiteY85" fmla="*/ 124802 h 475881"/>
              <a:gd name="connsiteX86" fmla="*/ 207043 w 462843"/>
              <a:gd name="connsiteY86" fmla="*/ 127675 h 475881"/>
              <a:gd name="connsiteX87" fmla="*/ 195818 w 462843"/>
              <a:gd name="connsiteY87" fmla="*/ 136124 h 475881"/>
              <a:gd name="connsiteX88" fmla="*/ 193702 w 462843"/>
              <a:gd name="connsiteY88" fmla="*/ 136897 h 475881"/>
              <a:gd name="connsiteX89" fmla="*/ 81486 w 462843"/>
              <a:gd name="connsiteY89" fmla="*/ 136897 h 475881"/>
              <a:gd name="connsiteX90" fmla="*/ 71708 w 462843"/>
              <a:gd name="connsiteY90" fmla="*/ 127119 h 475881"/>
              <a:gd name="connsiteX91" fmla="*/ 81486 w 462843"/>
              <a:gd name="connsiteY91" fmla="*/ 117341 h 475881"/>
              <a:gd name="connsiteX92" fmla="*/ 198827 w 462843"/>
              <a:gd name="connsiteY92" fmla="*/ 117341 h 475881"/>
              <a:gd name="connsiteX93" fmla="*/ 81486 w 462843"/>
              <a:gd name="connsiteY93" fmla="*/ 156454 h 475881"/>
              <a:gd name="connsiteX94" fmla="*/ 169328 w 462843"/>
              <a:gd name="connsiteY94" fmla="*/ 156454 h 475881"/>
              <a:gd name="connsiteX95" fmla="*/ 172017 w 462843"/>
              <a:gd name="connsiteY95" fmla="*/ 161833 h 475881"/>
              <a:gd name="connsiteX96" fmla="*/ 164101 w 462843"/>
              <a:gd name="connsiteY96" fmla="*/ 174313 h 475881"/>
              <a:gd name="connsiteX97" fmla="*/ 161224 w 462843"/>
              <a:gd name="connsiteY97" fmla="*/ 176011 h 475881"/>
              <a:gd name="connsiteX98" fmla="*/ 81486 w 462843"/>
              <a:gd name="connsiteY98" fmla="*/ 176011 h 475881"/>
              <a:gd name="connsiteX99" fmla="*/ 71708 w 462843"/>
              <a:gd name="connsiteY99" fmla="*/ 166232 h 475881"/>
              <a:gd name="connsiteX100" fmla="*/ 81486 w 462843"/>
              <a:gd name="connsiteY100" fmla="*/ 156454 h 475881"/>
              <a:gd name="connsiteX101" fmla="*/ 81486 w 462843"/>
              <a:gd name="connsiteY101" fmla="*/ 195568 h 475881"/>
              <a:gd name="connsiteX102" fmla="*/ 149856 w 462843"/>
              <a:gd name="connsiteY102" fmla="*/ 195568 h 475881"/>
              <a:gd name="connsiteX103" fmla="*/ 153004 w 462843"/>
              <a:gd name="connsiteY103" fmla="*/ 199939 h 475881"/>
              <a:gd name="connsiteX104" fmla="*/ 149692 w 462843"/>
              <a:gd name="connsiteY104" fmla="*/ 212487 h 475881"/>
              <a:gd name="connsiteX105" fmla="*/ 146465 w 462843"/>
              <a:gd name="connsiteY105" fmla="*/ 215124 h 475881"/>
              <a:gd name="connsiteX106" fmla="*/ 81486 w 462843"/>
              <a:gd name="connsiteY106" fmla="*/ 215124 h 475881"/>
              <a:gd name="connsiteX107" fmla="*/ 71708 w 462843"/>
              <a:gd name="connsiteY107" fmla="*/ 205346 h 475881"/>
              <a:gd name="connsiteX108" fmla="*/ 81486 w 462843"/>
              <a:gd name="connsiteY108" fmla="*/ 195568 h 475881"/>
              <a:gd name="connsiteX109" fmla="*/ 81486 w 462843"/>
              <a:gd name="connsiteY109" fmla="*/ 234681 h 475881"/>
              <a:gd name="connsiteX110" fmla="*/ 143412 w 462843"/>
              <a:gd name="connsiteY110" fmla="*/ 234681 h 475881"/>
              <a:gd name="connsiteX111" fmla="*/ 146710 w 462843"/>
              <a:gd name="connsiteY111" fmla="*/ 238095 h 475881"/>
              <a:gd name="connsiteX112" fmla="*/ 146676 w 462843"/>
              <a:gd name="connsiteY112" fmla="*/ 241200 h 475881"/>
              <a:gd name="connsiteX113" fmla="*/ 146998 w 462843"/>
              <a:gd name="connsiteY113" fmla="*/ 250668 h 475881"/>
              <a:gd name="connsiteX114" fmla="*/ 143706 w 462843"/>
              <a:gd name="connsiteY114" fmla="*/ 254238 h 475881"/>
              <a:gd name="connsiteX115" fmla="*/ 81486 w 462843"/>
              <a:gd name="connsiteY115" fmla="*/ 254238 h 475881"/>
              <a:gd name="connsiteX116" fmla="*/ 71708 w 462843"/>
              <a:gd name="connsiteY116" fmla="*/ 244459 h 475881"/>
              <a:gd name="connsiteX117" fmla="*/ 81486 w 462843"/>
              <a:gd name="connsiteY117" fmla="*/ 234681 h 475881"/>
              <a:gd name="connsiteX118" fmla="*/ 97784 w 462843"/>
              <a:gd name="connsiteY118" fmla="*/ 39114 h 475881"/>
              <a:gd name="connsiteX119" fmla="*/ 88005 w 462843"/>
              <a:gd name="connsiteY119" fmla="*/ 48892 h 475881"/>
              <a:gd name="connsiteX120" fmla="*/ 97784 w 462843"/>
              <a:gd name="connsiteY120" fmla="*/ 58670 h 475881"/>
              <a:gd name="connsiteX121" fmla="*/ 130378 w 462843"/>
              <a:gd name="connsiteY121" fmla="*/ 58670 h 475881"/>
              <a:gd name="connsiteX122" fmla="*/ 140157 w 462843"/>
              <a:gd name="connsiteY122" fmla="*/ 48892 h 475881"/>
              <a:gd name="connsiteX123" fmla="*/ 130378 w 462843"/>
              <a:gd name="connsiteY123" fmla="*/ 39114 h 475881"/>
              <a:gd name="connsiteX124" fmla="*/ 97784 w 462843"/>
              <a:gd name="connsiteY124" fmla="*/ 39114 h 475881"/>
              <a:gd name="connsiteX125" fmla="*/ 166232 w 462843"/>
              <a:gd name="connsiteY125" fmla="*/ 39114 h 475881"/>
              <a:gd name="connsiteX126" fmla="*/ 156454 w 462843"/>
              <a:gd name="connsiteY126" fmla="*/ 48892 h 475881"/>
              <a:gd name="connsiteX127" fmla="*/ 166232 w 462843"/>
              <a:gd name="connsiteY127" fmla="*/ 58670 h 475881"/>
              <a:gd name="connsiteX128" fmla="*/ 198827 w 462843"/>
              <a:gd name="connsiteY128" fmla="*/ 58670 h 475881"/>
              <a:gd name="connsiteX129" fmla="*/ 208605 w 462843"/>
              <a:gd name="connsiteY129" fmla="*/ 48892 h 475881"/>
              <a:gd name="connsiteX130" fmla="*/ 198827 w 462843"/>
              <a:gd name="connsiteY130" fmla="*/ 39114 h 475881"/>
              <a:gd name="connsiteX131" fmla="*/ 166232 w 462843"/>
              <a:gd name="connsiteY131" fmla="*/ 39114 h 475881"/>
              <a:gd name="connsiteX132" fmla="*/ 71708 w 462843"/>
              <a:gd name="connsiteY132" fmla="*/ 88005 h 475881"/>
              <a:gd name="connsiteX133" fmla="*/ 81486 w 462843"/>
              <a:gd name="connsiteY133" fmla="*/ 78227 h 475881"/>
              <a:gd name="connsiteX134" fmla="*/ 198827 w 462843"/>
              <a:gd name="connsiteY134" fmla="*/ 78227 h 475881"/>
              <a:gd name="connsiteX135" fmla="*/ 208605 w 462843"/>
              <a:gd name="connsiteY135" fmla="*/ 88005 h 475881"/>
              <a:gd name="connsiteX136" fmla="*/ 198827 w 462843"/>
              <a:gd name="connsiteY136" fmla="*/ 97784 h 475881"/>
              <a:gd name="connsiteX137" fmla="*/ 81486 w 462843"/>
              <a:gd name="connsiteY137" fmla="*/ 97784 h 475881"/>
              <a:gd name="connsiteX138" fmla="*/ 71708 w 462843"/>
              <a:gd name="connsiteY138" fmla="*/ 88005 h 475881"/>
              <a:gd name="connsiteX139" fmla="*/ 264016 w 462843"/>
              <a:gd name="connsiteY139" fmla="*/ 42373 h 475881"/>
              <a:gd name="connsiteX140" fmla="*/ 254238 w 462843"/>
              <a:gd name="connsiteY140" fmla="*/ 52151 h 475881"/>
              <a:gd name="connsiteX141" fmla="*/ 264016 w 462843"/>
              <a:gd name="connsiteY141" fmla="*/ 61930 h 475881"/>
              <a:gd name="connsiteX142" fmla="*/ 381357 w 462843"/>
              <a:gd name="connsiteY142" fmla="*/ 61930 h 475881"/>
              <a:gd name="connsiteX143" fmla="*/ 391135 w 462843"/>
              <a:gd name="connsiteY143" fmla="*/ 52151 h 475881"/>
              <a:gd name="connsiteX144" fmla="*/ 381357 w 462843"/>
              <a:gd name="connsiteY144" fmla="*/ 42373 h 475881"/>
              <a:gd name="connsiteX145" fmla="*/ 264016 w 462843"/>
              <a:gd name="connsiteY145" fmla="*/ 42373 h 475881"/>
              <a:gd name="connsiteX146" fmla="*/ 254238 w 462843"/>
              <a:gd name="connsiteY146" fmla="*/ 88005 h 475881"/>
              <a:gd name="connsiteX147" fmla="*/ 264016 w 462843"/>
              <a:gd name="connsiteY147" fmla="*/ 78227 h 475881"/>
              <a:gd name="connsiteX148" fmla="*/ 381357 w 462843"/>
              <a:gd name="connsiteY148" fmla="*/ 78227 h 475881"/>
              <a:gd name="connsiteX149" fmla="*/ 391135 w 462843"/>
              <a:gd name="connsiteY149" fmla="*/ 88005 h 475881"/>
              <a:gd name="connsiteX150" fmla="*/ 381357 w 462843"/>
              <a:gd name="connsiteY150" fmla="*/ 97784 h 475881"/>
              <a:gd name="connsiteX151" fmla="*/ 264016 w 462843"/>
              <a:gd name="connsiteY151" fmla="*/ 97784 h 475881"/>
              <a:gd name="connsiteX152" fmla="*/ 254238 w 462843"/>
              <a:gd name="connsiteY152" fmla="*/ 88005 h 475881"/>
              <a:gd name="connsiteX153" fmla="*/ 365287 w 462843"/>
              <a:gd name="connsiteY153" fmla="*/ 189530 h 475881"/>
              <a:gd name="connsiteX154" fmla="*/ 334912 w 462843"/>
              <a:gd name="connsiteY154" fmla="*/ 324439 h 475881"/>
              <a:gd name="connsiteX155" fmla="*/ 200002 w 462843"/>
              <a:gd name="connsiteY155" fmla="*/ 294064 h 475881"/>
              <a:gd name="connsiteX156" fmla="*/ 230377 w 462843"/>
              <a:gd name="connsiteY156" fmla="*/ 159154 h 475881"/>
              <a:gd name="connsiteX157" fmla="*/ 365287 w 462843"/>
              <a:gd name="connsiteY157" fmla="*/ 189530 h 475881"/>
              <a:gd name="connsiteX158" fmla="*/ 355019 w 462843"/>
              <a:gd name="connsiteY158" fmla="*/ 337939 h 475881"/>
              <a:gd name="connsiteX159" fmla="*/ 355793 w 462843"/>
              <a:gd name="connsiteY159" fmla="*/ 333559 h 475881"/>
              <a:gd name="connsiteX160" fmla="*/ 381816 w 462843"/>
              <a:gd name="connsiteY160" fmla="*/ 179076 h 475881"/>
              <a:gd name="connsiteX161" fmla="*/ 219924 w 462843"/>
              <a:gd name="connsiteY161" fmla="*/ 142625 h 475881"/>
              <a:gd name="connsiteX162" fmla="*/ 183474 w 462843"/>
              <a:gd name="connsiteY162" fmla="*/ 304517 h 475881"/>
              <a:gd name="connsiteX163" fmla="*/ 334203 w 462843"/>
              <a:gd name="connsiteY163" fmla="*/ 347215 h 475881"/>
              <a:gd name="connsiteX164" fmla="*/ 338491 w 462843"/>
              <a:gd name="connsiteY164" fmla="*/ 348392 h 475881"/>
              <a:gd name="connsiteX165" fmla="*/ 354042 w 462843"/>
              <a:gd name="connsiteY165" fmla="*/ 372981 h 475881"/>
              <a:gd name="connsiteX166" fmla="*/ 353844 w 462843"/>
              <a:gd name="connsiteY166" fmla="*/ 376885 h 475881"/>
              <a:gd name="connsiteX167" fmla="*/ 352662 w 462843"/>
              <a:gd name="connsiteY167" fmla="*/ 413485 h 475881"/>
              <a:gd name="connsiteX168" fmla="*/ 385655 w 462843"/>
              <a:gd name="connsiteY168" fmla="*/ 465652 h 475881"/>
              <a:gd name="connsiteX169" fmla="*/ 430625 w 462843"/>
              <a:gd name="connsiteY169" fmla="*/ 475777 h 475881"/>
              <a:gd name="connsiteX170" fmla="*/ 440750 w 462843"/>
              <a:gd name="connsiteY170" fmla="*/ 430807 h 475881"/>
              <a:gd name="connsiteX171" fmla="*/ 407758 w 462843"/>
              <a:gd name="connsiteY171" fmla="*/ 378640 h 475881"/>
              <a:gd name="connsiteX172" fmla="*/ 374183 w 462843"/>
              <a:gd name="connsiteY172" fmla="*/ 364022 h 475881"/>
              <a:gd name="connsiteX173" fmla="*/ 370570 w 462843"/>
              <a:gd name="connsiteY173" fmla="*/ 362528 h 475881"/>
              <a:gd name="connsiteX174" fmla="*/ 355019 w 462843"/>
              <a:gd name="connsiteY174" fmla="*/ 337939 h 475881"/>
              <a:gd name="connsiteX175" fmla="*/ 369191 w 462843"/>
              <a:gd name="connsiteY175" fmla="*/ 403032 h 475881"/>
              <a:gd name="connsiteX176" fmla="*/ 373241 w 462843"/>
              <a:gd name="connsiteY176" fmla="*/ 385044 h 475881"/>
              <a:gd name="connsiteX177" fmla="*/ 391229 w 462843"/>
              <a:gd name="connsiteY177" fmla="*/ 389094 h 475881"/>
              <a:gd name="connsiteX178" fmla="*/ 424221 w 462843"/>
              <a:gd name="connsiteY178" fmla="*/ 441260 h 475881"/>
              <a:gd name="connsiteX179" fmla="*/ 420172 w 462843"/>
              <a:gd name="connsiteY179" fmla="*/ 459249 h 475881"/>
              <a:gd name="connsiteX180" fmla="*/ 402183 w 462843"/>
              <a:gd name="connsiteY180" fmla="*/ 455199 h 475881"/>
              <a:gd name="connsiteX181" fmla="*/ 369191 w 462843"/>
              <a:gd name="connsiteY181" fmla="*/ 403032 h 475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</a:cxnLst>
            <a:rect l="l" t="t" r="r" b="b"/>
            <a:pathLst>
              <a:path w="462843" h="475881">
                <a:moveTo>
                  <a:pt x="137998" y="286832"/>
                </a:moveTo>
                <a:lnTo>
                  <a:pt x="61930" y="286832"/>
                </a:lnTo>
                <a:cubicBezTo>
                  <a:pt x="60130" y="286832"/>
                  <a:pt x="58670" y="285373"/>
                  <a:pt x="58670" y="283573"/>
                </a:cubicBezTo>
                <a:lnTo>
                  <a:pt x="58670" y="45632"/>
                </a:lnTo>
                <a:lnTo>
                  <a:pt x="58670" y="26076"/>
                </a:lnTo>
                <a:lnTo>
                  <a:pt x="58670" y="22816"/>
                </a:lnTo>
                <a:cubicBezTo>
                  <a:pt x="58670" y="21016"/>
                  <a:pt x="60130" y="19557"/>
                  <a:pt x="61930" y="19557"/>
                </a:cubicBezTo>
                <a:lnTo>
                  <a:pt x="175624" y="19557"/>
                </a:lnTo>
                <a:cubicBezTo>
                  <a:pt x="178837" y="19557"/>
                  <a:pt x="182042" y="19896"/>
                  <a:pt x="185185" y="20570"/>
                </a:cubicBezTo>
                <a:lnTo>
                  <a:pt x="195768" y="22838"/>
                </a:lnTo>
                <a:cubicBezTo>
                  <a:pt x="206789" y="25199"/>
                  <a:pt x="215820" y="33065"/>
                  <a:pt x="219673" y="43658"/>
                </a:cubicBezTo>
                <a:cubicBezTo>
                  <a:pt x="220976" y="47244"/>
                  <a:pt x="221643" y="51030"/>
                  <a:pt x="221643" y="54845"/>
                </a:cubicBezTo>
                <a:lnTo>
                  <a:pt x="221643" y="113766"/>
                </a:lnTo>
                <a:cubicBezTo>
                  <a:pt x="221643" y="116198"/>
                  <a:pt x="224215" y="117782"/>
                  <a:pt x="226425" y="116765"/>
                </a:cubicBezTo>
                <a:cubicBezTo>
                  <a:pt x="230498" y="114891"/>
                  <a:pt x="234678" y="113212"/>
                  <a:pt x="238955" y="111738"/>
                </a:cubicBezTo>
                <a:cubicBezTo>
                  <a:pt x="240290" y="111279"/>
                  <a:pt x="241200" y="110031"/>
                  <a:pt x="241200" y="108619"/>
                </a:cubicBezTo>
                <a:lnTo>
                  <a:pt x="241200" y="54845"/>
                </a:lnTo>
                <a:cubicBezTo>
                  <a:pt x="241200" y="51030"/>
                  <a:pt x="241867" y="47244"/>
                  <a:pt x="243171" y="43658"/>
                </a:cubicBezTo>
                <a:cubicBezTo>
                  <a:pt x="247023" y="33065"/>
                  <a:pt x="256054" y="25199"/>
                  <a:pt x="267075" y="22838"/>
                </a:cubicBezTo>
                <a:lnTo>
                  <a:pt x="277658" y="20570"/>
                </a:lnTo>
                <a:cubicBezTo>
                  <a:pt x="280801" y="19896"/>
                  <a:pt x="284006" y="19557"/>
                  <a:pt x="287220" y="19557"/>
                </a:cubicBezTo>
                <a:lnTo>
                  <a:pt x="400913" y="19557"/>
                </a:lnTo>
                <a:cubicBezTo>
                  <a:pt x="402713" y="19557"/>
                  <a:pt x="404173" y="21016"/>
                  <a:pt x="404173" y="22816"/>
                </a:cubicBezTo>
                <a:lnTo>
                  <a:pt x="404173" y="26076"/>
                </a:lnTo>
                <a:lnTo>
                  <a:pt x="404173" y="45632"/>
                </a:lnTo>
                <a:lnTo>
                  <a:pt x="404173" y="175541"/>
                </a:lnTo>
                <a:cubicBezTo>
                  <a:pt x="404173" y="176081"/>
                  <a:pt x="404307" y="176611"/>
                  <a:pt x="404561" y="177088"/>
                </a:cubicBezTo>
                <a:cubicBezTo>
                  <a:pt x="414717" y="196214"/>
                  <a:pt x="420470" y="218035"/>
                  <a:pt x="420470" y="241200"/>
                </a:cubicBezTo>
                <a:cubicBezTo>
                  <a:pt x="420470" y="262849"/>
                  <a:pt x="415445" y="283325"/>
                  <a:pt x="406497" y="301524"/>
                </a:cubicBezTo>
                <a:cubicBezTo>
                  <a:pt x="405406" y="303742"/>
                  <a:pt x="406988" y="306389"/>
                  <a:pt x="409459" y="306389"/>
                </a:cubicBezTo>
                <a:lnTo>
                  <a:pt x="410692" y="306389"/>
                </a:lnTo>
                <a:cubicBezTo>
                  <a:pt x="417893" y="306389"/>
                  <a:pt x="423730" y="300552"/>
                  <a:pt x="423730" y="293351"/>
                </a:cubicBezTo>
                <a:lnTo>
                  <a:pt x="423730" y="48892"/>
                </a:lnTo>
                <a:cubicBezTo>
                  <a:pt x="423730" y="47092"/>
                  <a:pt x="425189" y="45632"/>
                  <a:pt x="426989" y="45632"/>
                </a:cubicBezTo>
                <a:lnTo>
                  <a:pt x="440027" y="45632"/>
                </a:lnTo>
                <a:cubicBezTo>
                  <a:pt x="441827" y="45632"/>
                  <a:pt x="443286" y="47092"/>
                  <a:pt x="443286" y="48892"/>
                </a:cubicBezTo>
                <a:lnTo>
                  <a:pt x="443286" y="316168"/>
                </a:lnTo>
                <a:cubicBezTo>
                  <a:pt x="443286" y="317967"/>
                  <a:pt x="441827" y="319427"/>
                  <a:pt x="440027" y="319427"/>
                </a:cubicBezTo>
                <a:lnTo>
                  <a:pt x="397633" y="319427"/>
                </a:lnTo>
                <a:cubicBezTo>
                  <a:pt x="396567" y="319427"/>
                  <a:pt x="395571" y="319949"/>
                  <a:pt x="394951" y="320816"/>
                </a:cubicBezTo>
                <a:cubicBezTo>
                  <a:pt x="391847" y="325151"/>
                  <a:pt x="388496" y="329297"/>
                  <a:pt x="384918" y="333234"/>
                </a:cubicBezTo>
                <a:cubicBezTo>
                  <a:pt x="382954" y="335395"/>
                  <a:pt x="384445" y="338984"/>
                  <a:pt x="387364" y="338984"/>
                </a:cubicBezTo>
                <a:lnTo>
                  <a:pt x="449805" y="338984"/>
                </a:lnTo>
                <a:cubicBezTo>
                  <a:pt x="457006" y="338984"/>
                  <a:pt x="462843" y="333147"/>
                  <a:pt x="462843" y="325946"/>
                </a:cubicBezTo>
                <a:lnTo>
                  <a:pt x="462843" y="39114"/>
                </a:lnTo>
                <a:cubicBezTo>
                  <a:pt x="462843" y="31913"/>
                  <a:pt x="457006" y="26076"/>
                  <a:pt x="449805" y="26076"/>
                </a:cubicBezTo>
                <a:lnTo>
                  <a:pt x="426989" y="26076"/>
                </a:lnTo>
                <a:cubicBezTo>
                  <a:pt x="425189" y="26076"/>
                  <a:pt x="423730" y="24616"/>
                  <a:pt x="423730" y="22816"/>
                </a:cubicBezTo>
                <a:lnTo>
                  <a:pt x="423730" y="13038"/>
                </a:lnTo>
                <a:cubicBezTo>
                  <a:pt x="423730" y="5837"/>
                  <a:pt x="417893" y="0"/>
                  <a:pt x="410692" y="0"/>
                </a:cubicBezTo>
                <a:lnTo>
                  <a:pt x="287220" y="0"/>
                </a:lnTo>
                <a:cubicBezTo>
                  <a:pt x="282628" y="0"/>
                  <a:pt x="278050" y="485"/>
                  <a:pt x="273560" y="1447"/>
                </a:cubicBezTo>
                <a:lnTo>
                  <a:pt x="262978" y="3715"/>
                </a:lnTo>
                <a:cubicBezTo>
                  <a:pt x="251613" y="6150"/>
                  <a:pt x="241574" y="12248"/>
                  <a:pt x="234229" y="20817"/>
                </a:cubicBezTo>
                <a:cubicBezTo>
                  <a:pt x="232776" y="22512"/>
                  <a:pt x="230067" y="22512"/>
                  <a:pt x="228614" y="20817"/>
                </a:cubicBezTo>
                <a:cubicBezTo>
                  <a:pt x="221269" y="12248"/>
                  <a:pt x="211230" y="6150"/>
                  <a:pt x="199865" y="3715"/>
                </a:cubicBezTo>
                <a:lnTo>
                  <a:pt x="189283" y="1447"/>
                </a:lnTo>
                <a:cubicBezTo>
                  <a:pt x="184793" y="485"/>
                  <a:pt x="180215" y="0"/>
                  <a:pt x="175624" y="0"/>
                </a:cubicBezTo>
                <a:lnTo>
                  <a:pt x="52151" y="0"/>
                </a:lnTo>
                <a:cubicBezTo>
                  <a:pt x="44951" y="0"/>
                  <a:pt x="39114" y="5837"/>
                  <a:pt x="39114" y="13038"/>
                </a:cubicBezTo>
                <a:lnTo>
                  <a:pt x="39114" y="22816"/>
                </a:lnTo>
                <a:cubicBezTo>
                  <a:pt x="39114" y="24616"/>
                  <a:pt x="37654" y="26076"/>
                  <a:pt x="35854" y="26076"/>
                </a:cubicBezTo>
                <a:lnTo>
                  <a:pt x="13038" y="26076"/>
                </a:lnTo>
                <a:cubicBezTo>
                  <a:pt x="5837" y="26076"/>
                  <a:pt x="0" y="31913"/>
                  <a:pt x="0" y="39114"/>
                </a:cubicBezTo>
                <a:lnTo>
                  <a:pt x="0" y="325946"/>
                </a:lnTo>
                <a:cubicBezTo>
                  <a:pt x="0" y="333147"/>
                  <a:pt x="5837" y="338984"/>
                  <a:pt x="13038" y="338984"/>
                </a:cubicBezTo>
                <a:lnTo>
                  <a:pt x="179781" y="338984"/>
                </a:lnTo>
                <a:cubicBezTo>
                  <a:pt x="182701" y="338984"/>
                  <a:pt x="184191" y="335395"/>
                  <a:pt x="182228" y="333234"/>
                </a:cubicBezTo>
                <a:cubicBezTo>
                  <a:pt x="178650" y="329297"/>
                  <a:pt x="175299" y="325151"/>
                  <a:pt x="172195" y="320816"/>
                </a:cubicBezTo>
                <a:cubicBezTo>
                  <a:pt x="171575" y="319949"/>
                  <a:pt x="170579" y="319427"/>
                  <a:pt x="169513" y="319427"/>
                </a:cubicBezTo>
                <a:lnTo>
                  <a:pt x="22816" y="319427"/>
                </a:lnTo>
                <a:cubicBezTo>
                  <a:pt x="21016" y="319427"/>
                  <a:pt x="19557" y="317967"/>
                  <a:pt x="19557" y="316168"/>
                </a:cubicBezTo>
                <a:lnTo>
                  <a:pt x="19557" y="48892"/>
                </a:lnTo>
                <a:cubicBezTo>
                  <a:pt x="19557" y="47092"/>
                  <a:pt x="21016" y="45632"/>
                  <a:pt x="22816" y="45632"/>
                </a:cubicBezTo>
                <a:lnTo>
                  <a:pt x="35854" y="45632"/>
                </a:lnTo>
                <a:cubicBezTo>
                  <a:pt x="37654" y="45632"/>
                  <a:pt x="39114" y="47092"/>
                  <a:pt x="39114" y="48892"/>
                </a:cubicBezTo>
                <a:lnTo>
                  <a:pt x="39114" y="293351"/>
                </a:lnTo>
                <a:cubicBezTo>
                  <a:pt x="39114" y="300552"/>
                  <a:pt x="44951" y="306389"/>
                  <a:pt x="52151" y="306389"/>
                </a:cubicBezTo>
                <a:lnTo>
                  <a:pt x="137998" y="306389"/>
                </a:lnTo>
                <a:cubicBezTo>
                  <a:pt x="144569" y="306389"/>
                  <a:pt x="151126" y="306681"/>
                  <a:pt x="157651" y="307259"/>
                </a:cubicBezTo>
                <a:cubicBezTo>
                  <a:pt x="160302" y="307495"/>
                  <a:pt x="162208" y="304651"/>
                  <a:pt x="161019" y="302270"/>
                </a:cubicBezTo>
                <a:cubicBezTo>
                  <a:pt x="158936" y="298099"/>
                  <a:pt x="157060" y="293807"/>
                  <a:pt x="155404" y="289407"/>
                </a:cubicBezTo>
                <a:cubicBezTo>
                  <a:pt x="154949" y="288196"/>
                  <a:pt x="153837" y="287348"/>
                  <a:pt x="152545" y="287271"/>
                </a:cubicBezTo>
                <a:cubicBezTo>
                  <a:pt x="147707" y="286978"/>
                  <a:pt x="142856" y="286832"/>
                  <a:pt x="137998" y="286832"/>
                </a:cubicBezTo>
                <a:close/>
                <a:moveTo>
                  <a:pt x="198827" y="117341"/>
                </a:moveTo>
                <a:cubicBezTo>
                  <a:pt x="203429" y="117341"/>
                  <a:pt x="207289" y="120520"/>
                  <a:pt x="208329" y="124802"/>
                </a:cubicBezTo>
                <a:cubicBezTo>
                  <a:pt x="208601" y="125923"/>
                  <a:pt x="208000" y="127029"/>
                  <a:pt x="207043" y="127675"/>
                </a:cubicBezTo>
                <a:cubicBezTo>
                  <a:pt x="203155" y="130301"/>
                  <a:pt x="199408" y="133123"/>
                  <a:pt x="195818" y="136124"/>
                </a:cubicBezTo>
                <a:cubicBezTo>
                  <a:pt x="195225" y="136621"/>
                  <a:pt x="194477" y="136897"/>
                  <a:pt x="193702" y="136897"/>
                </a:cubicBezTo>
                <a:lnTo>
                  <a:pt x="81486" y="136897"/>
                </a:lnTo>
                <a:cubicBezTo>
                  <a:pt x="76086" y="136897"/>
                  <a:pt x="71708" y="132519"/>
                  <a:pt x="71708" y="127119"/>
                </a:cubicBezTo>
                <a:cubicBezTo>
                  <a:pt x="71708" y="121719"/>
                  <a:pt x="76086" y="117341"/>
                  <a:pt x="81486" y="117341"/>
                </a:cubicBezTo>
                <a:lnTo>
                  <a:pt x="198827" y="117341"/>
                </a:lnTo>
                <a:close/>
                <a:moveTo>
                  <a:pt x="81486" y="156454"/>
                </a:moveTo>
                <a:lnTo>
                  <a:pt x="169328" y="156454"/>
                </a:lnTo>
                <a:cubicBezTo>
                  <a:pt x="172051" y="156454"/>
                  <a:pt x="173598" y="159615"/>
                  <a:pt x="172017" y="161833"/>
                </a:cubicBezTo>
                <a:cubicBezTo>
                  <a:pt x="169163" y="165837"/>
                  <a:pt x="166519" y="170003"/>
                  <a:pt x="164101" y="174313"/>
                </a:cubicBezTo>
                <a:cubicBezTo>
                  <a:pt x="163516" y="175355"/>
                  <a:pt x="162419" y="176011"/>
                  <a:pt x="161224" y="176011"/>
                </a:cubicBezTo>
                <a:lnTo>
                  <a:pt x="81486" y="176011"/>
                </a:lnTo>
                <a:cubicBezTo>
                  <a:pt x="76086" y="176011"/>
                  <a:pt x="71708" y="171633"/>
                  <a:pt x="71708" y="166232"/>
                </a:cubicBezTo>
                <a:cubicBezTo>
                  <a:pt x="71708" y="160832"/>
                  <a:pt x="76086" y="156454"/>
                  <a:pt x="81486" y="156454"/>
                </a:cubicBezTo>
                <a:close/>
                <a:moveTo>
                  <a:pt x="81486" y="195568"/>
                </a:moveTo>
                <a:lnTo>
                  <a:pt x="149856" y="195568"/>
                </a:lnTo>
                <a:cubicBezTo>
                  <a:pt x="152106" y="195568"/>
                  <a:pt x="153681" y="197793"/>
                  <a:pt x="153004" y="199939"/>
                </a:cubicBezTo>
                <a:cubicBezTo>
                  <a:pt x="151708" y="204042"/>
                  <a:pt x="150601" y="208227"/>
                  <a:pt x="149692" y="212487"/>
                </a:cubicBezTo>
                <a:cubicBezTo>
                  <a:pt x="149365" y="214015"/>
                  <a:pt x="148027" y="215124"/>
                  <a:pt x="146465" y="215124"/>
                </a:cubicBezTo>
                <a:lnTo>
                  <a:pt x="81486" y="215124"/>
                </a:lnTo>
                <a:cubicBezTo>
                  <a:pt x="76086" y="215124"/>
                  <a:pt x="71708" y="210746"/>
                  <a:pt x="71708" y="205346"/>
                </a:cubicBezTo>
                <a:cubicBezTo>
                  <a:pt x="71708" y="199946"/>
                  <a:pt x="76086" y="195568"/>
                  <a:pt x="81486" y="195568"/>
                </a:cubicBezTo>
                <a:close/>
                <a:moveTo>
                  <a:pt x="81486" y="234681"/>
                </a:moveTo>
                <a:lnTo>
                  <a:pt x="143412" y="234681"/>
                </a:lnTo>
                <a:cubicBezTo>
                  <a:pt x="145272" y="234681"/>
                  <a:pt x="146751" y="236235"/>
                  <a:pt x="146710" y="238095"/>
                </a:cubicBezTo>
                <a:cubicBezTo>
                  <a:pt x="146687" y="239127"/>
                  <a:pt x="146676" y="240162"/>
                  <a:pt x="146676" y="241200"/>
                </a:cubicBezTo>
                <a:cubicBezTo>
                  <a:pt x="146676" y="244383"/>
                  <a:pt x="146785" y="247540"/>
                  <a:pt x="146998" y="250668"/>
                </a:cubicBezTo>
                <a:cubicBezTo>
                  <a:pt x="147129" y="252585"/>
                  <a:pt x="145628" y="254238"/>
                  <a:pt x="143706" y="254238"/>
                </a:cubicBezTo>
                <a:lnTo>
                  <a:pt x="81486" y="254238"/>
                </a:lnTo>
                <a:cubicBezTo>
                  <a:pt x="76086" y="254238"/>
                  <a:pt x="71708" y="249860"/>
                  <a:pt x="71708" y="244459"/>
                </a:cubicBezTo>
                <a:cubicBezTo>
                  <a:pt x="71708" y="239059"/>
                  <a:pt x="76086" y="234681"/>
                  <a:pt x="81486" y="234681"/>
                </a:cubicBezTo>
                <a:close/>
                <a:moveTo>
                  <a:pt x="97784" y="39114"/>
                </a:moveTo>
                <a:cubicBezTo>
                  <a:pt x="92383" y="39114"/>
                  <a:pt x="88005" y="43491"/>
                  <a:pt x="88005" y="48892"/>
                </a:cubicBezTo>
                <a:cubicBezTo>
                  <a:pt x="88005" y="54292"/>
                  <a:pt x="92383" y="58670"/>
                  <a:pt x="97784" y="58670"/>
                </a:cubicBezTo>
                <a:lnTo>
                  <a:pt x="130378" y="58670"/>
                </a:lnTo>
                <a:cubicBezTo>
                  <a:pt x="135779" y="58670"/>
                  <a:pt x="140157" y="54292"/>
                  <a:pt x="140157" y="48892"/>
                </a:cubicBezTo>
                <a:cubicBezTo>
                  <a:pt x="140157" y="43491"/>
                  <a:pt x="135779" y="39114"/>
                  <a:pt x="130378" y="39114"/>
                </a:cubicBezTo>
                <a:lnTo>
                  <a:pt x="97784" y="39114"/>
                </a:lnTo>
                <a:close/>
                <a:moveTo>
                  <a:pt x="166232" y="39114"/>
                </a:moveTo>
                <a:cubicBezTo>
                  <a:pt x="160832" y="39114"/>
                  <a:pt x="156454" y="43491"/>
                  <a:pt x="156454" y="48892"/>
                </a:cubicBezTo>
                <a:cubicBezTo>
                  <a:pt x="156454" y="54292"/>
                  <a:pt x="160832" y="58670"/>
                  <a:pt x="166232" y="58670"/>
                </a:cubicBezTo>
                <a:lnTo>
                  <a:pt x="198827" y="58670"/>
                </a:lnTo>
                <a:cubicBezTo>
                  <a:pt x="204227" y="58670"/>
                  <a:pt x="208605" y="54292"/>
                  <a:pt x="208605" y="48892"/>
                </a:cubicBezTo>
                <a:cubicBezTo>
                  <a:pt x="208605" y="43491"/>
                  <a:pt x="204227" y="39114"/>
                  <a:pt x="198827" y="39114"/>
                </a:cubicBezTo>
                <a:lnTo>
                  <a:pt x="166232" y="39114"/>
                </a:lnTo>
                <a:close/>
                <a:moveTo>
                  <a:pt x="71708" y="88005"/>
                </a:moveTo>
                <a:cubicBezTo>
                  <a:pt x="71708" y="82605"/>
                  <a:pt x="76086" y="78227"/>
                  <a:pt x="81486" y="78227"/>
                </a:cubicBezTo>
                <a:lnTo>
                  <a:pt x="198827" y="78227"/>
                </a:lnTo>
                <a:cubicBezTo>
                  <a:pt x="204227" y="78227"/>
                  <a:pt x="208605" y="82605"/>
                  <a:pt x="208605" y="88005"/>
                </a:cubicBezTo>
                <a:cubicBezTo>
                  <a:pt x="208605" y="93406"/>
                  <a:pt x="204227" y="97784"/>
                  <a:pt x="198827" y="97784"/>
                </a:cubicBezTo>
                <a:lnTo>
                  <a:pt x="81486" y="97784"/>
                </a:lnTo>
                <a:cubicBezTo>
                  <a:pt x="76086" y="97784"/>
                  <a:pt x="71708" y="93406"/>
                  <a:pt x="71708" y="88005"/>
                </a:cubicBezTo>
                <a:close/>
                <a:moveTo>
                  <a:pt x="264016" y="42373"/>
                </a:moveTo>
                <a:cubicBezTo>
                  <a:pt x="258616" y="42373"/>
                  <a:pt x="254238" y="46751"/>
                  <a:pt x="254238" y="52151"/>
                </a:cubicBezTo>
                <a:cubicBezTo>
                  <a:pt x="254238" y="57552"/>
                  <a:pt x="258616" y="61930"/>
                  <a:pt x="264016" y="61930"/>
                </a:cubicBezTo>
                <a:lnTo>
                  <a:pt x="381357" y="61930"/>
                </a:lnTo>
                <a:cubicBezTo>
                  <a:pt x="386757" y="61930"/>
                  <a:pt x="391135" y="57552"/>
                  <a:pt x="391135" y="52151"/>
                </a:cubicBezTo>
                <a:cubicBezTo>
                  <a:pt x="391135" y="46751"/>
                  <a:pt x="386757" y="42373"/>
                  <a:pt x="381357" y="42373"/>
                </a:cubicBezTo>
                <a:lnTo>
                  <a:pt x="264016" y="42373"/>
                </a:lnTo>
                <a:close/>
                <a:moveTo>
                  <a:pt x="254238" y="88005"/>
                </a:moveTo>
                <a:cubicBezTo>
                  <a:pt x="254238" y="82605"/>
                  <a:pt x="258616" y="78227"/>
                  <a:pt x="264016" y="78227"/>
                </a:cubicBezTo>
                <a:lnTo>
                  <a:pt x="381357" y="78227"/>
                </a:lnTo>
                <a:cubicBezTo>
                  <a:pt x="386757" y="78227"/>
                  <a:pt x="391135" y="82605"/>
                  <a:pt x="391135" y="88005"/>
                </a:cubicBezTo>
                <a:cubicBezTo>
                  <a:pt x="391135" y="93406"/>
                  <a:pt x="386757" y="97784"/>
                  <a:pt x="381357" y="97784"/>
                </a:cubicBezTo>
                <a:lnTo>
                  <a:pt x="264016" y="97784"/>
                </a:lnTo>
                <a:cubicBezTo>
                  <a:pt x="258616" y="97784"/>
                  <a:pt x="254238" y="93406"/>
                  <a:pt x="254238" y="88005"/>
                </a:cubicBezTo>
                <a:close/>
                <a:moveTo>
                  <a:pt x="365287" y="189530"/>
                </a:moveTo>
                <a:cubicBezTo>
                  <a:pt x="394153" y="235172"/>
                  <a:pt x="380554" y="295573"/>
                  <a:pt x="334912" y="324439"/>
                </a:cubicBezTo>
                <a:cubicBezTo>
                  <a:pt x="289269" y="353306"/>
                  <a:pt x="228868" y="339706"/>
                  <a:pt x="200002" y="294064"/>
                </a:cubicBezTo>
                <a:cubicBezTo>
                  <a:pt x="171135" y="248422"/>
                  <a:pt x="184735" y="188020"/>
                  <a:pt x="230377" y="159154"/>
                </a:cubicBezTo>
                <a:cubicBezTo>
                  <a:pt x="276019" y="130288"/>
                  <a:pt x="336421" y="143887"/>
                  <a:pt x="365287" y="189530"/>
                </a:cubicBezTo>
                <a:close/>
                <a:moveTo>
                  <a:pt x="355019" y="337939"/>
                </a:moveTo>
                <a:cubicBezTo>
                  <a:pt x="354112" y="336505"/>
                  <a:pt x="354465" y="334615"/>
                  <a:pt x="355793" y="333559"/>
                </a:cubicBezTo>
                <a:cubicBezTo>
                  <a:pt x="402084" y="296752"/>
                  <a:pt x="414148" y="230199"/>
                  <a:pt x="381816" y="179076"/>
                </a:cubicBezTo>
                <a:cubicBezTo>
                  <a:pt x="347176" y="124305"/>
                  <a:pt x="274695" y="107986"/>
                  <a:pt x="219924" y="142625"/>
                </a:cubicBezTo>
                <a:cubicBezTo>
                  <a:pt x="165153" y="177265"/>
                  <a:pt x="148833" y="249746"/>
                  <a:pt x="183474" y="304517"/>
                </a:cubicBezTo>
                <a:cubicBezTo>
                  <a:pt x="215806" y="355640"/>
                  <a:pt x="281107" y="373263"/>
                  <a:pt x="334203" y="347215"/>
                </a:cubicBezTo>
                <a:cubicBezTo>
                  <a:pt x="335726" y="346468"/>
                  <a:pt x="337584" y="346958"/>
                  <a:pt x="338491" y="348392"/>
                </a:cubicBezTo>
                <a:lnTo>
                  <a:pt x="354042" y="372981"/>
                </a:lnTo>
                <a:cubicBezTo>
                  <a:pt x="354803" y="374185"/>
                  <a:pt x="354681" y="375734"/>
                  <a:pt x="353844" y="376885"/>
                </a:cubicBezTo>
                <a:cubicBezTo>
                  <a:pt x="346222" y="387370"/>
                  <a:pt x="345312" y="401863"/>
                  <a:pt x="352662" y="413485"/>
                </a:cubicBezTo>
                <a:lnTo>
                  <a:pt x="385655" y="465652"/>
                </a:lnTo>
                <a:cubicBezTo>
                  <a:pt x="395277" y="480866"/>
                  <a:pt x="415411" y="485399"/>
                  <a:pt x="430625" y="475777"/>
                </a:cubicBezTo>
                <a:cubicBezTo>
                  <a:pt x="445839" y="466155"/>
                  <a:pt x="450372" y="446021"/>
                  <a:pt x="440750" y="430807"/>
                </a:cubicBezTo>
                <a:lnTo>
                  <a:pt x="407758" y="378640"/>
                </a:lnTo>
                <a:cubicBezTo>
                  <a:pt x="400407" y="367018"/>
                  <a:pt x="386923" y="361629"/>
                  <a:pt x="374183" y="364022"/>
                </a:cubicBezTo>
                <a:cubicBezTo>
                  <a:pt x="372784" y="364284"/>
                  <a:pt x="371331" y="363731"/>
                  <a:pt x="370570" y="362528"/>
                </a:cubicBezTo>
                <a:lnTo>
                  <a:pt x="355019" y="337939"/>
                </a:lnTo>
                <a:close/>
                <a:moveTo>
                  <a:pt x="369191" y="403032"/>
                </a:moveTo>
                <a:cubicBezTo>
                  <a:pt x="365342" y="396946"/>
                  <a:pt x="367155" y="388893"/>
                  <a:pt x="373241" y="385044"/>
                </a:cubicBezTo>
                <a:cubicBezTo>
                  <a:pt x="379327" y="381195"/>
                  <a:pt x="387380" y="383008"/>
                  <a:pt x="391229" y="389094"/>
                </a:cubicBezTo>
                <a:lnTo>
                  <a:pt x="424221" y="441260"/>
                </a:lnTo>
                <a:cubicBezTo>
                  <a:pt x="428071" y="447347"/>
                  <a:pt x="426257" y="455400"/>
                  <a:pt x="420172" y="459249"/>
                </a:cubicBezTo>
                <a:cubicBezTo>
                  <a:pt x="414086" y="463098"/>
                  <a:pt x="406032" y="461284"/>
                  <a:pt x="402183" y="455199"/>
                </a:cubicBezTo>
                <a:lnTo>
                  <a:pt x="369191" y="403032"/>
                </a:lnTo>
                <a:close/>
              </a:path>
            </a:pathLst>
          </a:custGeom>
          <a:solidFill>
            <a:schemeClr val="bg2">
              <a:lumMod val="25000"/>
            </a:schemeClr>
          </a:solidFill>
          <a:ln w="9525" cap="flat">
            <a:noFill/>
            <a:prstDash val="solid"/>
            <a:miter/>
          </a:ln>
        </p:spPr>
        <p:txBody>
          <a:bodyPr rot="0" spcFirstLastPara="0" vert="horz" wrap="square" lIns="101841" tIns="50920" rIns="101841" bIns="509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2005">
              <a:latin typeface="Etelka Thin Pro" panose="02000503000000020004" pitchFamily="2" charset="0"/>
            </a:endParaRPr>
          </a:p>
        </p:txBody>
      </p:sp>
      <p:sp>
        <p:nvSpPr>
          <p:cNvPr id="54" name="Прямоугольник: скругленные углы 100">
            <a:extLst>
              <a:ext uri="{FF2B5EF4-FFF2-40B4-BE49-F238E27FC236}">
                <a16:creationId xmlns:a16="http://schemas.microsoft.com/office/drawing/2014/main" id="{7B6EA72E-0681-4E48-BAFF-942698167122}"/>
              </a:ext>
            </a:extLst>
          </p:cNvPr>
          <p:cNvSpPr/>
          <p:nvPr/>
        </p:nvSpPr>
        <p:spPr>
          <a:xfrm>
            <a:off x="9483607" y="3343682"/>
            <a:ext cx="536465" cy="427396"/>
          </a:xfrm>
          <a:prstGeom prst="roundRect">
            <a:avLst>
              <a:gd name="adj" fmla="val 9941"/>
            </a:avLst>
          </a:prstGeom>
          <a:solidFill>
            <a:srgbClr val="CFE7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26" dirty="0">
              <a:latin typeface="Etelka Thin Pro" panose="02000503000000020004" pitchFamily="2" charset="0"/>
            </a:endParaRPr>
          </a:p>
        </p:txBody>
      </p:sp>
      <p:sp>
        <p:nvSpPr>
          <p:cNvPr id="55" name="Freeform 8">
            <a:extLst>
              <a:ext uri="{FF2B5EF4-FFF2-40B4-BE49-F238E27FC236}">
                <a16:creationId xmlns:a16="http://schemas.microsoft.com/office/drawing/2014/main" id="{84DFDFCE-F1B9-4C64-8000-57EDE32794AC}"/>
              </a:ext>
            </a:extLst>
          </p:cNvPr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9625514" y="3411725"/>
            <a:ext cx="226929" cy="290816"/>
          </a:xfrm>
          <a:custGeom>
            <a:avLst/>
            <a:gdLst>
              <a:gd name="T0" fmla="*/ 66 w 144"/>
              <a:gd name="T1" fmla="*/ 111 h 184"/>
              <a:gd name="T2" fmla="*/ 60 w 144"/>
              <a:gd name="T3" fmla="*/ 111 h 184"/>
              <a:gd name="T4" fmla="*/ 60 w 144"/>
              <a:gd name="T5" fmla="*/ 120 h 184"/>
              <a:gd name="T6" fmla="*/ 66 w 144"/>
              <a:gd name="T7" fmla="*/ 120 h 184"/>
              <a:gd name="T8" fmla="*/ 66 w 144"/>
              <a:gd name="T9" fmla="*/ 111 h 184"/>
              <a:gd name="T10" fmla="*/ 32 w 144"/>
              <a:gd name="T11" fmla="*/ 147 h 184"/>
              <a:gd name="T12" fmla="*/ 96 w 144"/>
              <a:gd name="T13" fmla="*/ 156 h 184"/>
              <a:gd name="T14" fmla="*/ 96 w 144"/>
              <a:gd name="T15" fmla="*/ 84 h 184"/>
              <a:gd name="T16" fmla="*/ 32 w 144"/>
              <a:gd name="T17" fmla="*/ 93 h 184"/>
              <a:gd name="T18" fmla="*/ 32 w 144"/>
              <a:gd name="T19" fmla="*/ 147 h 184"/>
              <a:gd name="T20" fmla="*/ 52 w 144"/>
              <a:gd name="T21" fmla="*/ 104 h 184"/>
              <a:gd name="T22" fmla="*/ 64 w 144"/>
              <a:gd name="T23" fmla="*/ 104 h 184"/>
              <a:gd name="T24" fmla="*/ 64 w 144"/>
              <a:gd name="T25" fmla="*/ 128 h 184"/>
              <a:gd name="T26" fmla="*/ 60 w 144"/>
              <a:gd name="T27" fmla="*/ 128 h 184"/>
              <a:gd name="T28" fmla="*/ 60 w 144"/>
              <a:gd name="T29" fmla="*/ 136 h 184"/>
              <a:gd name="T30" fmla="*/ 52 w 144"/>
              <a:gd name="T31" fmla="*/ 136 h 184"/>
              <a:gd name="T32" fmla="*/ 52 w 144"/>
              <a:gd name="T33" fmla="*/ 104 h 184"/>
              <a:gd name="T34" fmla="*/ 141 w 144"/>
              <a:gd name="T35" fmla="*/ 46 h 184"/>
              <a:gd name="T36" fmla="*/ 139 w 144"/>
              <a:gd name="T37" fmla="*/ 43 h 184"/>
              <a:gd name="T38" fmla="*/ 101 w 144"/>
              <a:gd name="T39" fmla="*/ 4 h 184"/>
              <a:gd name="T40" fmla="*/ 98 w 144"/>
              <a:gd name="T41" fmla="*/ 2 h 184"/>
              <a:gd name="T42" fmla="*/ 93 w 144"/>
              <a:gd name="T43" fmla="*/ 0 h 184"/>
              <a:gd name="T44" fmla="*/ 10 w 144"/>
              <a:gd name="T45" fmla="*/ 0 h 184"/>
              <a:gd name="T46" fmla="*/ 0 w 144"/>
              <a:gd name="T47" fmla="*/ 9 h 184"/>
              <a:gd name="T48" fmla="*/ 0 w 144"/>
              <a:gd name="T49" fmla="*/ 173 h 184"/>
              <a:gd name="T50" fmla="*/ 11 w 144"/>
              <a:gd name="T51" fmla="*/ 184 h 184"/>
              <a:gd name="T52" fmla="*/ 132 w 144"/>
              <a:gd name="T53" fmla="*/ 184 h 184"/>
              <a:gd name="T54" fmla="*/ 144 w 144"/>
              <a:gd name="T55" fmla="*/ 172 h 184"/>
              <a:gd name="T56" fmla="*/ 144 w 144"/>
              <a:gd name="T57" fmla="*/ 51 h 184"/>
              <a:gd name="T58" fmla="*/ 141 w 144"/>
              <a:gd name="T59" fmla="*/ 46 h 184"/>
              <a:gd name="T60" fmla="*/ 100 w 144"/>
              <a:gd name="T61" fmla="*/ 17 h 184"/>
              <a:gd name="T62" fmla="*/ 126 w 144"/>
              <a:gd name="T63" fmla="*/ 44 h 184"/>
              <a:gd name="T64" fmla="*/ 100 w 144"/>
              <a:gd name="T65" fmla="*/ 44 h 184"/>
              <a:gd name="T66" fmla="*/ 100 w 144"/>
              <a:gd name="T67" fmla="*/ 17 h 184"/>
              <a:gd name="T68" fmla="*/ 132 w 144"/>
              <a:gd name="T69" fmla="*/ 172 h 184"/>
              <a:gd name="T70" fmla="*/ 12 w 144"/>
              <a:gd name="T71" fmla="*/ 172 h 184"/>
              <a:gd name="T72" fmla="*/ 12 w 144"/>
              <a:gd name="T73" fmla="*/ 12 h 184"/>
              <a:gd name="T74" fmla="*/ 88 w 144"/>
              <a:gd name="T75" fmla="*/ 12 h 184"/>
              <a:gd name="T76" fmla="*/ 88 w 144"/>
              <a:gd name="T77" fmla="*/ 45 h 184"/>
              <a:gd name="T78" fmla="*/ 91 w 144"/>
              <a:gd name="T79" fmla="*/ 53 h 184"/>
              <a:gd name="T80" fmla="*/ 97 w 144"/>
              <a:gd name="T81" fmla="*/ 56 h 184"/>
              <a:gd name="T82" fmla="*/ 132 w 144"/>
              <a:gd name="T83" fmla="*/ 56 h 184"/>
              <a:gd name="T84" fmla="*/ 132 w 144"/>
              <a:gd name="T85" fmla="*/ 172 h 184"/>
              <a:gd name="T86" fmla="*/ 104 w 144"/>
              <a:gd name="T87" fmla="*/ 148 h 184"/>
              <a:gd name="T88" fmla="*/ 108 w 144"/>
              <a:gd name="T89" fmla="*/ 148 h 184"/>
              <a:gd name="T90" fmla="*/ 112 w 144"/>
              <a:gd name="T91" fmla="*/ 144 h 184"/>
              <a:gd name="T92" fmla="*/ 112 w 144"/>
              <a:gd name="T93" fmla="*/ 96 h 184"/>
              <a:gd name="T94" fmla="*/ 108 w 144"/>
              <a:gd name="T95" fmla="*/ 92 h 184"/>
              <a:gd name="T96" fmla="*/ 104 w 144"/>
              <a:gd name="T97" fmla="*/ 92 h 184"/>
              <a:gd name="T98" fmla="*/ 100 w 144"/>
              <a:gd name="T99" fmla="*/ 96 h 184"/>
              <a:gd name="T100" fmla="*/ 100 w 144"/>
              <a:gd name="T101" fmla="*/ 144 h 184"/>
              <a:gd name="T102" fmla="*/ 104 w 144"/>
              <a:gd name="T103" fmla="*/ 148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44" h="184">
                <a:moveTo>
                  <a:pt x="66" y="111"/>
                </a:moveTo>
                <a:cubicBezTo>
                  <a:pt x="64" y="111"/>
                  <a:pt x="62" y="111"/>
                  <a:pt x="60" y="111"/>
                </a:cubicBezTo>
                <a:cubicBezTo>
                  <a:pt x="60" y="120"/>
                  <a:pt x="60" y="120"/>
                  <a:pt x="60" y="120"/>
                </a:cubicBezTo>
                <a:cubicBezTo>
                  <a:pt x="66" y="120"/>
                  <a:pt x="66" y="120"/>
                  <a:pt x="66" y="120"/>
                </a:cubicBezTo>
                <a:cubicBezTo>
                  <a:pt x="71" y="120"/>
                  <a:pt x="71" y="111"/>
                  <a:pt x="66" y="111"/>
                </a:cubicBezTo>
                <a:close/>
                <a:moveTo>
                  <a:pt x="32" y="147"/>
                </a:moveTo>
                <a:cubicBezTo>
                  <a:pt x="96" y="156"/>
                  <a:pt x="96" y="156"/>
                  <a:pt x="96" y="156"/>
                </a:cubicBezTo>
                <a:cubicBezTo>
                  <a:pt x="96" y="84"/>
                  <a:pt x="96" y="84"/>
                  <a:pt x="96" y="84"/>
                </a:cubicBezTo>
                <a:cubicBezTo>
                  <a:pt x="32" y="93"/>
                  <a:pt x="32" y="93"/>
                  <a:pt x="32" y="93"/>
                </a:cubicBezTo>
                <a:lnTo>
                  <a:pt x="32" y="147"/>
                </a:lnTo>
                <a:close/>
                <a:moveTo>
                  <a:pt x="52" y="104"/>
                </a:moveTo>
                <a:cubicBezTo>
                  <a:pt x="64" y="104"/>
                  <a:pt x="64" y="104"/>
                  <a:pt x="64" y="104"/>
                </a:cubicBezTo>
                <a:cubicBezTo>
                  <a:pt x="80" y="104"/>
                  <a:pt x="80" y="128"/>
                  <a:pt x="64" y="128"/>
                </a:cubicBezTo>
                <a:cubicBezTo>
                  <a:pt x="60" y="128"/>
                  <a:pt x="60" y="128"/>
                  <a:pt x="60" y="128"/>
                </a:cubicBezTo>
                <a:cubicBezTo>
                  <a:pt x="60" y="136"/>
                  <a:pt x="60" y="136"/>
                  <a:pt x="60" y="136"/>
                </a:cubicBezTo>
                <a:cubicBezTo>
                  <a:pt x="52" y="136"/>
                  <a:pt x="52" y="136"/>
                  <a:pt x="52" y="136"/>
                </a:cubicBezTo>
                <a:lnTo>
                  <a:pt x="52" y="104"/>
                </a:lnTo>
                <a:close/>
                <a:moveTo>
                  <a:pt x="141" y="46"/>
                </a:moveTo>
                <a:cubicBezTo>
                  <a:pt x="141" y="45"/>
                  <a:pt x="140" y="44"/>
                  <a:pt x="139" y="43"/>
                </a:cubicBezTo>
                <a:cubicBezTo>
                  <a:pt x="101" y="4"/>
                  <a:pt x="101" y="4"/>
                  <a:pt x="101" y="4"/>
                </a:cubicBezTo>
                <a:cubicBezTo>
                  <a:pt x="100" y="3"/>
                  <a:pt x="99" y="3"/>
                  <a:pt x="98" y="2"/>
                </a:cubicBezTo>
                <a:cubicBezTo>
                  <a:pt x="97" y="1"/>
                  <a:pt x="95" y="0"/>
                  <a:pt x="93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179"/>
                  <a:pt x="5" y="184"/>
                  <a:pt x="11" y="184"/>
                </a:cubicBezTo>
                <a:cubicBezTo>
                  <a:pt x="132" y="184"/>
                  <a:pt x="132" y="184"/>
                  <a:pt x="132" y="184"/>
                </a:cubicBezTo>
                <a:cubicBezTo>
                  <a:pt x="139" y="184"/>
                  <a:pt x="144" y="179"/>
                  <a:pt x="144" y="172"/>
                </a:cubicBezTo>
                <a:cubicBezTo>
                  <a:pt x="144" y="51"/>
                  <a:pt x="144" y="51"/>
                  <a:pt x="144" y="51"/>
                </a:cubicBezTo>
                <a:cubicBezTo>
                  <a:pt x="144" y="49"/>
                  <a:pt x="143" y="47"/>
                  <a:pt x="141" y="46"/>
                </a:cubicBezTo>
                <a:close/>
                <a:moveTo>
                  <a:pt x="100" y="17"/>
                </a:moveTo>
                <a:cubicBezTo>
                  <a:pt x="126" y="44"/>
                  <a:pt x="126" y="44"/>
                  <a:pt x="126" y="44"/>
                </a:cubicBezTo>
                <a:cubicBezTo>
                  <a:pt x="100" y="44"/>
                  <a:pt x="100" y="44"/>
                  <a:pt x="100" y="44"/>
                </a:cubicBezTo>
                <a:lnTo>
                  <a:pt x="100" y="17"/>
                </a:lnTo>
                <a:close/>
                <a:moveTo>
                  <a:pt x="132" y="172"/>
                </a:moveTo>
                <a:cubicBezTo>
                  <a:pt x="12" y="172"/>
                  <a:pt x="12" y="172"/>
                  <a:pt x="12" y="172"/>
                </a:cubicBezTo>
                <a:cubicBezTo>
                  <a:pt x="12" y="12"/>
                  <a:pt x="12" y="12"/>
                  <a:pt x="12" y="12"/>
                </a:cubicBezTo>
                <a:cubicBezTo>
                  <a:pt x="88" y="12"/>
                  <a:pt x="88" y="12"/>
                  <a:pt x="88" y="12"/>
                </a:cubicBezTo>
                <a:cubicBezTo>
                  <a:pt x="88" y="45"/>
                  <a:pt x="88" y="45"/>
                  <a:pt x="88" y="45"/>
                </a:cubicBezTo>
                <a:cubicBezTo>
                  <a:pt x="88" y="48"/>
                  <a:pt x="89" y="51"/>
                  <a:pt x="91" y="53"/>
                </a:cubicBezTo>
                <a:cubicBezTo>
                  <a:pt x="92" y="55"/>
                  <a:pt x="95" y="56"/>
                  <a:pt x="97" y="56"/>
                </a:cubicBezTo>
                <a:cubicBezTo>
                  <a:pt x="132" y="56"/>
                  <a:pt x="132" y="56"/>
                  <a:pt x="132" y="56"/>
                </a:cubicBezTo>
                <a:lnTo>
                  <a:pt x="132" y="172"/>
                </a:lnTo>
                <a:close/>
                <a:moveTo>
                  <a:pt x="104" y="148"/>
                </a:moveTo>
                <a:cubicBezTo>
                  <a:pt x="108" y="148"/>
                  <a:pt x="108" y="148"/>
                  <a:pt x="108" y="148"/>
                </a:cubicBezTo>
                <a:cubicBezTo>
                  <a:pt x="110" y="148"/>
                  <a:pt x="112" y="146"/>
                  <a:pt x="112" y="144"/>
                </a:cubicBezTo>
                <a:cubicBezTo>
                  <a:pt x="112" y="96"/>
                  <a:pt x="112" y="96"/>
                  <a:pt x="112" y="96"/>
                </a:cubicBezTo>
                <a:cubicBezTo>
                  <a:pt x="112" y="94"/>
                  <a:pt x="110" y="92"/>
                  <a:pt x="108" y="92"/>
                </a:cubicBezTo>
                <a:cubicBezTo>
                  <a:pt x="104" y="92"/>
                  <a:pt x="104" y="92"/>
                  <a:pt x="104" y="92"/>
                </a:cubicBezTo>
                <a:cubicBezTo>
                  <a:pt x="102" y="92"/>
                  <a:pt x="100" y="94"/>
                  <a:pt x="100" y="96"/>
                </a:cubicBezTo>
                <a:cubicBezTo>
                  <a:pt x="100" y="144"/>
                  <a:pt x="100" y="144"/>
                  <a:pt x="100" y="144"/>
                </a:cubicBezTo>
                <a:cubicBezTo>
                  <a:pt x="100" y="146"/>
                  <a:pt x="102" y="148"/>
                  <a:pt x="104" y="148"/>
                </a:cubicBezTo>
                <a:close/>
              </a:path>
            </a:pathLst>
          </a:custGeom>
          <a:solidFill>
            <a:schemeClr val="bg2">
              <a:lumMod val="25000"/>
            </a:schemeClr>
          </a:solidFill>
          <a:ln>
            <a:noFill/>
          </a:ln>
        </p:spPr>
        <p:txBody>
          <a:bodyPr vert="horz" wrap="square" lIns="101841" tIns="50920" rIns="101841" bIns="509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2005">
              <a:latin typeface="Etelka Thin Pro" panose="02000503000000020004" pitchFamily="2" charset="0"/>
            </a:endParaRPr>
          </a:p>
        </p:txBody>
      </p:sp>
      <p:sp>
        <p:nvSpPr>
          <p:cNvPr id="56" name="Прямоугольник: скругленные углы 92">
            <a:extLst>
              <a:ext uri="{FF2B5EF4-FFF2-40B4-BE49-F238E27FC236}">
                <a16:creationId xmlns:a16="http://schemas.microsoft.com/office/drawing/2014/main" id="{3D1D07D9-020B-4D47-BC1C-2F5845E49EBE}"/>
              </a:ext>
            </a:extLst>
          </p:cNvPr>
          <p:cNvSpPr/>
          <p:nvPr/>
        </p:nvSpPr>
        <p:spPr>
          <a:xfrm>
            <a:off x="13045998" y="2965060"/>
            <a:ext cx="536465" cy="427396"/>
          </a:xfrm>
          <a:prstGeom prst="roundRect">
            <a:avLst>
              <a:gd name="adj" fmla="val 9941"/>
            </a:avLst>
          </a:prstGeom>
          <a:solidFill>
            <a:srgbClr val="CFE7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26" dirty="0">
              <a:latin typeface="Etelka Thin Pro" panose="02000503000000020004" pitchFamily="2" charset="0"/>
            </a:endParaRPr>
          </a:p>
        </p:txBody>
      </p:sp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414BF69A-B89F-435F-9E4D-FBD15C213F4C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8953" r="10411" b="19094"/>
          <a:stretch/>
        </p:blipFill>
        <p:spPr>
          <a:xfrm>
            <a:off x="13151628" y="3021972"/>
            <a:ext cx="331503" cy="332609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8C5654AD-6783-494D-9CD8-508030CF9E1C}"/>
              </a:ext>
            </a:extLst>
          </p:cNvPr>
          <p:cNvSpPr txBox="1"/>
          <p:nvPr/>
        </p:nvSpPr>
        <p:spPr>
          <a:xfrm>
            <a:off x="10066539" y="1813850"/>
            <a:ext cx="2762033" cy="4008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8BC540"/>
              </a:buClr>
            </a:pPr>
            <a:r>
              <a:rPr lang="ru-RU" sz="2005" dirty="0" err="1">
                <a:solidFill>
                  <a:srgbClr val="2F444E"/>
                </a:solidFill>
                <a:ea typeface="Verdana" panose="020B0604030504040204" pitchFamily="34" charset="0"/>
                <a:cs typeface="DIN Pro Regular" panose="020B0504020101020102" pitchFamily="34" charset="0"/>
              </a:rPr>
              <a:t>Видеолекции</a:t>
            </a:r>
            <a:endParaRPr lang="ru-RU" sz="2005" dirty="0">
              <a:solidFill>
                <a:srgbClr val="2F444E"/>
              </a:solidFill>
              <a:ea typeface="Verdana" panose="020B0604030504040204" pitchFamily="34" charset="0"/>
              <a:cs typeface="DIN Pro Regular" panose="020B0504020101020102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C5654AD-6783-494D-9CD8-508030CF9E1C}"/>
              </a:ext>
            </a:extLst>
          </p:cNvPr>
          <p:cNvSpPr txBox="1"/>
          <p:nvPr/>
        </p:nvSpPr>
        <p:spPr>
          <a:xfrm>
            <a:off x="10066539" y="3305483"/>
            <a:ext cx="2155526" cy="4008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8BC540"/>
              </a:buClr>
            </a:pPr>
            <a:r>
              <a:rPr lang="ru-RU" sz="2005" dirty="0">
                <a:solidFill>
                  <a:srgbClr val="2F444E"/>
                </a:solidFill>
                <a:ea typeface="Verdana" panose="020B0604030504040204" pitchFamily="34" charset="0"/>
                <a:cs typeface="DIN Pro Regular" panose="020B0504020101020102" pitchFamily="34" charset="0"/>
              </a:rPr>
              <a:t>Презентации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C5654AD-6783-494D-9CD8-508030CF9E1C}"/>
              </a:ext>
            </a:extLst>
          </p:cNvPr>
          <p:cNvSpPr txBox="1"/>
          <p:nvPr/>
        </p:nvSpPr>
        <p:spPr>
          <a:xfrm>
            <a:off x="10066539" y="2499599"/>
            <a:ext cx="2857676" cy="7094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8BC540"/>
              </a:buClr>
            </a:pPr>
            <a:r>
              <a:rPr lang="ru-RU" sz="2005" dirty="0">
                <a:solidFill>
                  <a:srgbClr val="2F444E"/>
                </a:solidFill>
                <a:ea typeface="Verdana" panose="020B0604030504040204" pitchFamily="34" charset="0"/>
                <a:cs typeface="DIN Pro Regular" panose="020B0504020101020102" pitchFamily="34" charset="0"/>
              </a:rPr>
              <a:t>Тестирование для закрепления знаний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C5654AD-6783-494D-9CD8-508030CF9E1C}"/>
              </a:ext>
            </a:extLst>
          </p:cNvPr>
          <p:cNvSpPr txBox="1"/>
          <p:nvPr/>
        </p:nvSpPr>
        <p:spPr>
          <a:xfrm>
            <a:off x="13705439" y="1775804"/>
            <a:ext cx="3733408" cy="10179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8BC540"/>
              </a:buClr>
            </a:pPr>
            <a:r>
              <a:rPr lang="ru-RU" sz="2005" dirty="0">
                <a:solidFill>
                  <a:srgbClr val="2F444E"/>
                </a:solidFill>
                <a:ea typeface="Verdana" panose="020B0604030504040204" pitchFamily="34" charset="0"/>
                <a:cs typeface="DIN Pro Regular" panose="020B0504020101020102" pitchFamily="34" charset="0"/>
              </a:rPr>
              <a:t>Дополнительные материалы </a:t>
            </a:r>
            <a:br>
              <a:rPr lang="ru-RU" sz="2005" dirty="0">
                <a:solidFill>
                  <a:srgbClr val="2F444E"/>
                </a:solidFill>
                <a:ea typeface="Verdana" panose="020B0604030504040204" pitchFamily="34" charset="0"/>
                <a:cs typeface="DIN Pro Regular" panose="020B0504020101020102" pitchFamily="34" charset="0"/>
              </a:rPr>
            </a:br>
            <a:r>
              <a:rPr lang="ru-RU" sz="2005" dirty="0">
                <a:solidFill>
                  <a:srgbClr val="2F444E"/>
                </a:solidFill>
                <a:ea typeface="Verdana" panose="020B0604030504040204" pitchFamily="34" charset="0"/>
                <a:cs typeface="DIN Pro Regular" panose="020B0504020101020102" pitchFamily="34" charset="0"/>
              </a:rPr>
              <a:t>для самостоятельного изучения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C5654AD-6783-494D-9CD8-508030CF9E1C}"/>
              </a:ext>
            </a:extLst>
          </p:cNvPr>
          <p:cNvSpPr txBox="1"/>
          <p:nvPr/>
        </p:nvSpPr>
        <p:spPr>
          <a:xfrm>
            <a:off x="13609540" y="2889134"/>
            <a:ext cx="3733408" cy="7094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8BC540"/>
              </a:buClr>
            </a:pPr>
            <a:r>
              <a:rPr lang="ru-RU" sz="2005" dirty="0">
                <a:solidFill>
                  <a:srgbClr val="2F444E"/>
                </a:solidFill>
                <a:ea typeface="Verdana" panose="020B0604030504040204" pitchFamily="34" charset="0"/>
                <a:cs typeface="DIN Pro Regular" panose="020B0504020101020102" pitchFamily="34" charset="0"/>
              </a:rPr>
              <a:t>Итоговое практическое задание </a:t>
            </a:r>
          </a:p>
        </p:txBody>
      </p:sp>
      <p:sp>
        <p:nvSpPr>
          <p:cNvPr id="88" name="Google Shape;73;p17">
            <a:extLst>
              <a:ext uri="{FF2B5EF4-FFF2-40B4-BE49-F238E27FC236}">
                <a16:creationId xmlns:a16="http://schemas.microsoft.com/office/drawing/2014/main" id="{E3FFCF73-59E8-6B9B-D419-855A23AFE087}"/>
              </a:ext>
            </a:extLst>
          </p:cNvPr>
          <p:cNvSpPr/>
          <p:nvPr/>
        </p:nvSpPr>
        <p:spPr>
          <a:xfrm>
            <a:off x="593402" y="5144394"/>
            <a:ext cx="5410640" cy="692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>
              <a:buClr>
                <a:srgbClr val="000000"/>
              </a:buClr>
              <a:buSzPts val="1000"/>
            </a:pPr>
            <a:r>
              <a:rPr lang="ru" sz="4400" b="1" dirty="0">
                <a:solidFill>
                  <a:schemeClr val="accent6"/>
                </a:solidFill>
                <a:latin typeface="+mj-lt"/>
                <a:ea typeface="Tahoma"/>
                <a:cs typeface="Tahoma"/>
                <a:sym typeface="Tahoma"/>
              </a:rPr>
              <a:t>16</a:t>
            </a:r>
            <a:r>
              <a:rPr lang="ru" sz="4009" b="1" dirty="0">
                <a:solidFill>
                  <a:schemeClr val="accent6"/>
                </a:solidFill>
                <a:latin typeface="+mj-lt"/>
                <a:ea typeface="Tahoma"/>
                <a:cs typeface="Tahoma"/>
                <a:sym typeface="Tahoma"/>
              </a:rPr>
              <a:t> </a:t>
            </a:r>
            <a:r>
              <a:rPr lang="ru" sz="2400" dirty="0">
                <a:solidFill>
                  <a:schemeClr val="accent6"/>
                </a:solidFill>
                <a:latin typeface="+mj-lt"/>
                <a:ea typeface="Tahoma"/>
                <a:cs typeface="Tahoma"/>
                <a:sym typeface="Tahoma"/>
              </a:rPr>
              <a:t>академических часов</a:t>
            </a:r>
          </a:p>
        </p:txBody>
      </p:sp>
      <p:sp>
        <p:nvSpPr>
          <p:cNvPr id="95" name="Прямоугольник 94">
            <a:extLst>
              <a:ext uri="{FF2B5EF4-FFF2-40B4-BE49-F238E27FC236}">
                <a16:creationId xmlns:a16="http://schemas.microsoft.com/office/drawing/2014/main" id="{FEB94EBA-E001-6B02-0011-445274F46FB5}"/>
              </a:ext>
            </a:extLst>
          </p:cNvPr>
          <p:cNvSpPr/>
          <p:nvPr/>
        </p:nvSpPr>
        <p:spPr>
          <a:xfrm>
            <a:off x="522545" y="1156102"/>
            <a:ext cx="400949" cy="40094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425714">
              <a:spcAft>
                <a:spcPts val="468"/>
              </a:spcAft>
              <a:defRPr/>
            </a:pPr>
            <a:r>
              <a:rPr lang="ru-RU" sz="2227" b="1" dirty="0">
                <a:solidFill>
                  <a:prstClr val="white"/>
                </a:solidFill>
                <a:latin typeface="Tahoma"/>
              </a:rPr>
              <a:t>1</a:t>
            </a:r>
            <a:endParaRPr lang="ru-RU" sz="2227" dirty="0">
              <a:solidFill>
                <a:prstClr val="white"/>
              </a:solidFill>
              <a:latin typeface="Tahoma"/>
            </a:endParaRPr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FEB94EBA-E001-6B02-0011-445274F46FB5}"/>
              </a:ext>
            </a:extLst>
          </p:cNvPr>
          <p:cNvSpPr/>
          <p:nvPr/>
        </p:nvSpPr>
        <p:spPr>
          <a:xfrm>
            <a:off x="9014739" y="1184836"/>
            <a:ext cx="400949" cy="40094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425714">
              <a:spcAft>
                <a:spcPts val="468"/>
              </a:spcAft>
              <a:defRPr/>
            </a:pPr>
            <a:r>
              <a:rPr lang="ru-RU" sz="2227" b="1" dirty="0">
                <a:solidFill>
                  <a:prstClr val="white"/>
                </a:solidFill>
                <a:latin typeface="Tahoma"/>
              </a:rPr>
              <a:t>2</a:t>
            </a:r>
            <a:endParaRPr lang="ru-RU" sz="2227" dirty="0">
              <a:solidFill>
                <a:prstClr val="white"/>
              </a:solidFill>
              <a:latin typeface="Tahoma"/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 rotWithShape="1">
          <a:blip r:embed="rId13"/>
          <a:srcRect t="14051" r="-105" b="14230"/>
          <a:stretch/>
        </p:blipFill>
        <p:spPr>
          <a:xfrm>
            <a:off x="521515" y="6746433"/>
            <a:ext cx="2581726" cy="2340948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 rotWithShape="1">
          <a:blip r:embed="rId14"/>
          <a:srcRect t="9575" r="3763" b="23810"/>
          <a:stretch/>
        </p:blipFill>
        <p:spPr>
          <a:xfrm>
            <a:off x="3435807" y="6746433"/>
            <a:ext cx="2581726" cy="2355896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 rotWithShape="1">
          <a:blip r:embed="rId15"/>
          <a:srcRect t="21491" r="4098" b="10369"/>
          <a:stretch/>
        </p:blipFill>
        <p:spPr>
          <a:xfrm>
            <a:off x="6350099" y="6746433"/>
            <a:ext cx="2543145" cy="2351845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16"/>
          <a:srcRect t="26791" r="8184" b="9032"/>
          <a:stretch/>
        </p:blipFill>
        <p:spPr>
          <a:xfrm>
            <a:off x="9176153" y="6738380"/>
            <a:ext cx="2598456" cy="2370076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17"/>
          <a:srcRect l="9637" t="27350" r="1230" b="7200"/>
          <a:stretch/>
        </p:blipFill>
        <p:spPr>
          <a:xfrm>
            <a:off x="12172524" y="6729889"/>
            <a:ext cx="2484924" cy="2374035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 rotWithShape="1">
          <a:blip r:embed="rId18"/>
          <a:srcRect l="5308" t="26446" r="2697" b="7779"/>
          <a:stretch/>
        </p:blipFill>
        <p:spPr>
          <a:xfrm>
            <a:off x="15141398" y="6713217"/>
            <a:ext cx="2617025" cy="2374035"/>
          </a:xfrm>
          <a:prstGeom prst="rect">
            <a:avLst/>
          </a:prstGeom>
        </p:spPr>
      </p:pic>
      <p:sp>
        <p:nvSpPr>
          <p:cNvPr id="38" name="Прямоугольник 37"/>
          <p:cNvSpPr/>
          <p:nvPr/>
        </p:nvSpPr>
        <p:spPr>
          <a:xfrm>
            <a:off x="433120" y="9087381"/>
            <a:ext cx="252068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Проектные </a:t>
            </a:r>
            <a:br>
              <a:rPr lang="ru-RU" sz="1400" dirty="0"/>
            </a:br>
            <a:r>
              <a:rPr lang="ru-RU" sz="1400" dirty="0"/>
              <a:t>и строительные компании, застройщики, технические заказчики 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3357962" y="9108222"/>
            <a:ext cx="306815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Управляющие </a:t>
            </a:r>
            <a:br>
              <a:rPr lang="ru-RU" sz="1400" dirty="0"/>
            </a:br>
            <a:r>
              <a:rPr lang="ru-RU" sz="1400" dirty="0"/>
              <a:t>и эксплуатирующие </a:t>
            </a:r>
            <a:br>
              <a:rPr lang="ru-RU" sz="1400" dirty="0"/>
            </a:br>
            <a:r>
              <a:rPr lang="ru-RU" sz="1400" dirty="0"/>
              <a:t>организации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6256310" y="9108222"/>
            <a:ext cx="252035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Эксперты рынка «зеленого» строительства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108797" y="9109304"/>
            <a:ext cx="306815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Производители строительных материалов и инженерного оборудования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2131049" y="9098278"/>
            <a:ext cx="306815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Государственные органы, </a:t>
            </a:r>
            <a:br>
              <a:rPr lang="ru-RU" sz="1400" dirty="0"/>
            </a:br>
            <a:r>
              <a:rPr lang="ru-RU" sz="1400" dirty="0"/>
              <a:t>органы местного </a:t>
            </a:r>
            <a:br>
              <a:rPr lang="ru-RU" sz="1400" dirty="0"/>
            </a:br>
            <a:r>
              <a:rPr lang="ru-RU" sz="1400" dirty="0"/>
              <a:t>самоуправления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5074770" y="9087252"/>
            <a:ext cx="306815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Студенты, </a:t>
            </a:r>
            <a:br>
              <a:rPr lang="ru-RU" sz="1400" dirty="0"/>
            </a:br>
            <a:r>
              <a:rPr lang="ru-RU" sz="1400" dirty="0"/>
              <a:t>представители бизнеса</a:t>
            </a:r>
          </a:p>
        </p:txBody>
      </p:sp>
      <p:sp>
        <p:nvSpPr>
          <p:cNvPr id="51" name="Google Shape;73;p17">
            <a:extLst>
              <a:ext uri="{FF2B5EF4-FFF2-40B4-BE49-F238E27FC236}">
                <a16:creationId xmlns:a16="http://schemas.microsoft.com/office/drawing/2014/main" id="{E3FFCF73-59E8-6B9B-D419-855A23AFE087}"/>
              </a:ext>
            </a:extLst>
          </p:cNvPr>
          <p:cNvSpPr/>
          <p:nvPr/>
        </p:nvSpPr>
        <p:spPr>
          <a:xfrm>
            <a:off x="1014417" y="6219155"/>
            <a:ext cx="5980449" cy="3427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>
              <a:buClr>
                <a:srgbClr val="000000"/>
              </a:buClr>
              <a:buSzPts val="1000"/>
            </a:pPr>
            <a:r>
              <a:rPr lang="ru" sz="2227" b="1" dirty="0">
                <a:solidFill>
                  <a:schemeClr val="accent6"/>
                </a:solidFill>
                <a:latin typeface="+mj-lt"/>
                <a:ea typeface="Tahoma"/>
                <a:cs typeface="Tahoma"/>
                <a:sym typeface="Tahoma"/>
              </a:rPr>
              <a:t>Целевая аудитория</a:t>
            </a:r>
            <a:endParaRPr lang="ru-RU" sz="2227" dirty="0">
              <a:solidFill>
                <a:schemeClr val="accent6"/>
              </a:solidFill>
              <a:latin typeface="+mj-lt"/>
            </a:endParaRP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FEB94EBA-E001-6B02-0011-445274F46FB5}"/>
              </a:ext>
            </a:extLst>
          </p:cNvPr>
          <p:cNvSpPr/>
          <p:nvPr/>
        </p:nvSpPr>
        <p:spPr>
          <a:xfrm>
            <a:off x="522545" y="6190041"/>
            <a:ext cx="400949" cy="40094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425714">
              <a:spcAft>
                <a:spcPts val="468"/>
              </a:spcAft>
              <a:defRPr/>
            </a:pPr>
            <a:r>
              <a:rPr lang="ru-RU" sz="2227" b="1" dirty="0">
                <a:solidFill>
                  <a:prstClr val="white"/>
                </a:solidFill>
                <a:latin typeface="Tahoma"/>
              </a:rPr>
              <a:t>4</a:t>
            </a:r>
            <a:endParaRPr lang="ru-RU" sz="2227" dirty="0">
              <a:solidFill>
                <a:prstClr val="white"/>
              </a:solidFill>
              <a:latin typeface="Tahoma"/>
            </a:endParaRPr>
          </a:p>
        </p:txBody>
      </p:sp>
      <p:sp>
        <p:nvSpPr>
          <p:cNvPr id="65" name="Google Shape;73;p17">
            <a:extLst>
              <a:ext uri="{FF2B5EF4-FFF2-40B4-BE49-F238E27FC236}">
                <a16:creationId xmlns:a16="http://schemas.microsoft.com/office/drawing/2014/main" id="{E3FFCF73-59E8-6B9B-D419-855A23AFE087}"/>
              </a:ext>
            </a:extLst>
          </p:cNvPr>
          <p:cNvSpPr/>
          <p:nvPr/>
        </p:nvSpPr>
        <p:spPr>
          <a:xfrm>
            <a:off x="5213056" y="5181270"/>
            <a:ext cx="3266403" cy="692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>
              <a:buClr>
                <a:srgbClr val="000000"/>
              </a:buClr>
              <a:buSzPts val="1000"/>
            </a:pPr>
            <a:r>
              <a:rPr lang="ru" sz="4400" b="1" dirty="0">
                <a:solidFill>
                  <a:schemeClr val="accent6"/>
                </a:solidFill>
                <a:latin typeface="+mj-lt"/>
                <a:ea typeface="Tahoma"/>
                <a:cs typeface="Tahoma"/>
                <a:sym typeface="Tahoma"/>
              </a:rPr>
              <a:t>1</a:t>
            </a:r>
            <a:r>
              <a:rPr lang="ru" sz="4009" b="1" dirty="0">
                <a:solidFill>
                  <a:schemeClr val="accent6"/>
                </a:solidFill>
                <a:latin typeface="+mj-lt"/>
                <a:ea typeface="Tahoma"/>
                <a:cs typeface="Tahoma"/>
                <a:sym typeface="Tahoma"/>
              </a:rPr>
              <a:t> </a:t>
            </a:r>
            <a:r>
              <a:rPr lang="ru" sz="2400" dirty="0">
                <a:solidFill>
                  <a:schemeClr val="accent6"/>
                </a:solidFill>
                <a:latin typeface="+mj-lt"/>
                <a:ea typeface="Tahoma"/>
                <a:cs typeface="Tahoma"/>
                <a:sym typeface="Tahoma"/>
              </a:rPr>
              <a:t>месяц обучения</a:t>
            </a:r>
          </a:p>
        </p:txBody>
      </p:sp>
      <p:sp>
        <p:nvSpPr>
          <p:cNvPr id="60" name="Freeform 35">
            <a:extLst>
              <a:ext uri="{FF2B5EF4-FFF2-40B4-BE49-F238E27FC236}">
                <a16:creationId xmlns:a16="http://schemas.microsoft.com/office/drawing/2014/main" id="{9B9AB213-03A4-4351-9C63-2E09064279B4}"/>
              </a:ext>
            </a:extLst>
          </p:cNvPr>
          <p:cNvSpPr>
            <a:spLocks noEditPoints="1"/>
          </p:cNvSpPr>
          <p:nvPr>
            <p:custDataLst>
              <p:tags r:id="rId6"/>
            </p:custDataLst>
          </p:nvPr>
        </p:nvSpPr>
        <p:spPr bwMode="auto">
          <a:xfrm>
            <a:off x="9580251" y="2645424"/>
            <a:ext cx="304486" cy="348158"/>
          </a:xfrm>
          <a:custGeom>
            <a:avLst/>
            <a:gdLst>
              <a:gd name="T0" fmla="*/ 78 w 148"/>
              <a:gd name="T1" fmla="*/ 80 h 192"/>
              <a:gd name="T2" fmla="*/ 34 w 148"/>
              <a:gd name="T3" fmla="*/ 68 h 192"/>
              <a:gd name="T4" fmla="*/ 78 w 148"/>
              <a:gd name="T5" fmla="*/ 116 h 192"/>
              <a:gd name="T6" fmla="*/ 34 w 148"/>
              <a:gd name="T7" fmla="*/ 104 h 192"/>
              <a:gd name="T8" fmla="*/ 28 w 148"/>
              <a:gd name="T9" fmla="*/ 146 h 192"/>
              <a:gd name="T10" fmla="*/ 84 w 148"/>
              <a:gd name="T11" fmla="*/ 146 h 192"/>
              <a:gd name="T12" fmla="*/ 34 w 148"/>
              <a:gd name="T13" fmla="*/ 140 h 192"/>
              <a:gd name="T14" fmla="*/ 96 w 148"/>
              <a:gd name="T15" fmla="*/ 153 h 192"/>
              <a:gd name="T16" fmla="*/ 108 w 148"/>
              <a:gd name="T17" fmla="*/ 152 h 192"/>
              <a:gd name="T18" fmla="*/ 120 w 148"/>
              <a:gd name="T19" fmla="*/ 153 h 192"/>
              <a:gd name="T20" fmla="*/ 120 w 148"/>
              <a:gd name="T21" fmla="*/ 141 h 192"/>
              <a:gd name="T22" fmla="*/ 108 w 148"/>
              <a:gd name="T23" fmla="*/ 141 h 192"/>
              <a:gd name="T24" fmla="*/ 96 w 148"/>
              <a:gd name="T25" fmla="*/ 141 h 192"/>
              <a:gd name="T26" fmla="*/ 123 w 148"/>
              <a:gd name="T27" fmla="*/ 97 h 192"/>
              <a:gd name="T28" fmla="*/ 120 w 148"/>
              <a:gd name="T29" fmla="*/ 98 h 192"/>
              <a:gd name="T30" fmla="*/ 105 w 148"/>
              <a:gd name="T31" fmla="*/ 109 h 192"/>
              <a:gd name="T32" fmla="*/ 101 w 148"/>
              <a:gd name="T33" fmla="*/ 111 h 192"/>
              <a:gd name="T34" fmla="*/ 92 w 148"/>
              <a:gd name="T35" fmla="*/ 107 h 192"/>
              <a:gd name="T36" fmla="*/ 98 w 148"/>
              <a:gd name="T37" fmla="*/ 121 h 192"/>
              <a:gd name="T38" fmla="*/ 107 w 148"/>
              <a:gd name="T39" fmla="*/ 119 h 192"/>
              <a:gd name="T40" fmla="*/ 121 w 148"/>
              <a:gd name="T41" fmla="*/ 104 h 192"/>
              <a:gd name="T42" fmla="*/ 123 w 148"/>
              <a:gd name="T43" fmla="*/ 97 h 192"/>
              <a:gd name="T44" fmla="*/ 121 w 148"/>
              <a:gd name="T45" fmla="*/ 61 h 192"/>
              <a:gd name="T46" fmla="*/ 106 w 148"/>
              <a:gd name="T47" fmla="*/ 72 h 192"/>
              <a:gd name="T48" fmla="*/ 102 w 148"/>
              <a:gd name="T49" fmla="*/ 75 h 192"/>
              <a:gd name="T50" fmla="*/ 94 w 148"/>
              <a:gd name="T51" fmla="*/ 70 h 192"/>
              <a:gd name="T52" fmla="*/ 92 w 148"/>
              <a:gd name="T53" fmla="*/ 74 h 192"/>
              <a:gd name="T54" fmla="*/ 105 w 148"/>
              <a:gd name="T55" fmla="*/ 84 h 192"/>
              <a:gd name="T56" fmla="*/ 119 w 148"/>
              <a:gd name="T57" fmla="*/ 69 h 192"/>
              <a:gd name="T58" fmla="*/ 124 w 148"/>
              <a:gd name="T59" fmla="*/ 62 h 192"/>
              <a:gd name="T60" fmla="*/ 40 w 148"/>
              <a:gd name="T61" fmla="*/ 28 h 192"/>
              <a:gd name="T62" fmla="*/ 49 w 148"/>
              <a:gd name="T63" fmla="*/ 36 h 192"/>
              <a:gd name="T64" fmla="*/ 107 w 148"/>
              <a:gd name="T65" fmla="*/ 28 h 192"/>
              <a:gd name="T66" fmla="*/ 105 w 148"/>
              <a:gd name="T67" fmla="*/ 24 h 192"/>
              <a:gd name="T68" fmla="*/ 93 w 148"/>
              <a:gd name="T69" fmla="*/ 20 h 192"/>
              <a:gd name="T70" fmla="*/ 74 w 148"/>
              <a:gd name="T71" fmla="*/ 0 h 192"/>
              <a:gd name="T72" fmla="*/ 55 w 148"/>
              <a:gd name="T73" fmla="*/ 20 h 192"/>
              <a:gd name="T74" fmla="*/ 42 w 148"/>
              <a:gd name="T75" fmla="*/ 24 h 192"/>
              <a:gd name="T76" fmla="*/ 40 w 148"/>
              <a:gd name="T77" fmla="*/ 30 h 192"/>
              <a:gd name="T78" fmla="*/ 74 w 148"/>
              <a:gd name="T79" fmla="*/ 9 h 192"/>
              <a:gd name="T80" fmla="*/ 84 w 148"/>
              <a:gd name="T81" fmla="*/ 20 h 192"/>
              <a:gd name="T82" fmla="*/ 128 w 148"/>
              <a:gd name="T83" fmla="*/ 24 h 192"/>
              <a:gd name="T84" fmla="*/ 119 w 148"/>
              <a:gd name="T85" fmla="*/ 28 h 192"/>
              <a:gd name="T86" fmla="*/ 118 w 148"/>
              <a:gd name="T87" fmla="*/ 33 h 192"/>
              <a:gd name="T88" fmla="*/ 136 w 148"/>
              <a:gd name="T89" fmla="*/ 44 h 192"/>
              <a:gd name="T90" fmla="*/ 20 w 148"/>
              <a:gd name="T91" fmla="*/ 180 h 192"/>
              <a:gd name="T92" fmla="*/ 20 w 148"/>
              <a:gd name="T93" fmla="*/ 36 h 192"/>
              <a:gd name="T94" fmla="*/ 28 w 148"/>
              <a:gd name="T95" fmla="*/ 29 h 192"/>
              <a:gd name="T96" fmla="*/ 29 w 148"/>
              <a:gd name="T97" fmla="*/ 24 h 192"/>
              <a:gd name="T98" fmla="*/ 0 w 148"/>
              <a:gd name="T99" fmla="*/ 172 h 192"/>
              <a:gd name="T100" fmla="*/ 148 w 148"/>
              <a:gd name="T101" fmla="*/ 172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8" h="192">
                <a:moveTo>
                  <a:pt x="28" y="74"/>
                </a:moveTo>
                <a:cubicBezTo>
                  <a:pt x="28" y="77"/>
                  <a:pt x="31" y="80"/>
                  <a:pt x="34" y="80"/>
                </a:cubicBezTo>
                <a:cubicBezTo>
                  <a:pt x="78" y="80"/>
                  <a:pt x="78" y="80"/>
                  <a:pt x="78" y="80"/>
                </a:cubicBezTo>
                <a:cubicBezTo>
                  <a:pt x="81" y="80"/>
                  <a:pt x="84" y="77"/>
                  <a:pt x="84" y="74"/>
                </a:cubicBezTo>
                <a:cubicBezTo>
                  <a:pt x="84" y="71"/>
                  <a:pt x="81" y="68"/>
                  <a:pt x="78" y="68"/>
                </a:cubicBezTo>
                <a:cubicBezTo>
                  <a:pt x="34" y="68"/>
                  <a:pt x="34" y="68"/>
                  <a:pt x="34" y="68"/>
                </a:cubicBezTo>
                <a:cubicBezTo>
                  <a:pt x="31" y="68"/>
                  <a:pt x="28" y="71"/>
                  <a:pt x="28" y="74"/>
                </a:cubicBezTo>
                <a:close/>
                <a:moveTo>
                  <a:pt x="34" y="116"/>
                </a:moveTo>
                <a:cubicBezTo>
                  <a:pt x="78" y="116"/>
                  <a:pt x="78" y="116"/>
                  <a:pt x="78" y="116"/>
                </a:cubicBezTo>
                <a:cubicBezTo>
                  <a:pt x="81" y="116"/>
                  <a:pt x="84" y="113"/>
                  <a:pt x="84" y="110"/>
                </a:cubicBezTo>
                <a:cubicBezTo>
                  <a:pt x="84" y="107"/>
                  <a:pt x="81" y="104"/>
                  <a:pt x="78" y="104"/>
                </a:cubicBezTo>
                <a:cubicBezTo>
                  <a:pt x="34" y="104"/>
                  <a:pt x="34" y="104"/>
                  <a:pt x="34" y="104"/>
                </a:cubicBezTo>
                <a:cubicBezTo>
                  <a:pt x="31" y="104"/>
                  <a:pt x="28" y="107"/>
                  <a:pt x="28" y="110"/>
                </a:cubicBezTo>
                <a:cubicBezTo>
                  <a:pt x="28" y="113"/>
                  <a:pt x="31" y="116"/>
                  <a:pt x="34" y="116"/>
                </a:cubicBezTo>
                <a:close/>
                <a:moveTo>
                  <a:pt x="28" y="146"/>
                </a:moveTo>
                <a:cubicBezTo>
                  <a:pt x="28" y="149"/>
                  <a:pt x="31" y="152"/>
                  <a:pt x="34" y="152"/>
                </a:cubicBezTo>
                <a:cubicBezTo>
                  <a:pt x="78" y="152"/>
                  <a:pt x="78" y="152"/>
                  <a:pt x="78" y="152"/>
                </a:cubicBezTo>
                <a:cubicBezTo>
                  <a:pt x="81" y="152"/>
                  <a:pt x="84" y="149"/>
                  <a:pt x="84" y="146"/>
                </a:cubicBezTo>
                <a:cubicBezTo>
                  <a:pt x="84" y="146"/>
                  <a:pt x="84" y="146"/>
                  <a:pt x="84" y="146"/>
                </a:cubicBezTo>
                <a:cubicBezTo>
                  <a:pt x="84" y="142"/>
                  <a:pt x="81" y="140"/>
                  <a:pt x="78" y="140"/>
                </a:cubicBezTo>
                <a:cubicBezTo>
                  <a:pt x="34" y="140"/>
                  <a:pt x="34" y="140"/>
                  <a:pt x="34" y="140"/>
                </a:cubicBezTo>
                <a:cubicBezTo>
                  <a:pt x="31" y="140"/>
                  <a:pt x="28" y="142"/>
                  <a:pt x="28" y="146"/>
                </a:cubicBezTo>
                <a:close/>
                <a:moveTo>
                  <a:pt x="101" y="148"/>
                </a:moveTo>
                <a:cubicBezTo>
                  <a:pt x="99" y="150"/>
                  <a:pt x="98" y="151"/>
                  <a:pt x="96" y="153"/>
                </a:cubicBezTo>
                <a:cubicBezTo>
                  <a:pt x="94" y="155"/>
                  <a:pt x="95" y="159"/>
                  <a:pt x="98" y="160"/>
                </a:cubicBezTo>
                <a:cubicBezTo>
                  <a:pt x="100" y="160"/>
                  <a:pt x="101" y="160"/>
                  <a:pt x="102" y="159"/>
                </a:cubicBezTo>
                <a:cubicBezTo>
                  <a:pt x="104" y="157"/>
                  <a:pt x="106" y="155"/>
                  <a:pt x="108" y="152"/>
                </a:cubicBezTo>
                <a:cubicBezTo>
                  <a:pt x="110" y="154"/>
                  <a:pt x="112" y="156"/>
                  <a:pt x="114" y="158"/>
                </a:cubicBezTo>
                <a:cubicBezTo>
                  <a:pt x="115" y="159"/>
                  <a:pt x="117" y="160"/>
                  <a:pt x="119" y="159"/>
                </a:cubicBezTo>
                <a:cubicBezTo>
                  <a:pt x="122" y="158"/>
                  <a:pt x="122" y="155"/>
                  <a:pt x="120" y="153"/>
                </a:cubicBezTo>
                <a:cubicBezTo>
                  <a:pt x="118" y="151"/>
                  <a:pt x="116" y="149"/>
                  <a:pt x="114" y="147"/>
                </a:cubicBezTo>
                <a:cubicBezTo>
                  <a:pt x="114" y="146"/>
                  <a:pt x="114" y="146"/>
                  <a:pt x="114" y="146"/>
                </a:cubicBezTo>
                <a:cubicBezTo>
                  <a:pt x="116" y="144"/>
                  <a:pt x="118" y="143"/>
                  <a:pt x="120" y="141"/>
                </a:cubicBezTo>
                <a:cubicBezTo>
                  <a:pt x="121" y="140"/>
                  <a:pt x="121" y="138"/>
                  <a:pt x="121" y="137"/>
                </a:cubicBezTo>
                <a:cubicBezTo>
                  <a:pt x="120" y="133"/>
                  <a:pt x="117" y="132"/>
                  <a:pt x="114" y="135"/>
                </a:cubicBezTo>
                <a:cubicBezTo>
                  <a:pt x="112" y="137"/>
                  <a:pt x="110" y="139"/>
                  <a:pt x="108" y="141"/>
                </a:cubicBezTo>
                <a:cubicBezTo>
                  <a:pt x="106" y="139"/>
                  <a:pt x="104" y="137"/>
                  <a:pt x="102" y="135"/>
                </a:cubicBezTo>
                <a:cubicBezTo>
                  <a:pt x="100" y="133"/>
                  <a:pt x="98" y="133"/>
                  <a:pt x="96" y="135"/>
                </a:cubicBezTo>
                <a:cubicBezTo>
                  <a:pt x="94" y="137"/>
                  <a:pt x="94" y="139"/>
                  <a:pt x="96" y="141"/>
                </a:cubicBezTo>
                <a:cubicBezTo>
                  <a:pt x="98" y="143"/>
                  <a:pt x="100" y="145"/>
                  <a:pt x="102" y="147"/>
                </a:cubicBezTo>
                <a:cubicBezTo>
                  <a:pt x="102" y="147"/>
                  <a:pt x="101" y="148"/>
                  <a:pt x="101" y="148"/>
                </a:cubicBezTo>
                <a:close/>
                <a:moveTo>
                  <a:pt x="123" y="97"/>
                </a:moveTo>
                <a:cubicBezTo>
                  <a:pt x="122" y="97"/>
                  <a:pt x="122" y="97"/>
                  <a:pt x="122" y="97"/>
                </a:cubicBezTo>
                <a:cubicBezTo>
                  <a:pt x="122" y="97"/>
                  <a:pt x="122" y="98"/>
                  <a:pt x="121" y="98"/>
                </a:cubicBezTo>
                <a:cubicBezTo>
                  <a:pt x="120" y="98"/>
                  <a:pt x="120" y="98"/>
                  <a:pt x="120" y="98"/>
                </a:cubicBezTo>
                <a:cubicBezTo>
                  <a:pt x="120" y="99"/>
                  <a:pt x="119" y="99"/>
                  <a:pt x="119" y="99"/>
                </a:cubicBezTo>
                <a:cubicBezTo>
                  <a:pt x="114" y="102"/>
                  <a:pt x="110" y="106"/>
                  <a:pt x="106" y="109"/>
                </a:cubicBezTo>
                <a:cubicBezTo>
                  <a:pt x="105" y="109"/>
                  <a:pt x="105" y="109"/>
                  <a:pt x="105" y="109"/>
                </a:cubicBezTo>
                <a:cubicBezTo>
                  <a:pt x="104" y="110"/>
                  <a:pt x="104" y="111"/>
                  <a:pt x="103" y="112"/>
                </a:cubicBezTo>
                <a:cubicBezTo>
                  <a:pt x="102" y="112"/>
                  <a:pt x="102" y="112"/>
                  <a:pt x="102" y="112"/>
                </a:cubicBezTo>
                <a:cubicBezTo>
                  <a:pt x="101" y="111"/>
                  <a:pt x="101" y="111"/>
                  <a:pt x="101" y="111"/>
                </a:cubicBezTo>
                <a:cubicBezTo>
                  <a:pt x="100" y="110"/>
                  <a:pt x="98" y="109"/>
                  <a:pt x="97" y="108"/>
                </a:cubicBezTo>
                <a:cubicBezTo>
                  <a:pt x="96" y="107"/>
                  <a:pt x="95" y="107"/>
                  <a:pt x="94" y="106"/>
                </a:cubicBezTo>
                <a:cubicBezTo>
                  <a:pt x="94" y="106"/>
                  <a:pt x="93" y="106"/>
                  <a:pt x="92" y="107"/>
                </a:cubicBezTo>
                <a:cubicBezTo>
                  <a:pt x="92" y="107"/>
                  <a:pt x="92" y="108"/>
                  <a:pt x="92" y="109"/>
                </a:cubicBezTo>
                <a:cubicBezTo>
                  <a:pt x="92" y="109"/>
                  <a:pt x="92" y="110"/>
                  <a:pt x="92" y="110"/>
                </a:cubicBezTo>
                <a:cubicBezTo>
                  <a:pt x="94" y="114"/>
                  <a:pt x="95" y="117"/>
                  <a:pt x="98" y="121"/>
                </a:cubicBezTo>
                <a:cubicBezTo>
                  <a:pt x="99" y="122"/>
                  <a:pt x="100" y="123"/>
                  <a:pt x="102" y="123"/>
                </a:cubicBezTo>
                <a:cubicBezTo>
                  <a:pt x="103" y="123"/>
                  <a:pt x="104" y="122"/>
                  <a:pt x="105" y="121"/>
                </a:cubicBezTo>
                <a:cubicBezTo>
                  <a:pt x="106" y="120"/>
                  <a:pt x="107" y="119"/>
                  <a:pt x="107" y="119"/>
                </a:cubicBezTo>
                <a:cubicBezTo>
                  <a:pt x="110" y="116"/>
                  <a:pt x="113" y="112"/>
                  <a:pt x="116" y="109"/>
                </a:cubicBezTo>
                <a:cubicBezTo>
                  <a:pt x="117" y="108"/>
                  <a:pt x="118" y="107"/>
                  <a:pt x="119" y="106"/>
                </a:cubicBezTo>
                <a:cubicBezTo>
                  <a:pt x="120" y="105"/>
                  <a:pt x="120" y="105"/>
                  <a:pt x="121" y="104"/>
                </a:cubicBezTo>
                <a:cubicBezTo>
                  <a:pt x="121" y="104"/>
                  <a:pt x="121" y="104"/>
                  <a:pt x="121" y="104"/>
                </a:cubicBezTo>
                <a:cubicBezTo>
                  <a:pt x="123" y="101"/>
                  <a:pt x="124" y="100"/>
                  <a:pt x="124" y="99"/>
                </a:cubicBezTo>
                <a:cubicBezTo>
                  <a:pt x="124" y="98"/>
                  <a:pt x="124" y="97"/>
                  <a:pt x="123" y="97"/>
                </a:cubicBezTo>
                <a:close/>
                <a:moveTo>
                  <a:pt x="123" y="61"/>
                </a:moveTo>
                <a:cubicBezTo>
                  <a:pt x="122" y="61"/>
                  <a:pt x="122" y="61"/>
                  <a:pt x="122" y="61"/>
                </a:cubicBezTo>
                <a:cubicBezTo>
                  <a:pt x="122" y="61"/>
                  <a:pt x="122" y="61"/>
                  <a:pt x="121" y="61"/>
                </a:cubicBezTo>
                <a:cubicBezTo>
                  <a:pt x="120" y="61"/>
                  <a:pt x="120" y="61"/>
                  <a:pt x="120" y="61"/>
                </a:cubicBezTo>
                <a:cubicBezTo>
                  <a:pt x="120" y="62"/>
                  <a:pt x="119" y="62"/>
                  <a:pt x="119" y="63"/>
                </a:cubicBezTo>
                <a:cubicBezTo>
                  <a:pt x="114" y="66"/>
                  <a:pt x="110" y="69"/>
                  <a:pt x="106" y="72"/>
                </a:cubicBezTo>
                <a:cubicBezTo>
                  <a:pt x="105" y="72"/>
                  <a:pt x="105" y="72"/>
                  <a:pt x="105" y="72"/>
                </a:cubicBezTo>
                <a:cubicBezTo>
                  <a:pt x="104" y="73"/>
                  <a:pt x="104" y="74"/>
                  <a:pt x="103" y="75"/>
                </a:cubicBezTo>
                <a:cubicBezTo>
                  <a:pt x="102" y="75"/>
                  <a:pt x="102" y="75"/>
                  <a:pt x="102" y="75"/>
                </a:cubicBezTo>
                <a:cubicBezTo>
                  <a:pt x="101" y="74"/>
                  <a:pt x="101" y="74"/>
                  <a:pt x="101" y="74"/>
                </a:cubicBezTo>
                <a:cubicBezTo>
                  <a:pt x="100" y="73"/>
                  <a:pt x="98" y="72"/>
                  <a:pt x="97" y="71"/>
                </a:cubicBezTo>
                <a:cubicBezTo>
                  <a:pt x="96" y="70"/>
                  <a:pt x="95" y="70"/>
                  <a:pt x="94" y="70"/>
                </a:cubicBezTo>
                <a:cubicBezTo>
                  <a:pt x="94" y="69"/>
                  <a:pt x="93" y="70"/>
                  <a:pt x="92" y="70"/>
                </a:cubicBezTo>
                <a:cubicBezTo>
                  <a:pt x="92" y="71"/>
                  <a:pt x="92" y="71"/>
                  <a:pt x="92" y="72"/>
                </a:cubicBezTo>
                <a:cubicBezTo>
                  <a:pt x="92" y="72"/>
                  <a:pt x="92" y="73"/>
                  <a:pt x="92" y="74"/>
                </a:cubicBezTo>
                <a:cubicBezTo>
                  <a:pt x="94" y="77"/>
                  <a:pt x="95" y="80"/>
                  <a:pt x="98" y="84"/>
                </a:cubicBezTo>
                <a:cubicBezTo>
                  <a:pt x="99" y="85"/>
                  <a:pt x="100" y="86"/>
                  <a:pt x="102" y="86"/>
                </a:cubicBezTo>
                <a:cubicBezTo>
                  <a:pt x="103" y="86"/>
                  <a:pt x="104" y="85"/>
                  <a:pt x="105" y="84"/>
                </a:cubicBezTo>
                <a:cubicBezTo>
                  <a:pt x="106" y="84"/>
                  <a:pt x="107" y="83"/>
                  <a:pt x="107" y="82"/>
                </a:cubicBezTo>
                <a:cubicBezTo>
                  <a:pt x="110" y="79"/>
                  <a:pt x="113" y="76"/>
                  <a:pt x="116" y="72"/>
                </a:cubicBezTo>
                <a:cubicBezTo>
                  <a:pt x="117" y="71"/>
                  <a:pt x="118" y="70"/>
                  <a:pt x="119" y="69"/>
                </a:cubicBezTo>
                <a:cubicBezTo>
                  <a:pt x="120" y="69"/>
                  <a:pt x="120" y="68"/>
                  <a:pt x="121" y="67"/>
                </a:cubicBezTo>
                <a:cubicBezTo>
                  <a:pt x="121" y="67"/>
                  <a:pt x="121" y="67"/>
                  <a:pt x="121" y="67"/>
                </a:cubicBezTo>
                <a:cubicBezTo>
                  <a:pt x="123" y="64"/>
                  <a:pt x="124" y="63"/>
                  <a:pt x="124" y="62"/>
                </a:cubicBezTo>
                <a:cubicBezTo>
                  <a:pt x="124" y="61"/>
                  <a:pt x="124" y="61"/>
                  <a:pt x="123" y="61"/>
                </a:cubicBezTo>
                <a:close/>
                <a:moveTo>
                  <a:pt x="40" y="28"/>
                </a:moveTo>
                <a:cubicBezTo>
                  <a:pt x="40" y="28"/>
                  <a:pt x="40" y="28"/>
                  <a:pt x="40" y="28"/>
                </a:cubicBezTo>
                <a:cubicBezTo>
                  <a:pt x="40" y="28"/>
                  <a:pt x="40" y="28"/>
                  <a:pt x="40" y="28"/>
                </a:cubicBezTo>
                <a:cubicBezTo>
                  <a:pt x="40" y="28"/>
                  <a:pt x="40" y="28"/>
                  <a:pt x="40" y="28"/>
                </a:cubicBezTo>
                <a:close/>
                <a:moveTo>
                  <a:pt x="49" y="36"/>
                </a:moveTo>
                <a:cubicBezTo>
                  <a:pt x="98" y="36"/>
                  <a:pt x="98" y="36"/>
                  <a:pt x="98" y="36"/>
                </a:cubicBezTo>
                <a:cubicBezTo>
                  <a:pt x="102" y="36"/>
                  <a:pt x="106" y="33"/>
                  <a:pt x="107" y="30"/>
                </a:cubicBezTo>
                <a:cubicBezTo>
                  <a:pt x="107" y="29"/>
                  <a:pt x="107" y="28"/>
                  <a:pt x="107" y="28"/>
                </a:cubicBezTo>
                <a:cubicBezTo>
                  <a:pt x="107" y="28"/>
                  <a:pt x="107" y="28"/>
                  <a:pt x="107" y="28"/>
                </a:cubicBezTo>
                <a:cubicBezTo>
                  <a:pt x="107" y="27"/>
                  <a:pt x="107" y="27"/>
                  <a:pt x="107" y="26"/>
                </a:cubicBezTo>
                <a:cubicBezTo>
                  <a:pt x="106" y="25"/>
                  <a:pt x="106" y="24"/>
                  <a:pt x="105" y="24"/>
                </a:cubicBezTo>
                <a:cubicBezTo>
                  <a:pt x="104" y="22"/>
                  <a:pt x="102" y="21"/>
                  <a:pt x="100" y="20"/>
                </a:cubicBezTo>
                <a:cubicBezTo>
                  <a:pt x="100" y="20"/>
                  <a:pt x="99" y="20"/>
                  <a:pt x="98" y="20"/>
                </a:cubicBezTo>
                <a:cubicBezTo>
                  <a:pt x="93" y="20"/>
                  <a:pt x="93" y="20"/>
                  <a:pt x="93" y="20"/>
                </a:cubicBezTo>
                <a:cubicBezTo>
                  <a:pt x="93" y="19"/>
                  <a:pt x="93" y="19"/>
                  <a:pt x="93" y="19"/>
                </a:cubicBezTo>
                <a:cubicBezTo>
                  <a:pt x="93" y="9"/>
                  <a:pt x="84" y="0"/>
                  <a:pt x="74" y="0"/>
                </a:cubicBezTo>
                <a:cubicBezTo>
                  <a:pt x="74" y="0"/>
                  <a:pt x="74" y="0"/>
                  <a:pt x="74" y="0"/>
                </a:cubicBezTo>
                <a:cubicBezTo>
                  <a:pt x="69" y="0"/>
                  <a:pt x="64" y="2"/>
                  <a:pt x="61" y="5"/>
                </a:cubicBezTo>
                <a:cubicBezTo>
                  <a:pt x="57" y="9"/>
                  <a:pt x="55" y="14"/>
                  <a:pt x="55" y="19"/>
                </a:cubicBezTo>
                <a:cubicBezTo>
                  <a:pt x="55" y="20"/>
                  <a:pt x="55" y="20"/>
                  <a:pt x="55" y="20"/>
                </a:cubicBezTo>
                <a:cubicBezTo>
                  <a:pt x="49" y="20"/>
                  <a:pt x="49" y="20"/>
                  <a:pt x="49" y="20"/>
                </a:cubicBezTo>
                <a:cubicBezTo>
                  <a:pt x="48" y="20"/>
                  <a:pt x="47" y="20"/>
                  <a:pt x="47" y="20"/>
                </a:cubicBezTo>
                <a:cubicBezTo>
                  <a:pt x="45" y="21"/>
                  <a:pt x="43" y="22"/>
                  <a:pt x="42" y="24"/>
                </a:cubicBezTo>
                <a:cubicBezTo>
                  <a:pt x="41" y="24"/>
                  <a:pt x="41" y="25"/>
                  <a:pt x="40" y="26"/>
                </a:cubicBezTo>
                <a:cubicBezTo>
                  <a:pt x="40" y="27"/>
                  <a:pt x="40" y="27"/>
                  <a:pt x="40" y="28"/>
                </a:cubicBezTo>
                <a:cubicBezTo>
                  <a:pt x="40" y="29"/>
                  <a:pt x="40" y="29"/>
                  <a:pt x="40" y="30"/>
                </a:cubicBezTo>
                <a:cubicBezTo>
                  <a:pt x="41" y="33"/>
                  <a:pt x="45" y="36"/>
                  <a:pt x="49" y="36"/>
                </a:cubicBezTo>
                <a:close/>
                <a:moveTo>
                  <a:pt x="64" y="19"/>
                </a:moveTo>
                <a:cubicBezTo>
                  <a:pt x="64" y="14"/>
                  <a:pt x="69" y="9"/>
                  <a:pt x="74" y="9"/>
                </a:cubicBezTo>
                <a:cubicBezTo>
                  <a:pt x="74" y="9"/>
                  <a:pt x="74" y="9"/>
                  <a:pt x="74" y="9"/>
                </a:cubicBezTo>
                <a:cubicBezTo>
                  <a:pt x="79" y="9"/>
                  <a:pt x="84" y="14"/>
                  <a:pt x="84" y="19"/>
                </a:cubicBezTo>
                <a:cubicBezTo>
                  <a:pt x="84" y="20"/>
                  <a:pt x="84" y="20"/>
                  <a:pt x="84" y="20"/>
                </a:cubicBezTo>
                <a:cubicBezTo>
                  <a:pt x="64" y="20"/>
                  <a:pt x="64" y="20"/>
                  <a:pt x="64" y="20"/>
                </a:cubicBezTo>
                <a:lnTo>
                  <a:pt x="64" y="19"/>
                </a:lnTo>
                <a:close/>
                <a:moveTo>
                  <a:pt x="128" y="24"/>
                </a:moveTo>
                <a:cubicBezTo>
                  <a:pt x="118" y="24"/>
                  <a:pt x="118" y="24"/>
                  <a:pt x="118" y="24"/>
                </a:cubicBezTo>
                <a:cubicBezTo>
                  <a:pt x="119" y="25"/>
                  <a:pt x="119" y="26"/>
                  <a:pt x="119" y="27"/>
                </a:cubicBezTo>
                <a:cubicBezTo>
                  <a:pt x="119" y="28"/>
                  <a:pt x="119" y="28"/>
                  <a:pt x="119" y="28"/>
                </a:cubicBezTo>
                <a:cubicBezTo>
                  <a:pt x="119" y="28"/>
                  <a:pt x="119" y="28"/>
                  <a:pt x="119" y="28"/>
                </a:cubicBezTo>
                <a:cubicBezTo>
                  <a:pt x="119" y="29"/>
                  <a:pt x="119" y="29"/>
                  <a:pt x="119" y="29"/>
                </a:cubicBezTo>
                <a:cubicBezTo>
                  <a:pt x="119" y="30"/>
                  <a:pt x="119" y="31"/>
                  <a:pt x="118" y="33"/>
                </a:cubicBezTo>
                <a:cubicBezTo>
                  <a:pt x="118" y="34"/>
                  <a:pt x="118" y="35"/>
                  <a:pt x="117" y="36"/>
                </a:cubicBezTo>
                <a:cubicBezTo>
                  <a:pt x="128" y="36"/>
                  <a:pt x="128" y="36"/>
                  <a:pt x="128" y="36"/>
                </a:cubicBezTo>
                <a:cubicBezTo>
                  <a:pt x="132" y="36"/>
                  <a:pt x="136" y="39"/>
                  <a:pt x="136" y="44"/>
                </a:cubicBezTo>
                <a:cubicBezTo>
                  <a:pt x="136" y="172"/>
                  <a:pt x="136" y="172"/>
                  <a:pt x="136" y="172"/>
                </a:cubicBezTo>
                <a:cubicBezTo>
                  <a:pt x="136" y="176"/>
                  <a:pt x="132" y="180"/>
                  <a:pt x="128" y="180"/>
                </a:cubicBezTo>
                <a:cubicBezTo>
                  <a:pt x="20" y="180"/>
                  <a:pt x="20" y="180"/>
                  <a:pt x="20" y="180"/>
                </a:cubicBezTo>
                <a:cubicBezTo>
                  <a:pt x="16" y="180"/>
                  <a:pt x="12" y="176"/>
                  <a:pt x="12" y="172"/>
                </a:cubicBezTo>
                <a:cubicBezTo>
                  <a:pt x="12" y="44"/>
                  <a:pt x="12" y="44"/>
                  <a:pt x="12" y="44"/>
                </a:cubicBezTo>
                <a:cubicBezTo>
                  <a:pt x="12" y="39"/>
                  <a:pt x="16" y="36"/>
                  <a:pt x="2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29" y="35"/>
                  <a:pt x="29" y="34"/>
                  <a:pt x="29" y="33"/>
                </a:cubicBezTo>
                <a:cubicBezTo>
                  <a:pt x="28" y="31"/>
                  <a:pt x="28" y="30"/>
                  <a:pt x="28" y="29"/>
                </a:cubicBezTo>
                <a:cubicBezTo>
                  <a:pt x="28" y="28"/>
                  <a:pt x="28" y="28"/>
                  <a:pt x="28" y="28"/>
                </a:cubicBezTo>
                <a:cubicBezTo>
                  <a:pt x="28" y="27"/>
                  <a:pt x="28" y="27"/>
                  <a:pt x="28" y="27"/>
                </a:cubicBezTo>
                <a:cubicBezTo>
                  <a:pt x="28" y="26"/>
                  <a:pt x="28" y="25"/>
                  <a:pt x="29" y="24"/>
                </a:cubicBezTo>
                <a:cubicBezTo>
                  <a:pt x="20" y="24"/>
                  <a:pt x="20" y="24"/>
                  <a:pt x="20" y="24"/>
                </a:cubicBezTo>
                <a:cubicBezTo>
                  <a:pt x="9" y="24"/>
                  <a:pt x="0" y="33"/>
                  <a:pt x="0" y="44"/>
                </a:cubicBezTo>
                <a:cubicBezTo>
                  <a:pt x="0" y="172"/>
                  <a:pt x="0" y="172"/>
                  <a:pt x="0" y="172"/>
                </a:cubicBezTo>
                <a:cubicBezTo>
                  <a:pt x="0" y="183"/>
                  <a:pt x="9" y="192"/>
                  <a:pt x="20" y="192"/>
                </a:cubicBezTo>
                <a:cubicBezTo>
                  <a:pt x="128" y="192"/>
                  <a:pt x="128" y="192"/>
                  <a:pt x="128" y="192"/>
                </a:cubicBezTo>
                <a:cubicBezTo>
                  <a:pt x="139" y="192"/>
                  <a:pt x="148" y="183"/>
                  <a:pt x="148" y="172"/>
                </a:cubicBezTo>
                <a:cubicBezTo>
                  <a:pt x="148" y="44"/>
                  <a:pt x="148" y="44"/>
                  <a:pt x="148" y="44"/>
                </a:cubicBezTo>
                <a:cubicBezTo>
                  <a:pt x="148" y="33"/>
                  <a:pt x="139" y="24"/>
                  <a:pt x="128" y="24"/>
                </a:cubicBezTo>
                <a:close/>
              </a:path>
            </a:pathLst>
          </a:custGeom>
          <a:solidFill>
            <a:schemeClr val="bg2">
              <a:lumMod val="25000"/>
            </a:schemeClr>
          </a:solidFill>
          <a:ln>
            <a:noFill/>
          </a:ln>
        </p:spPr>
        <p:txBody>
          <a:bodyPr vert="horz" wrap="square" lIns="101841" tIns="50920" rIns="101841" bIns="5092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2005" dirty="0">
              <a:latin typeface="Etelka Thin Pro" panose="02000503000000020004" pitchFamily="2" charset="0"/>
            </a:endParaRPr>
          </a:p>
        </p:txBody>
      </p:sp>
      <p:sp>
        <p:nvSpPr>
          <p:cNvPr id="66" name="Google Shape;73;p17">
            <a:extLst>
              <a:ext uri="{FF2B5EF4-FFF2-40B4-BE49-F238E27FC236}">
                <a16:creationId xmlns:a16="http://schemas.microsoft.com/office/drawing/2014/main" id="{58450CCB-41A8-6079-0CBC-790C6E7EF1E4}"/>
              </a:ext>
            </a:extLst>
          </p:cNvPr>
          <p:cNvSpPr/>
          <p:nvPr/>
        </p:nvSpPr>
        <p:spPr>
          <a:xfrm>
            <a:off x="9580251" y="4254908"/>
            <a:ext cx="9030050" cy="34272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1336"/>
              </a:spcAft>
              <a:buClr>
                <a:schemeClr val="accent6"/>
              </a:buClr>
              <a:buSzPct val="100000"/>
            </a:pPr>
            <a:r>
              <a:rPr lang="ru-RU" sz="2227" b="1" dirty="0">
                <a:solidFill>
                  <a:schemeClr val="accent6"/>
                </a:solidFill>
                <a:latin typeface="+mj-lt"/>
                <a:ea typeface="Tahoma"/>
                <a:cs typeface="Tahoma"/>
                <a:sym typeface="Tahoma"/>
              </a:rPr>
              <a:t>Организаторы</a:t>
            </a: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FEB94EBA-E001-6B02-0011-445274F46FB5}"/>
              </a:ext>
            </a:extLst>
          </p:cNvPr>
          <p:cNvSpPr/>
          <p:nvPr/>
        </p:nvSpPr>
        <p:spPr>
          <a:xfrm>
            <a:off x="9005098" y="4225793"/>
            <a:ext cx="400949" cy="40094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425714">
              <a:spcAft>
                <a:spcPts val="468"/>
              </a:spcAft>
              <a:defRPr/>
            </a:pPr>
            <a:r>
              <a:rPr lang="ru-RU" sz="2227" b="1" dirty="0">
                <a:solidFill>
                  <a:prstClr val="white"/>
                </a:solidFill>
                <a:latin typeface="Tahoma"/>
              </a:rPr>
              <a:t>3</a:t>
            </a:r>
            <a:endParaRPr lang="ru-RU" sz="2227" dirty="0">
              <a:solidFill>
                <a:prstClr val="white"/>
              </a:solidFill>
              <a:latin typeface="Tahoma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5990236" y="4390656"/>
            <a:ext cx="1827748" cy="1827748"/>
          </a:xfrm>
          <a:prstGeom prst="rect">
            <a:avLst/>
          </a:prstGeom>
        </p:spPr>
      </p:pic>
      <p:sp>
        <p:nvSpPr>
          <p:cNvPr id="68" name="Google Shape;73;p17">
            <a:extLst>
              <a:ext uri="{FF2B5EF4-FFF2-40B4-BE49-F238E27FC236}">
                <a16:creationId xmlns:a16="http://schemas.microsoft.com/office/drawing/2014/main" id="{E3FFCF73-59E8-6B9B-D419-855A23AFE087}"/>
              </a:ext>
            </a:extLst>
          </p:cNvPr>
          <p:cNvSpPr/>
          <p:nvPr/>
        </p:nvSpPr>
        <p:spPr>
          <a:xfrm>
            <a:off x="615370" y="4112965"/>
            <a:ext cx="7355433" cy="3539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>
              <a:buClr>
                <a:srgbClr val="000000"/>
              </a:buClr>
              <a:buSzPts val="1000"/>
            </a:pPr>
            <a:r>
              <a:rPr lang="ru" sz="2300" b="1" dirty="0">
                <a:latin typeface="+mj-lt"/>
                <a:ea typeface="Tahoma"/>
                <a:cs typeface="Tahoma"/>
                <a:sym typeface="Tahoma"/>
              </a:rPr>
              <a:t>Старт </a:t>
            </a:r>
            <a:r>
              <a:rPr lang="ru" sz="2300" b="1" dirty="0" smtClean="0">
                <a:latin typeface="+mj-lt"/>
                <a:ea typeface="Tahoma"/>
                <a:cs typeface="Tahoma"/>
                <a:sym typeface="Tahoma"/>
              </a:rPr>
              <a:t>четвертого </a:t>
            </a:r>
            <a:r>
              <a:rPr lang="ru" sz="2300" b="1" dirty="0">
                <a:latin typeface="+mj-lt"/>
                <a:ea typeface="Tahoma"/>
                <a:cs typeface="Tahoma"/>
                <a:sym typeface="Tahoma"/>
              </a:rPr>
              <a:t>потока </a:t>
            </a:r>
            <a:r>
              <a:rPr lang="ru" sz="2300" b="1" dirty="0" smtClean="0">
                <a:latin typeface="+mj-lt"/>
                <a:ea typeface="Tahoma"/>
                <a:cs typeface="Tahoma"/>
                <a:sym typeface="Tahoma"/>
              </a:rPr>
              <a:t>- 11 октября 2023 </a:t>
            </a:r>
            <a:r>
              <a:rPr lang="ru" sz="2300" b="1" dirty="0">
                <a:latin typeface="+mj-lt"/>
                <a:ea typeface="Tahoma"/>
                <a:cs typeface="Tahoma"/>
                <a:sym typeface="Tahoma"/>
              </a:rPr>
              <a:t>г. </a:t>
            </a:r>
            <a:endParaRPr lang="ru" sz="2300" dirty="0">
              <a:latin typeface="+mj-lt"/>
              <a:ea typeface="Tahoma"/>
              <a:cs typeface="Tahoma"/>
              <a:sym typeface="Tahoma"/>
            </a:endParaRPr>
          </a:p>
        </p:txBody>
      </p:sp>
      <p:sp>
        <p:nvSpPr>
          <p:cNvPr id="70" name="Заголовок 3"/>
          <p:cNvSpPr txBox="1">
            <a:spLocks/>
          </p:cNvSpPr>
          <p:nvPr/>
        </p:nvSpPr>
        <p:spPr bwMode="auto">
          <a:xfrm>
            <a:off x="382591" y="243649"/>
            <a:ext cx="18293206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18288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2860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27432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2004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defTabSz="1422394">
              <a:defRPr/>
            </a:pPr>
            <a:r>
              <a:rPr lang="ru-RU" altLang="ru-RU" sz="3600" b="1" dirty="0">
                <a:solidFill>
                  <a:srgbClr val="3E5057"/>
                </a:solidFill>
              </a:rPr>
              <a:t>Обучающий курс по «зеленому» ГОСТ Р </a:t>
            </a:r>
          </a:p>
        </p:txBody>
      </p:sp>
      <p:sp>
        <p:nvSpPr>
          <p:cNvPr id="71" name="Google Shape;73;p17">
            <a:extLst>
              <a:ext uri="{FF2B5EF4-FFF2-40B4-BE49-F238E27FC236}">
                <a16:creationId xmlns:a16="http://schemas.microsoft.com/office/drawing/2014/main" id="{E3FFCF73-59E8-6B9B-D419-855A23AFE087}"/>
              </a:ext>
            </a:extLst>
          </p:cNvPr>
          <p:cNvSpPr/>
          <p:nvPr/>
        </p:nvSpPr>
        <p:spPr>
          <a:xfrm>
            <a:off x="630628" y="4664241"/>
            <a:ext cx="7355433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>
              <a:buClr>
                <a:srgbClr val="000000"/>
              </a:buClr>
              <a:buSzPts val="1000"/>
            </a:pPr>
            <a:r>
              <a:rPr lang="ru" sz="2400" b="1" dirty="0">
                <a:solidFill>
                  <a:schemeClr val="accent6"/>
                </a:solidFill>
                <a:latin typeface="+mj-lt"/>
                <a:ea typeface="Tahoma"/>
                <a:cs typeface="Tahoma"/>
                <a:sym typeface="Tahoma"/>
              </a:rPr>
              <a:t>Стоимость: 23 000 руб.</a:t>
            </a:r>
            <a:r>
              <a:rPr lang="ru" sz="2400" b="1" baseline="30000" dirty="0">
                <a:solidFill>
                  <a:schemeClr val="accent6"/>
                </a:solidFill>
                <a:latin typeface="+mj-lt"/>
                <a:ea typeface="Tahoma"/>
                <a:cs typeface="Tahoma"/>
                <a:sym typeface="Tahoma"/>
              </a:rPr>
              <a:t>*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433120" y="10116794"/>
            <a:ext cx="177098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1" dirty="0"/>
              <a:t>* Гибкая система скидок: для физлиц – </a:t>
            </a:r>
            <a:r>
              <a:rPr lang="ru-RU" sz="1400" b="1" i="1" dirty="0"/>
              <a:t>10%</a:t>
            </a:r>
            <a:r>
              <a:rPr lang="ru-RU" sz="1400" i="1" dirty="0"/>
              <a:t> сотрудникам НИУ ВШЭ, </a:t>
            </a:r>
            <a:r>
              <a:rPr lang="ru-RU" sz="1400" b="1" i="1" dirty="0"/>
              <a:t>15%</a:t>
            </a:r>
            <a:r>
              <a:rPr lang="ru-RU" sz="1400" i="1" dirty="0"/>
              <a:t> студентам, получающим высшее образование или среднее профессиональное образование, </a:t>
            </a:r>
            <a:r>
              <a:rPr lang="ru-RU" sz="1400" b="1" i="1" dirty="0"/>
              <a:t>15%</a:t>
            </a:r>
            <a:r>
              <a:rPr lang="ru-RU" sz="1400" i="1" dirty="0"/>
              <a:t> государственным и муниципальным служащим, для </a:t>
            </a:r>
            <a:r>
              <a:rPr lang="ru-RU" sz="1400" i="1" dirty="0" err="1"/>
              <a:t>юрлиц</a:t>
            </a:r>
            <a:r>
              <a:rPr lang="ru-RU" sz="1400" i="1" dirty="0"/>
              <a:t> – </a:t>
            </a:r>
            <a:r>
              <a:rPr lang="ru-RU" sz="1400" b="1" i="1" dirty="0"/>
              <a:t>3%</a:t>
            </a:r>
            <a:r>
              <a:rPr lang="ru-RU" sz="1400" i="1" dirty="0"/>
              <a:t> от 3 до 6 слушателей, </a:t>
            </a:r>
            <a:r>
              <a:rPr lang="ru-RU" sz="1400" b="1" i="1" dirty="0"/>
              <a:t>5%</a:t>
            </a:r>
            <a:r>
              <a:rPr lang="ru-RU" sz="1400" i="1" dirty="0"/>
              <a:t> от 7 до 9 слушателей, </a:t>
            </a:r>
            <a:r>
              <a:rPr lang="ru-RU" sz="1400" b="1" i="1" dirty="0"/>
              <a:t>7%</a:t>
            </a:r>
            <a:r>
              <a:rPr lang="ru-RU" sz="1400" i="1" dirty="0"/>
              <a:t> от 10 слушателей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FAD45475-84AB-438B-8430-5F05732237C0}"/>
              </a:ext>
            </a:extLst>
          </p:cNvPr>
          <p:cNvSpPr txBox="1"/>
          <p:nvPr/>
        </p:nvSpPr>
        <p:spPr>
          <a:xfrm>
            <a:off x="9005098" y="5874542"/>
            <a:ext cx="698513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chemeClr val="accent6"/>
                </a:solidFill>
                <a:ea typeface="Verdana" panose="020B0604030504040204" pitchFamily="34" charset="0"/>
                <a:cs typeface="DIN Pro Regular" panose="020B0504020101020102" pitchFamily="34" charset="0"/>
              </a:rPr>
              <a:t>Результат:</a:t>
            </a:r>
            <a:r>
              <a:rPr lang="ru-RU" sz="1800" dirty="0">
                <a:solidFill>
                  <a:srgbClr val="2F444E"/>
                </a:solidFill>
                <a:ea typeface="Verdana" panose="020B0604030504040204" pitchFamily="34" charset="0"/>
                <a:cs typeface="DIN Pro Regular" panose="020B0504020101020102" pitchFamily="34" charset="0"/>
              </a:rPr>
              <a:t> сертификат ДОМ.РФ, удостоверение </a:t>
            </a:r>
            <a:br>
              <a:rPr lang="ru-RU" sz="1800" dirty="0">
                <a:solidFill>
                  <a:srgbClr val="2F444E"/>
                </a:solidFill>
                <a:ea typeface="Verdana" panose="020B0604030504040204" pitchFamily="34" charset="0"/>
                <a:cs typeface="DIN Pro Regular" panose="020B0504020101020102" pitchFamily="34" charset="0"/>
              </a:rPr>
            </a:br>
            <a:r>
              <a:rPr lang="ru-RU" sz="1800" dirty="0">
                <a:solidFill>
                  <a:srgbClr val="2F444E"/>
                </a:solidFill>
                <a:ea typeface="Verdana" panose="020B0604030504040204" pitchFamily="34" charset="0"/>
                <a:cs typeface="DIN Pro Regular" panose="020B0504020101020102" pitchFamily="34" charset="0"/>
              </a:rPr>
              <a:t>о повышении квалификации НИУ ВШЭ</a:t>
            </a:r>
          </a:p>
        </p:txBody>
      </p:sp>
    </p:spTree>
    <p:extLst>
      <p:ext uri="{BB962C8B-B14F-4D97-AF65-F5344CB8AC3E}">
        <p14:creationId xmlns:p14="http://schemas.microsoft.com/office/powerpoint/2010/main" val="8252199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46042" y="1095850"/>
          <a:ext cx="2626" cy="26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2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46042" y="1095850"/>
                        <a:ext cx="2626" cy="26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Заголовок 1">
            <a:extLst>
              <a:ext uri="{FF2B5EF4-FFF2-40B4-BE49-F238E27FC236}">
                <a16:creationId xmlns:a16="http://schemas.microsoft.com/office/drawing/2014/main" id="{2265599A-CCF0-93EC-6448-DBE2CDB639FF}"/>
              </a:ext>
            </a:extLst>
          </p:cNvPr>
          <p:cNvSpPr txBox="1">
            <a:spLocks/>
          </p:cNvSpPr>
          <p:nvPr/>
        </p:nvSpPr>
        <p:spPr bwMode="auto">
          <a:xfrm>
            <a:off x="448855" y="353283"/>
            <a:ext cx="15329707" cy="9598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0190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05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742" dirty="0">
                <a:solidFill>
                  <a:schemeClr val="tx2"/>
                </a:solidFill>
              </a:rPr>
              <a:t>Премия ДОМ.РФ </a:t>
            </a:r>
            <a:r>
              <a:rPr lang="ru-RU" sz="3742" dirty="0">
                <a:solidFill>
                  <a:schemeClr val="accent6"/>
                </a:solidFill>
              </a:rPr>
              <a:t>«Самый зеленый дом»</a:t>
            </a:r>
          </a:p>
          <a:p>
            <a:r>
              <a:rPr lang="ru-RU" sz="2495" b="0" dirty="0">
                <a:solidFill>
                  <a:schemeClr val="tx2"/>
                </a:solidFill>
              </a:rPr>
              <a:t>в рамках проведения ежегодной премии </a:t>
            </a:r>
            <a:r>
              <a:rPr lang="en-US" sz="2495" b="0" dirty="0">
                <a:solidFill>
                  <a:schemeClr val="tx2"/>
                </a:solidFill>
              </a:rPr>
              <a:t>Urban Awards</a:t>
            </a:r>
            <a:endParaRPr lang="ru-RU" sz="2495" b="0" dirty="0">
              <a:solidFill>
                <a:schemeClr val="tx2"/>
              </a:solidFill>
            </a:endParaRPr>
          </a:p>
        </p:txBody>
      </p:sp>
      <p:pic>
        <p:nvPicPr>
          <p:cNvPr id="7176" name="Picture 8" descr="Символика премии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6" t="5895" r="5416" b="19579"/>
          <a:stretch/>
        </p:blipFill>
        <p:spPr bwMode="auto">
          <a:xfrm>
            <a:off x="17261646" y="376318"/>
            <a:ext cx="566513" cy="584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1" y="1577922"/>
            <a:ext cx="4819449" cy="91154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prstDash val="solid"/>
          </a:ln>
        </p:spPr>
        <p:txBody>
          <a:bodyPr wrap="square" lIns="149688" tIns="149688" rIns="149688" bIns="149688" rtlCol="0" anchor="ctr" anchorCtr="0">
            <a:noAutofit/>
          </a:bodyPr>
          <a:lstStyle/>
          <a:p>
            <a:pPr>
              <a:buClr>
                <a:schemeClr val="accent6"/>
              </a:buClr>
              <a:tabLst>
                <a:tab pos="401336" algn="l"/>
              </a:tabLst>
            </a:pPr>
            <a:endParaRPr lang="ru-RU" sz="1871" dirty="0">
              <a:ea typeface="Tahoma"/>
              <a:cs typeface="Tahoma"/>
              <a:sym typeface="Tahoma"/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5266333" y="1635632"/>
            <a:ext cx="3005631" cy="38395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>
              <a:buClr>
                <a:srgbClr val="8FC54C"/>
              </a:buClr>
            </a:pPr>
            <a:r>
              <a:rPr lang="ru-RU" sz="2495" b="1" dirty="0">
                <a:solidFill>
                  <a:schemeClr val="accent6"/>
                </a:solidFill>
              </a:rPr>
              <a:t>Таймлайн премии</a:t>
            </a: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2FB28818-21C9-3BB8-A56B-F06FF4CBBF4A}"/>
              </a:ext>
            </a:extLst>
          </p:cNvPr>
          <p:cNvGrpSpPr/>
          <p:nvPr/>
        </p:nvGrpSpPr>
        <p:grpSpPr>
          <a:xfrm>
            <a:off x="5274389" y="8293552"/>
            <a:ext cx="8490175" cy="590239"/>
            <a:chOff x="2436408" y="4331208"/>
            <a:chExt cx="4083792" cy="283906"/>
          </a:xfrm>
        </p:grpSpPr>
        <p:sp>
          <p:nvSpPr>
            <p:cNvPr id="124" name="Прямоугольник 123"/>
            <p:cNvSpPr/>
            <p:nvPr/>
          </p:nvSpPr>
          <p:spPr>
            <a:xfrm>
              <a:off x="2436408" y="4331208"/>
              <a:ext cx="936000" cy="2839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none" lIns="149688" tIns="149688" rIns="149688" bIns="149688">
              <a:noAutofit/>
            </a:bodyPr>
            <a:lstStyle/>
            <a:p>
              <a:pPr lvl="0">
                <a:buClr>
                  <a:srgbClr val="8FC54C"/>
                </a:buClr>
              </a:pPr>
              <a:r>
                <a:rPr lang="ru-RU" sz="1663" b="1" dirty="0">
                  <a:latin typeface="+mj-lt"/>
                </a:rPr>
                <a:t>Финал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27D09449-DFFD-42C3-83DD-29279B71923C}"/>
                </a:ext>
              </a:extLst>
            </p:cNvPr>
            <p:cNvSpPr txBox="1"/>
            <p:nvPr/>
          </p:nvSpPr>
          <p:spPr>
            <a:xfrm>
              <a:off x="3520555" y="4331208"/>
              <a:ext cx="2999645" cy="1230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374220" indent="-374220">
                <a:spcAft>
                  <a:spcPts val="624"/>
                </a:spcAft>
                <a:buClr>
                  <a:srgbClr val="8DC63F"/>
                </a:buClr>
                <a:buFont typeface="Wingdings" panose="05000000000000000000" pitchFamily="2" charset="2"/>
                <a:buChar char="§"/>
              </a:pPr>
              <a:r>
                <a:rPr lang="ru-RU" sz="1663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ремия</a:t>
              </a:r>
              <a:r>
                <a:rPr lang="ru-RU" sz="1663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«Самый зеленый дом» </a:t>
              </a:r>
              <a:r>
                <a:rPr lang="en-US" sz="1663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Urban Awards</a:t>
              </a:r>
              <a:endParaRPr lang="ru-RU" sz="166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133" name="Прямоугольник 132"/>
          <p:cNvSpPr/>
          <p:nvPr/>
        </p:nvSpPr>
        <p:spPr>
          <a:xfrm>
            <a:off x="5274388" y="5038075"/>
            <a:ext cx="1945938" cy="59023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lIns="149688" tIns="149688" rIns="149688" bIns="149688">
            <a:noAutofit/>
          </a:bodyPr>
          <a:lstStyle/>
          <a:p>
            <a:pPr>
              <a:buClr>
                <a:srgbClr val="8DC63F"/>
              </a:buClr>
            </a:pPr>
            <a:r>
              <a:rPr lang="ru-RU" sz="1663" b="1" dirty="0" err="1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Предскоринг</a:t>
            </a:r>
            <a:endParaRPr lang="ru-RU" sz="1663" b="1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4" name="Прямоугольник 133"/>
          <p:cNvSpPr/>
          <p:nvPr/>
        </p:nvSpPr>
        <p:spPr>
          <a:xfrm>
            <a:off x="7528322" y="5064281"/>
            <a:ext cx="10943206" cy="5887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24"/>
              </a:spcAft>
              <a:buClr>
                <a:srgbClr val="8DC63F"/>
              </a:buClr>
            </a:pPr>
            <a:r>
              <a:rPr lang="ru-RU" sz="166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здания: класс энергоэффективности А, А+ и А++ и 5 критериев ГОСТ Р из ЕИСЖС</a:t>
            </a:r>
            <a:r>
              <a:rPr lang="ru-RU" sz="1871" baseline="30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ru-RU" sz="166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>
              <a:spcAft>
                <a:spcPts val="624"/>
              </a:spcAft>
              <a:buClr>
                <a:srgbClr val="8DC63F"/>
              </a:buClr>
            </a:pPr>
            <a:r>
              <a:rPr lang="ru-RU" sz="166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проекта: класс энергоэффективности – только А+ и А++ и 5 критериев ГОСТ Р из ЕИСЖС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FE54F2CA-125A-38CD-67E2-90701095DCD1}"/>
              </a:ext>
            </a:extLst>
          </p:cNvPr>
          <p:cNvGrpSpPr/>
          <p:nvPr/>
        </p:nvGrpSpPr>
        <p:grpSpPr>
          <a:xfrm>
            <a:off x="5274389" y="5893288"/>
            <a:ext cx="13386015" cy="1254446"/>
            <a:chOff x="2436408" y="2932107"/>
            <a:chExt cx="6438701" cy="603391"/>
          </a:xfrm>
        </p:grpSpPr>
        <p:sp>
          <p:nvSpPr>
            <p:cNvPr id="135" name="Прямоугольник 134"/>
            <p:cNvSpPr/>
            <p:nvPr/>
          </p:nvSpPr>
          <p:spPr>
            <a:xfrm>
              <a:off x="2436408" y="2932107"/>
              <a:ext cx="936000" cy="2839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none" lIns="149688" tIns="149688" rIns="149688" bIns="149688">
              <a:noAutofit/>
            </a:bodyPr>
            <a:lstStyle/>
            <a:p>
              <a:pPr>
                <a:buClr>
                  <a:srgbClr val="8DC63F"/>
                </a:buClr>
              </a:pPr>
              <a:r>
                <a:rPr lang="ru-RU" sz="1663" b="1" dirty="0">
                  <a:latin typeface="+mj-lt"/>
                  <a:ea typeface="Tahoma" panose="020B0604030504040204" pitchFamily="34" charset="0"/>
                  <a:cs typeface="Tahoma" panose="020B0604030504040204" pitchFamily="34" charset="0"/>
                </a:rPr>
                <a:t>Первый тур</a:t>
              </a:r>
            </a:p>
          </p:txBody>
        </p:sp>
        <p:sp>
          <p:nvSpPr>
            <p:cNvPr id="137" name="Прямоугольник 136"/>
            <p:cNvSpPr/>
            <p:nvPr/>
          </p:nvSpPr>
          <p:spPr>
            <a:xfrm>
              <a:off x="3520555" y="2932107"/>
              <a:ext cx="5354554" cy="60339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3202">
                <a:spcBef>
                  <a:spcPts val="468"/>
                </a:spcBef>
                <a:buClr>
                  <a:srgbClr val="8DC63F"/>
                </a:buClr>
              </a:pPr>
              <a:r>
                <a:rPr lang="ru-RU" sz="1663" dirty="0">
                  <a:ea typeface="Tahoma" panose="020B0604030504040204" pitchFamily="34" charset="0"/>
                  <a:cs typeface="Tahoma" panose="020B0604030504040204" pitchFamily="34" charset="0"/>
                </a:rPr>
                <a:t>Перепроверка соответствия 6-ти критериям </a:t>
              </a:r>
              <a:r>
                <a:rPr lang="ru-RU" sz="1663" dirty="0" err="1">
                  <a:ea typeface="Tahoma" panose="020B0604030504040204" pitchFamily="34" charset="0"/>
                  <a:cs typeface="Tahoma" panose="020B0604030504040204" pitchFamily="34" charset="0"/>
                </a:rPr>
                <a:t>предскоринга</a:t>
              </a:r>
              <a:r>
                <a:rPr lang="ru-RU" sz="1663" dirty="0">
                  <a:ea typeface="Tahoma" panose="020B0604030504040204" pitchFamily="34" charset="0"/>
                  <a:cs typeface="Tahoma" panose="020B0604030504040204" pitchFamily="34" charset="0"/>
                </a:rPr>
                <a:t> + 3 доп. критерия ГОСТ Р:</a:t>
              </a:r>
            </a:p>
            <a:p>
              <a:pPr marL="376247" indent="-376247">
                <a:spcBef>
                  <a:spcPts val="624"/>
                </a:spcBef>
                <a:buClr>
                  <a:srgbClr val="8DC63F"/>
                </a:buClr>
                <a:buFont typeface="Wingdings" panose="05000000000000000000" pitchFamily="2" charset="2"/>
                <a:buChar char="§"/>
              </a:pPr>
              <a:r>
                <a:rPr lang="ru-RU" sz="1663" dirty="0">
                  <a:ea typeface="Tahoma" panose="020B0604030504040204" pitchFamily="34" charset="0"/>
                  <a:cs typeface="Tahoma" panose="020B0604030504040204" pitchFamily="34" charset="0"/>
                </a:rPr>
                <a:t>1.9 «Парковка для велосипедов»</a:t>
              </a:r>
            </a:p>
            <a:p>
              <a:pPr marL="376247" indent="-376247">
                <a:spcBef>
                  <a:spcPts val="624"/>
                </a:spcBef>
                <a:buClr>
                  <a:srgbClr val="8DC63F"/>
                </a:buClr>
                <a:buFont typeface="Wingdings" panose="05000000000000000000" pitchFamily="2" charset="2"/>
                <a:buChar char="§"/>
              </a:pPr>
              <a:r>
                <a:rPr lang="ru-RU" sz="1663" dirty="0">
                  <a:ea typeface="Tahoma" panose="020B0604030504040204" pitchFamily="34" charset="0"/>
                  <a:cs typeface="Tahoma" panose="020B0604030504040204" pitchFamily="34" charset="0"/>
                </a:rPr>
                <a:t>5.6 «Удельное водопотребление» </a:t>
              </a:r>
            </a:p>
            <a:p>
              <a:pPr marL="376247" indent="-376247">
                <a:spcBef>
                  <a:spcPts val="624"/>
                </a:spcBef>
                <a:buClr>
                  <a:srgbClr val="8DC63F"/>
                </a:buClr>
                <a:buFont typeface="Wingdings" panose="05000000000000000000" pitchFamily="2" charset="2"/>
                <a:buChar char="§"/>
              </a:pPr>
              <a:r>
                <a:rPr lang="ru-RU" sz="1663" dirty="0">
                  <a:ea typeface="Tahoma" panose="020B0604030504040204" pitchFamily="34" charset="0"/>
                  <a:cs typeface="Tahoma" panose="020B0604030504040204" pitchFamily="34" charset="0"/>
                </a:rPr>
                <a:t>6.3 «</a:t>
              </a:r>
              <a:r>
                <a:rPr lang="ru-RU" sz="1663" dirty="0" err="1">
                  <a:ea typeface="Tahoma" panose="020B0604030504040204" pitchFamily="34" charset="0"/>
                  <a:cs typeface="Tahoma" panose="020B0604030504040204" pitchFamily="34" charset="0"/>
                </a:rPr>
                <a:t>Экологичные</a:t>
              </a:r>
              <a:r>
                <a:rPr lang="ru-RU" sz="1663" dirty="0">
                  <a:ea typeface="Tahoma" panose="020B0604030504040204" pitchFamily="34" charset="0"/>
                  <a:cs typeface="Tahoma" panose="020B0604030504040204" pitchFamily="34" charset="0"/>
                </a:rPr>
                <a:t> материалы»</a:t>
              </a:r>
              <a:endParaRPr lang="ru-RU" sz="1663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E53AEC6E-53E5-BCB1-6170-D3479C8AC777}"/>
              </a:ext>
            </a:extLst>
          </p:cNvPr>
          <p:cNvGrpSpPr/>
          <p:nvPr/>
        </p:nvGrpSpPr>
        <p:grpSpPr>
          <a:xfrm>
            <a:off x="5274389" y="7458348"/>
            <a:ext cx="13638101" cy="590239"/>
            <a:chOff x="2436408" y="4087679"/>
            <a:chExt cx="6559955" cy="283906"/>
          </a:xfrm>
        </p:grpSpPr>
        <p:sp>
          <p:nvSpPr>
            <p:cNvPr id="138" name="Прямоугольник 137"/>
            <p:cNvSpPr/>
            <p:nvPr/>
          </p:nvSpPr>
          <p:spPr>
            <a:xfrm>
              <a:off x="2436408" y="4087679"/>
              <a:ext cx="936000" cy="2839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none" lIns="149688" tIns="149688" rIns="149688" bIns="149688">
              <a:noAutofit/>
            </a:bodyPr>
            <a:lstStyle/>
            <a:p>
              <a:pPr>
                <a:buClr>
                  <a:srgbClr val="8DC63F"/>
                </a:buClr>
              </a:pPr>
              <a:r>
                <a:rPr lang="ru-RU" sz="1663" b="1" dirty="0">
                  <a:latin typeface="+mj-lt"/>
                  <a:ea typeface="Tahoma" panose="020B0604030504040204" pitchFamily="34" charset="0"/>
                  <a:cs typeface="Tahoma" panose="020B0604030504040204" pitchFamily="34" charset="0"/>
                </a:rPr>
                <a:t>Второй тур</a:t>
              </a:r>
            </a:p>
          </p:txBody>
        </p:sp>
        <p:sp>
          <p:nvSpPr>
            <p:cNvPr id="139" name="Прямоугольник 138"/>
            <p:cNvSpPr/>
            <p:nvPr/>
          </p:nvSpPr>
          <p:spPr>
            <a:xfrm>
              <a:off x="3520555" y="4106522"/>
              <a:ext cx="5475808" cy="24618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13202">
                <a:spcBef>
                  <a:spcPts val="468"/>
                </a:spcBef>
                <a:buClr>
                  <a:srgbClr val="8DC63F"/>
                </a:buClr>
              </a:pPr>
              <a:r>
                <a:rPr lang="ru-RU" sz="1663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Дополнительные критерии ГОСТ Р выбираются на усмотрение застройщика, премия вручается на основании максимума набранных баллов (проверяемых по подтверждающей документации)</a:t>
              </a:r>
            </a:p>
          </p:txBody>
        </p:sp>
      </p:grpSp>
      <p:sp>
        <p:nvSpPr>
          <p:cNvPr id="145" name="Прямоугольник 144"/>
          <p:cNvSpPr/>
          <p:nvPr/>
        </p:nvSpPr>
        <p:spPr>
          <a:xfrm>
            <a:off x="5274390" y="9404298"/>
            <a:ext cx="13428987" cy="8956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buClr>
                <a:schemeClr val="accent6"/>
              </a:buClr>
            </a:pPr>
            <a:r>
              <a:rPr lang="ru-RU" sz="1455" dirty="0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  <a:sym typeface="Tahoma"/>
              </a:rPr>
              <a:t>1. ГОСТ Р 70346-2022 «Зеленые» стандарты. Здания многоквартирные жилые «зеленые». Методика оценки и критерии проектирования, </a:t>
            </a:r>
            <a:br>
              <a:rPr lang="ru-RU" sz="1455" dirty="0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  <a:sym typeface="Tahoma"/>
              </a:rPr>
            </a:br>
            <a:r>
              <a:rPr lang="ru-RU" sz="1455" dirty="0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  <a:sym typeface="Tahoma"/>
              </a:rPr>
              <a:t>строительства и эксплуатации» (ГОСТ Р)</a:t>
            </a:r>
          </a:p>
          <a:p>
            <a:pPr>
              <a:buClr>
                <a:schemeClr val="accent6"/>
              </a:buClr>
            </a:pPr>
            <a:r>
              <a:rPr lang="ru-RU" sz="1455" dirty="0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  <a:sym typeface="Tahoma"/>
              </a:rPr>
              <a:t>2. Озеленение территории; Благоустройство территории; Детские и спортивные площадки; </a:t>
            </a:r>
            <a:r>
              <a:rPr lang="ru-RU" sz="1455" dirty="0" err="1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  <a:sym typeface="Tahoma"/>
              </a:rPr>
              <a:t>Безбарьерная</a:t>
            </a:r>
            <a:r>
              <a:rPr lang="ru-RU" sz="1455" dirty="0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  <a:sym typeface="Tahoma"/>
              </a:rPr>
              <a:t> среда для маломобильных лиц; Площадки </a:t>
            </a:r>
            <a:r>
              <a:rPr lang="en-US" sz="1455" dirty="0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  <a:sym typeface="Tahoma"/>
              </a:rPr>
              <a:t/>
            </a:r>
            <a:br>
              <a:rPr lang="en-US" sz="1455" dirty="0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  <a:sym typeface="Tahoma"/>
              </a:rPr>
            </a:br>
            <a:r>
              <a:rPr lang="ru-RU" sz="1455" dirty="0">
                <a:solidFill>
                  <a:schemeClr val="bg1">
                    <a:lumMod val="50000"/>
                  </a:schemeClr>
                </a:solidFill>
                <a:ea typeface="Tahoma"/>
                <a:cs typeface="Tahoma"/>
                <a:sym typeface="Tahoma"/>
              </a:rPr>
              <a:t>для размещения контейнеров для сбора твердых отходов</a:t>
            </a:r>
          </a:p>
        </p:txBody>
      </p:sp>
      <p:sp>
        <p:nvSpPr>
          <p:cNvPr id="146" name="Прямоугольник 145"/>
          <p:cNvSpPr/>
          <p:nvPr/>
        </p:nvSpPr>
        <p:spPr>
          <a:xfrm>
            <a:off x="5274389" y="4535593"/>
            <a:ext cx="4090863" cy="38395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>
              <a:buClr>
                <a:srgbClr val="8FC54C"/>
              </a:buClr>
            </a:pPr>
            <a:r>
              <a:rPr lang="ru-RU" sz="2495" b="1" dirty="0">
                <a:solidFill>
                  <a:schemeClr val="accent6"/>
                </a:solidFill>
              </a:rPr>
              <a:t>Этапы участия в премии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1B3239EB-8B8F-B81A-40EE-26F49FDA4EEE}"/>
              </a:ext>
            </a:extLst>
          </p:cNvPr>
          <p:cNvGrpSpPr/>
          <p:nvPr/>
        </p:nvGrpSpPr>
        <p:grpSpPr>
          <a:xfrm>
            <a:off x="501486" y="1640454"/>
            <a:ext cx="4120111" cy="5535847"/>
            <a:chOff x="236871" y="1170106"/>
            <a:chExt cx="1981782" cy="2662754"/>
          </a:xfrm>
        </p:grpSpPr>
        <p:sp>
          <p:nvSpPr>
            <p:cNvPr id="42" name="Прямоугольник 41"/>
            <p:cNvSpPr/>
            <p:nvPr/>
          </p:nvSpPr>
          <p:spPr>
            <a:xfrm>
              <a:off x="236871" y="2572718"/>
              <a:ext cx="1975867" cy="507874"/>
            </a:xfrm>
            <a:prstGeom prst="rect">
              <a:avLst/>
            </a:prstGeom>
            <a:ln>
              <a:noFill/>
            </a:ln>
          </p:spPr>
          <p:txBody>
            <a:bodyPr wrap="square" lIns="0" tIns="0" rIns="0" bIns="0">
              <a:spAutoFit/>
            </a:bodyPr>
            <a:lstStyle/>
            <a:p>
              <a:pPr lvl="0">
                <a:buClr>
                  <a:srgbClr val="8FC54C"/>
                </a:buClr>
              </a:pPr>
              <a:r>
                <a:rPr lang="ru-RU" sz="2287" b="1" dirty="0"/>
                <a:t>Москва и МО</a:t>
              </a:r>
            </a:p>
            <a:p>
              <a:pPr lvl="0">
                <a:buClr>
                  <a:srgbClr val="8FC54C"/>
                </a:buClr>
              </a:pPr>
              <a:r>
                <a:rPr lang="en-US" sz="2287" dirty="0"/>
                <a:t>– </a:t>
              </a:r>
              <a:r>
                <a:rPr lang="ru-RU" sz="2287" dirty="0"/>
                <a:t>география участников </a:t>
              </a:r>
              <a:br>
                <a:rPr lang="ru-RU" sz="2287" dirty="0"/>
              </a:br>
              <a:r>
                <a:rPr lang="ru-RU" sz="2287" dirty="0"/>
                <a:t>номинации</a:t>
              </a: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242785" y="3155695"/>
              <a:ext cx="1975868" cy="67716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>
                <a:spcAft>
                  <a:spcPts val="1247"/>
                </a:spcAft>
                <a:buClr>
                  <a:srgbClr val="8FC54C"/>
                </a:buClr>
              </a:pPr>
              <a:r>
                <a:rPr lang="ru-RU" sz="2287" b="1" dirty="0"/>
                <a:t>Одна номинация </a:t>
              </a:r>
              <a:br>
                <a:rPr lang="ru-RU" sz="2287" b="1" dirty="0"/>
              </a:br>
              <a:r>
                <a:rPr lang="ru-RU" sz="2287" b="1" dirty="0"/>
                <a:t>и две </a:t>
              </a:r>
              <a:r>
                <a:rPr lang="ru-RU" sz="2287" b="1" dirty="0" err="1"/>
                <a:t>подноминации</a:t>
              </a:r>
              <a:r>
                <a:rPr lang="ru-RU" sz="2287" b="1" dirty="0"/>
                <a:t>:</a:t>
              </a:r>
              <a:br>
                <a:rPr lang="ru-RU" sz="2287" b="1" dirty="0"/>
              </a:br>
              <a:r>
                <a:rPr lang="en-US" sz="2287" dirty="0"/>
                <a:t>–</a:t>
              </a:r>
              <a:r>
                <a:rPr lang="ru-RU" sz="2287" b="1" dirty="0"/>
                <a:t> </a:t>
              </a:r>
              <a:r>
                <a:rPr lang="ru-RU" sz="2287" dirty="0"/>
                <a:t>для проекта; </a:t>
              </a:r>
              <a:br>
                <a:rPr lang="ru-RU" sz="2287" dirty="0"/>
              </a:br>
              <a:r>
                <a:rPr lang="en-US" sz="2287" dirty="0"/>
                <a:t>–</a:t>
              </a:r>
              <a:r>
                <a:rPr lang="ru-RU" sz="2287" dirty="0"/>
                <a:t> для построенного здания</a:t>
              </a:r>
              <a:endParaRPr lang="ru-RU" sz="2495" dirty="0"/>
            </a:p>
          </p:txBody>
        </p:sp>
        <p:cxnSp>
          <p:nvCxnSpPr>
            <p:cNvPr id="9" name="Прямая соединительная линия 8"/>
            <p:cNvCxnSpPr>
              <a:cxnSpLocks/>
            </p:cNvCxnSpPr>
            <p:nvPr/>
          </p:nvCxnSpPr>
          <p:spPr>
            <a:xfrm flipH="1" flipV="1">
              <a:off x="236871" y="2421321"/>
              <a:ext cx="1981782" cy="1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851D7E0-99EF-EB51-DCD7-8D39D1899E1A}"/>
                </a:ext>
              </a:extLst>
            </p:cNvPr>
            <p:cNvSpPr txBox="1"/>
            <p:nvPr/>
          </p:nvSpPr>
          <p:spPr>
            <a:xfrm>
              <a:off x="242786" y="1170106"/>
              <a:ext cx="1946962" cy="101574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>
                <a:buClr>
                  <a:schemeClr val="accent6"/>
                </a:buClr>
                <a:tabLst>
                  <a:tab pos="401336" algn="l"/>
                </a:tabLst>
              </a:pPr>
              <a:r>
                <a:rPr lang="ru-RU" sz="2287" b="1" dirty="0">
                  <a:solidFill>
                    <a:schemeClr val="accent6"/>
                  </a:solidFill>
                  <a:ea typeface="Tahoma"/>
                  <a:cs typeface="Tahoma"/>
                  <a:sym typeface="Tahoma"/>
                </a:rPr>
                <a:t>Самый зеленый дом </a:t>
              </a:r>
              <a:br>
                <a:rPr lang="ru-RU" sz="2287" b="1" dirty="0">
                  <a:solidFill>
                    <a:schemeClr val="accent6"/>
                  </a:solidFill>
                  <a:ea typeface="Tahoma"/>
                  <a:cs typeface="Tahoma"/>
                  <a:sym typeface="Tahoma"/>
                </a:rPr>
              </a:br>
              <a:r>
                <a:rPr lang="ru-RU" sz="2287" dirty="0">
                  <a:ea typeface="Tahoma"/>
                  <a:cs typeface="Tahoma"/>
                  <a:sym typeface="Tahoma"/>
                </a:rPr>
                <a:t>– премия для МКД, соответствующего максимальному количеству критериев зеленого </a:t>
              </a:r>
              <a:br>
                <a:rPr lang="ru-RU" sz="2287" dirty="0">
                  <a:ea typeface="Tahoma"/>
                  <a:cs typeface="Tahoma"/>
                  <a:sym typeface="Tahoma"/>
                </a:rPr>
              </a:br>
              <a:r>
                <a:rPr lang="ru-RU" sz="2287" dirty="0">
                  <a:ea typeface="Tahoma"/>
                  <a:cs typeface="Tahoma"/>
                  <a:sym typeface="Tahoma"/>
                </a:rPr>
                <a:t>ГОСТ Р для МКД</a:t>
              </a:r>
              <a:r>
                <a:rPr lang="ru-RU" sz="2287" baseline="30000" dirty="0">
                  <a:ea typeface="Tahoma"/>
                  <a:cs typeface="Tahoma"/>
                  <a:sym typeface="Tahoma"/>
                </a:rPr>
                <a:t>1</a:t>
              </a:r>
            </a:p>
          </p:txBody>
        </p:sp>
      </p:grpSp>
      <p:cxnSp>
        <p:nvCxnSpPr>
          <p:cNvPr id="15" name="Google Shape;56;p6">
            <a:extLst>
              <a:ext uri="{FF2B5EF4-FFF2-40B4-BE49-F238E27FC236}">
                <a16:creationId xmlns:a16="http://schemas.microsoft.com/office/drawing/2014/main" id="{FDA05CCF-9AFB-9C67-35CF-779DB9F48D98}"/>
              </a:ext>
            </a:extLst>
          </p:cNvPr>
          <p:cNvCxnSpPr>
            <a:cxnSpLocks/>
          </p:cNvCxnSpPr>
          <p:nvPr/>
        </p:nvCxnSpPr>
        <p:spPr>
          <a:xfrm>
            <a:off x="5274391" y="2787561"/>
            <a:ext cx="13397031" cy="0"/>
          </a:xfrm>
          <a:prstGeom prst="straightConnector1">
            <a:avLst/>
          </a:prstGeom>
          <a:ln>
            <a:solidFill>
              <a:schemeClr val="tx1"/>
            </a:solidFill>
            <a:prstDash val="solid"/>
            <a:headEnd type="none" w="sm" len="sm"/>
            <a:tailEnd type="stealth" w="lg" len="lg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8" name="Google Shape;57;p6">
            <a:extLst>
              <a:ext uri="{FF2B5EF4-FFF2-40B4-BE49-F238E27FC236}">
                <a16:creationId xmlns:a16="http://schemas.microsoft.com/office/drawing/2014/main" id="{FA93EEA4-AE01-0ADF-6C1F-59B9319E4E53}"/>
              </a:ext>
            </a:extLst>
          </p:cNvPr>
          <p:cNvSpPr/>
          <p:nvPr/>
        </p:nvSpPr>
        <p:spPr>
          <a:xfrm>
            <a:off x="5274390" y="2632773"/>
            <a:ext cx="323884" cy="309597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spcFirstLastPara="1" wrap="square" lIns="101823" tIns="50898" rIns="101823" bIns="50898" anchor="ctr" anchorCtr="0">
            <a:noAutofit/>
          </a:bodyPr>
          <a:lstStyle/>
          <a:p>
            <a:pPr algn="ctr"/>
            <a:endParaRPr sz="1559" dirty="0">
              <a:highlight>
                <a:srgbClr val="FF0000"/>
              </a:highlight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272DAD2-89CD-4ACC-B14F-27F0F27AF9FF}"/>
              </a:ext>
            </a:extLst>
          </p:cNvPr>
          <p:cNvSpPr txBox="1"/>
          <p:nvPr/>
        </p:nvSpPr>
        <p:spPr>
          <a:xfrm>
            <a:off x="5266332" y="3128589"/>
            <a:ext cx="1571719" cy="102361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ru-RU" sz="1663" dirty="0">
                <a:ea typeface="Tahoma" panose="020B0604030504040204" pitchFamily="34" charset="0"/>
                <a:cs typeface="Tahoma" panose="020B0604030504040204" pitchFamily="34" charset="0"/>
              </a:rPr>
              <a:t>Разработка критериев оценки проектов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E450936-EAED-7350-691C-E562AA0717A4}"/>
              </a:ext>
            </a:extLst>
          </p:cNvPr>
          <p:cNvSpPr txBox="1"/>
          <p:nvPr/>
        </p:nvSpPr>
        <p:spPr>
          <a:xfrm>
            <a:off x="5274389" y="2197584"/>
            <a:ext cx="950655" cy="25590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ru-RU" sz="1663" b="1" dirty="0">
                <a:ea typeface="Tahoma" panose="020B0604030504040204" pitchFamily="34" charset="0"/>
                <a:cs typeface="Tahoma" panose="020B0604030504040204" pitchFamily="34" charset="0"/>
              </a:rPr>
              <a:t>25.07</a:t>
            </a:r>
          </a:p>
        </p:txBody>
      </p:sp>
      <p:sp>
        <p:nvSpPr>
          <p:cNvPr id="19" name="Google Shape;57;p6">
            <a:extLst>
              <a:ext uri="{FF2B5EF4-FFF2-40B4-BE49-F238E27FC236}">
                <a16:creationId xmlns:a16="http://schemas.microsoft.com/office/drawing/2014/main" id="{2A53BF07-0D69-1528-4EF6-CBADC1F580C6}"/>
              </a:ext>
            </a:extLst>
          </p:cNvPr>
          <p:cNvSpPr/>
          <p:nvPr/>
        </p:nvSpPr>
        <p:spPr>
          <a:xfrm>
            <a:off x="6571914" y="2632773"/>
            <a:ext cx="323884" cy="309597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spcFirstLastPara="1" wrap="square" lIns="101823" tIns="50898" rIns="101823" bIns="50898" anchor="ctr" anchorCtr="0">
            <a:noAutofit/>
          </a:bodyPr>
          <a:lstStyle/>
          <a:p>
            <a:pPr algn="ctr"/>
            <a:endParaRPr sz="1559">
              <a:highlight>
                <a:srgbClr val="FF0000"/>
              </a:highlight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A2C6316-E567-FECF-DAF4-80D8AE70186F}"/>
              </a:ext>
            </a:extLst>
          </p:cNvPr>
          <p:cNvSpPr txBox="1"/>
          <p:nvPr/>
        </p:nvSpPr>
        <p:spPr>
          <a:xfrm>
            <a:off x="6571914" y="2197584"/>
            <a:ext cx="950655" cy="25590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ru-RU" sz="1663" b="1" dirty="0">
                <a:ea typeface="Tahoma" panose="020B0604030504040204" pitchFamily="34" charset="0"/>
                <a:cs typeface="Tahoma" panose="020B0604030504040204" pitchFamily="34" charset="0"/>
              </a:rPr>
              <a:t>31.07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8470CC3-D293-5DB7-4D71-06E4D982921E}"/>
              </a:ext>
            </a:extLst>
          </p:cNvPr>
          <p:cNvSpPr txBox="1"/>
          <p:nvPr/>
        </p:nvSpPr>
        <p:spPr>
          <a:xfrm>
            <a:off x="6571915" y="3128590"/>
            <a:ext cx="1571719" cy="102361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defPPr>
              <a:defRPr lang="ru-RU"/>
            </a:defPPr>
            <a:lvl1pPr algn="ctr">
              <a:defRPr sz="1100" b="1"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ru-RU" sz="1663" b="0" dirty="0"/>
              <a:t>Подготовка платформы </a:t>
            </a:r>
            <a:br>
              <a:rPr lang="ru-RU" sz="1663" b="0" dirty="0"/>
            </a:br>
            <a:r>
              <a:rPr lang="ru-RU" sz="1663" b="0" dirty="0"/>
              <a:t>и тестирование подачи заявки</a:t>
            </a:r>
          </a:p>
        </p:txBody>
      </p:sp>
      <p:sp>
        <p:nvSpPr>
          <p:cNvPr id="20" name="Google Shape;57;p6">
            <a:extLst>
              <a:ext uri="{FF2B5EF4-FFF2-40B4-BE49-F238E27FC236}">
                <a16:creationId xmlns:a16="http://schemas.microsoft.com/office/drawing/2014/main" id="{AADD7786-F2FB-5581-35D0-F4AD7B0D78EA}"/>
              </a:ext>
            </a:extLst>
          </p:cNvPr>
          <p:cNvSpPr/>
          <p:nvPr/>
        </p:nvSpPr>
        <p:spPr>
          <a:xfrm>
            <a:off x="8299923" y="2632773"/>
            <a:ext cx="307760" cy="309597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spcFirstLastPara="1" wrap="square" lIns="101823" tIns="50898" rIns="101823" bIns="50898" anchor="ctr" anchorCtr="0">
            <a:noAutofit/>
          </a:bodyPr>
          <a:lstStyle/>
          <a:p>
            <a:pPr algn="ctr"/>
            <a:endParaRPr sz="1559">
              <a:highlight>
                <a:srgbClr val="FF0000"/>
              </a:highlight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995CA26-70DB-4321-2D40-BE9E8A49E1E8}"/>
              </a:ext>
            </a:extLst>
          </p:cNvPr>
          <p:cNvSpPr txBox="1"/>
          <p:nvPr/>
        </p:nvSpPr>
        <p:spPr>
          <a:xfrm>
            <a:off x="8290254" y="3128589"/>
            <a:ext cx="1493468" cy="76771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defPPr>
              <a:defRPr lang="ru-RU"/>
            </a:defPPr>
            <a:lvl1pPr algn="ctr">
              <a:defRPr sz="1100" b="1"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ru-RU" sz="1663" b="0" dirty="0"/>
              <a:t>Публичное объявление </a:t>
            </a:r>
            <a:br>
              <a:rPr lang="ru-RU" sz="1663" b="0" dirty="0"/>
            </a:br>
            <a:r>
              <a:rPr lang="ru-RU" sz="1663" b="0" dirty="0"/>
              <a:t>о премии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548AD6D-72CD-0C9C-FF50-718417FC2481}"/>
              </a:ext>
            </a:extLst>
          </p:cNvPr>
          <p:cNvSpPr txBox="1"/>
          <p:nvPr/>
        </p:nvSpPr>
        <p:spPr>
          <a:xfrm>
            <a:off x="8290254" y="2197584"/>
            <a:ext cx="903325" cy="25590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ru-RU" sz="1663" b="1">
                <a:ea typeface="Tahoma" panose="020B0604030504040204" pitchFamily="34" charset="0"/>
                <a:cs typeface="Tahoma" panose="020B0604030504040204" pitchFamily="34" charset="0"/>
              </a:rPr>
              <a:t>11.08</a:t>
            </a:r>
            <a:endParaRPr lang="ru-RU" sz="1663" b="1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Google Shape;57;p6">
            <a:extLst>
              <a:ext uri="{FF2B5EF4-FFF2-40B4-BE49-F238E27FC236}">
                <a16:creationId xmlns:a16="http://schemas.microsoft.com/office/drawing/2014/main" id="{902AE0BF-C878-D281-8155-06FFC749C864}"/>
              </a:ext>
            </a:extLst>
          </p:cNvPr>
          <p:cNvSpPr/>
          <p:nvPr/>
        </p:nvSpPr>
        <p:spPr>
          <a:xfrm>
            <a:off x="9649254" y="2632773"/>
            <a:ext cx="323884" cy="309597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spcFirstLastPara="1" wrap="square" lIns="101823" tIns="50898" rIns="101823" bIns="50898" anchor="ctr" anchorCtr="0">
            <a:noAutofit/>
          </a:bodyPr>
          <a:lstStyle/>
          <a:p>
            <a:pPr algn="ctr"/>
            <a:endParaRPr sz="1559">
              <a:highlight>
                <a:srgbClr val="FF0000"/>
              </a:highlight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4699C8-7339-5CAB-0DB4-00C0B491E7CD}"/>
              </a:ext>
            </a:extLst>
          </p:cNvPr>
          <p:cNvSpPr txBox="1"/>
          <p:nvPr/>
        </p:nvSpPr>
        <p:spPr>
          <a:xfrm>
            <a:off x="9639077" y="2197584"/>
            <a:ext cx="950655" cy="25590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ru-RU" sz="1663" b="1" dirty="0">
                <a:ea typeface="Tahoma" panose="020B0604030504040204" pitchFamily="34" charset="0"/>
                <a:cs typeface="Tahoma" panose="020B0604030504040204" pitchFamily="34" charset="0"/>
              </a:rPr>
              <a:t>18.08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0D6F219-3543-ED09-0E99-05E3C41F240D}"/>
              </a:ext>
            </a:extLst>
          </p:cNvPr>
          <p:cNvSpPr txBox="1"/>
          <p:nvPr/>
        </p:nvSpPr>
        <p:spPr>
          <a:xfrm>
            <a:off x="9632284" y="3128589"/>
            <a:ext cx="1571719" cy="76771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defPPr>
              <a:defRPr lang="ru-RU"/>
            </a:defPPr>
            <a:lvl1pPr algn="ctr">
              <a:defRPr sz="1100" b="1"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ru-RU" sz="1663" b="0" dirty="0"/>
              <a:t>Формирование экспертного совета</a:t>
            </a:r>
          </a:p>
        </p:txBody>
      </p:sp>
      <p:sp>
        <p:nvSpPr>
          <p:cNvPr id="24" name="Google Shape;57;p6">
            <a:extLst>
              <a:ext uri="{FF2B5EF4-FFF2-40B4-BE49-F238E27FC236}">
                <a16:creationId xmlns:a16="http://schemas.microsoft.com/office/drawing/2014/main" id="{944B5B3C-E21C-F537-F524-63AB259B5252}"/>
              </a:ext>
            </a:extLst>
          </p:cNvPr>
          <p:cNvSpPr/>
          <p:nvPr/>
        </p:nvSpPr>
        <p:spPr>
          <a:xfrm>
            <a:off x="11306916" y="2632773"/>
            <a:ext cx="323884" cy="309597"/>
          </a:xfrm>
          <a:prstGeom prst="rect">
            <a:avLst/>
          </a:prstGeom>
          <a:pattFill prst="lgCheck">
            <a:fgClr>
              <a:srgbClr val="92D050"/>
            </a:fgClr>
            <a:bgClr>
              <a:schemeClr val="bg1"/>
            </a:bgClr>
          </a:patt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spcFirstLastPara="1" wrap="square" lIns="101823" tIns="50898" rIns="101823" bIns="50898" anchor="ctr" anchorCtr="0">
            <a:noAutofit/>
          </a:bodyPr>
          <a:lstStyle/>
          <a:p>
            <a:pPr algn="ctr"/>
            <a:endParaRPr sz="1559">
              <a:highlight>
                <a:srgbClr val="FFFF00"/>
              </a:highlight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AF965CC-CF62-8769-083E-38AB2C86B913}"/>
              </a:ext>
            </a:extLst>
          </p:cNvPr>
          <p:cNvSpPr txBox="1"/>
          <p:nvPr/>
        </p:nvSpPr>
        <p:spPr>
          <a:xfrm>
            <a:off x="11299964" y="2197584"/>
            <a:ext cx="1371826" cy="25590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ru-RU" sz="1663" b="1" dirty="0" smtClean="0">
                <a:ea typeface="Tahoma" panose="020B0604030504040204" pitchFamily="34" charset="0"/>
                <a:cs typeface="Tahoma" panose="020B0604030504040204" pitchFamily="34" charset="0"/>
              </a:rPr>
              <a:t>02.10</a:t>
            </a:r>
            <a:endParaRPr lang="ru-RU" sz="1663" b="1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D713C53-5C35-AE8D-0726-ED3C4912111E}"/>
              </a:ext>
            </a:extLst>
          </p:cNvPr>
          <p:cNvSpPr txBox="1"/>
          <p:nvPr/>
        </p:nvSpPr>
        <p:spPr>
          <a:xfrm>
            <a:off x="11299963" y="3128589"/>
            <a:ext cx="1571719" cy="76771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defPPr>
              <a:defRPr lang="ru-RU"/>
            </a:defPPr>
            <a:lvl1pPr algn="ctr">
              <a:defRPr sz="1100" b="1"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ru-RU" sz="1663" b="0" dirty="0"/>
              <a:t>Прием конкурсных заявок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71D18BA-1620-0695-A126-93DABC24D8AF}"/>
              </a:ext>
            </a:extLst>
          </p:cNvPr>
          <p:cNvSpPr txBox="1"/>
          <p:nvPr/>
        </p:nvSpPr>
        <p:spPr>
          <a:xfrm>
            <a:off x="12654787" y="2197584"/>
            <a:ext cx="1067550" cy="25590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ru-RU" sz="1663" b="1" dirty="0" smtClean="0">
                <a:ea typeface="Tahoma" panose="020B0604030504040204" pitchFamily="34" charset="0"/>
                <a:cs typeface="Tahoma" panose="020B0604030504040204" pitchFamily="34" charset="0"/>
              </a:rPr>
              <a:t>10.10</a:t>
            </a:r>
            <a:endParaRPr lang="en-US" sz="1663" b="1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A418966-EBAC-BE9F-5FD2-DA857885DEB7}"/>
              </a:ext>
            </a:extLst>
          </p:cNvPr>
          <p:cNvSpPr txBox="1"/>
          <p:nvPr/>
        </p:nvSpPr>
        <p:spPr>
          <a:xfrm>
            <a:off x="12657029" y="3128589"/>
            <a:ext cx="1300574" cy="76771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defPPr>
              <a:defRPr lang="ru-RU"/>
            </a:defPPr>
            <a:lvl1pPr algn="ctr">
              <a:defRPr sz="1100" b="1"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ru-RU" sz="1663" b="0" dirty="0"/>
              <a:t>Проведение оценки анкет – </a:t>
            </a:r>
            <a:r>
              <a:rPr lang="en-US" sz="1663" b="0" dirty="0"/>
              <a:t>1 </a:t>
            </a:r>
            <a:r>
              <a:rPr lang="ru-RU" sz="1663" b="0" dirty="0"/>
              <a:t>тур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59D746A-4B6F-C51A-C8A4-9AAC770913F4}"/>
              </a:ext>
            </a:extLst>
          </p:cNvPr>
          <p:cNvSpPr txBox="1"/>
          <p:nvPr/>
        </p:nvSpPr>
        <p:spPr>
          <a:xfrm>
            <a:off x="15625282" y="2197584"/>
            <a:ext cx="1246009" cy="25590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ru-RU" sz="1663" b="1" dirty="0">
                <a:ea typeface="Tahoma" panose="020B0604030504040204" pitchFamily="34" charset="0"/>
                <a:cs typeface="Tahoma" panose="020B0604030504040204" pitchFamily="34" charset="0"/>
              </a:rPr>
              <a:t>01.11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58697F5-273E-DBC1-FC94-70620A58D746}"/>
              </a:ext>
            </a:extLst>
          </p:cNvPr>
          <p:cNvSpPr txBox="1"/>
          <p:nvPr/>
        </p:nvSpPr>
        <p:spPr>
          <a:xfrm>
            <a:off x="15625281" y="3128589"/>
            <a:ext cx="1427570" cy="127951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defPPr>
              <a:defRPr lang="ru-RU"/>
            </a:defPPr>
            <a:lvl1pPr algn="ctr">
              <a:defRPr sz="1100" b="1"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ru-RU" sz="1663" b="0" spc="-42" dirty="0"/>
              <a:t>Финальное заседание жюри </a:t>
            </a:r>
            <a:br>
              <a:rPr lang="ru-RU" sz="1663" b="0" spc="-42" dirty="0"/>
            </a:br>
            <a:r>
              <a:rPr lang="ru-RU" sz="1663" b="0" spc="-42" dirty="0"/>
              <a:t>и определение победителей</a:t>
            </a:r>
          </a:p>
        </p:txBody>
      </p:sp>
      <p:sp>
        <p:nvSpPr>
          <p:cNvPr id="27" name="Google Shape;57;p6">
            <a:extLst>
              <a:ext uri="{FF2B5EF4-FFF2-40B4-BE49-F238E27FC236}">
                <a16:creationId xmlns:a16="http://schemas.microsoft.com/office/drawing/2014/main" id="{92C8883A-65D2-F8B9-AB39-AC7A4F558D70}"/>
              </a:ext>
            </a:extLst>
          </p:cNvPr>
          <p:cNvSpPr/>
          <p:nvPr/>
        </p:nvSpPr>
        <p:spPr>
          <a:xfrm>
            <a:off x="17099704" y="2632773"/>
            <a:ext cx="323884" cy="309597"/>
          </a:xfrm>
          <a:prstGeom prst="rect">
            <a:avLst/>
          </a:prstGeom>
          <a:ln>
            <a:solidFill>
              <a:schemeClr val="accent4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spcFirstLastPara="1" wrap="square" lIns="101823" tIns="50898" rIns="101823" bIns="50898" anchor="ctr" anchorCtr="0">
            <a:noAutofit/>
          </a:bodyPr>
          <a:lstStyle/>
          <a:p>
            <a:pPr algn="ctr"/>
            <a:endParaRPr sz="1559"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2D09E22-D9C6-764F-8221-79595CF6DA9C}"/>
              </a:ext>
            </a:extLst>
          </p:cNvPr>
          <p:cNvSpPr txBox="1"/>
          <p:nvPr/>
        </p:nvSpPr>
        <p:spPr>
          <a:xfrm>
            <a:off x="17099704" y="2197584"/>
            <a:ext cx="1371826" cy="25590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ru-RU" sz="1663" b="1" dirty="0">
                <a:ea typeface="Tahoma" panose="020B0604030504040204" pitchFamily="34" charset="0"/>
                <a:cs typeface="Tahoma" panose="020B0604030504040204" pitchFamily="34" charset="0"/>
              </a:rPr>
              <a:t>23.11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F1A09F0-7A0A-63D8-2E9C-5925760F7F5F}"/>
              </a:ext>
            </a:extLst>
          </p:cNvPr>
          <p:cNvSpPr txBox="1"/>
          <p:nvPr/>
        </p:nvSpPr>
        <p:spPr>
          <a:xfrm>
            <a:off x="17099703" y="3128589"/>
            <a:ext cx="1571719" cy="51180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defPPr>
              <a:defRPr lang="ru-RU"/>
            </a:defPPr>
            <a:lvl1pPr algn="ctr">
              <a:defRPr sz="1100" b="1"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ru-RU" sz="1663" b="0" dirty="0"/>
              <a:t>Награждение победителей</a:t>
            </a: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7528323" y="5774721"/>
            <a:ext cx="1117505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/>
          <p:cNvCxnSpPr/>
          <p:nvPr/>
        </p:nvCxnSpPr>
        <p:spPr>
          <a:xfrm>
            <a:off x="7528323" y="7339777"/>
            <a:ext cx="1117505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>
            <a:off x="7528323" y="8167145"/>
            <a:ext cx="1117505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E71D18BA-1620-0695-A126-93DABC24D8AF}"/>
              </a:ext>
            </a:extLst>
          </p:cNvPr>
          <p:cNvSpPr txBox="1"/>
          <p:nvPr/>
        </p:nvSpPr>
        <p:spPr>
          <a:xfrm>
            <a:off x="14123330" y="2197584"/>
            <a:ext cx="1067550" cy="25590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ru-RU" sz="1663" b="1" dirty="0">
                <a:ea typeface="Tahoma" panose="020B0604030504040204" pitchFamily="34" charset="0"/>
                <a:cs typeface="Tahoma" panose="020B0604030504040204" pitchFamily="34" charset="0"/>
              </a:rPr>
              <a:t>20.10</a:t>
            </a:r>
            <a:endParaRPr lang="en-US" sz="1663" b="1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CA418966-EBAC-BE9F-5FD2-DA857885DEB7}"/>
              </a:ext>
            </a:extLst>
          </p:cNvPr>
          <p:cNvSpPr txBox="1"/>
          <p:nvPr/>
        </p:nvSpPr>
        <p:spPr>
          <a:xfrm>
            <a:off x="14125575" y="3128590"/>
            <a:ext cx="1452854" cy="76771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>
            <a:defPPr>
              <a:defRPr lang="ru-RU"/>
            </a:defPPr>
            <a:lvl1pPr algn="ctr">
              <a:defRPr sz="1100" b="1"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/>
            <a:r>
              <a:rPr lang="ru-RU" sz="1663" b="0" dirty="0"/>
              <a:t>Проведение оценки </a:t>
            </a:r>
            <a:br>
              <a:rPr lang="ru-RU" sz="1663" b="0" dirty="0"/>
            </a:br>
            <a:r>
              <a:rPr lang="ru-RU" sz="1663" b="0" dirty="0"/>
              <a:t>анкет – 2</a:t>
            </a:r>
            <a:r>
              <a:rPr lang="en-US" sz="1663" b="0" dirty="0"/>
              <a:t> </a:t>
            </a:r>
            <a:r>
              <a:rPr lang="ru-RU" sz="1663" b="0" dirty="0"/>
              <a:t>тур </a:t>
            </a:r>
          </a:p>
        </p:txBody>
      </p:sp>
      <p:sp>
        <p:nvSpPr>
          <p:cNvPr id="69" name="Google Shape;57;p6">
            <a:extLst>
              <a:ext uri="{FF2B5EF4-FFF2-40B4-BE49-F238E27FC236}">
                <a16:creationId xmlns:a16="http://schemas.microsoft.com/office/drawing/2014/main" id="{2A53BF07-0D69-1528-4EF6-CBADC1F580C6}"/>
              </a:ext>
            </a:extLst>
          </p:cNvPr>
          <p:cNvSpPr/>
          <p:nvPr/>
        </p:nvSpPr>
        <p:spPr>
          <a:xfrm>
            <a:off x="12672389" y="2632773"/>
            <a:ext cx="323884" cy="30959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spcFirstLastPara="1" wrap="square" lIns="101823" tIns="50898" rIns="101823" bIns="50898" anchor="ctr" anchorCtr="0">
            <a:noAutofit/>
          </a:bodyPr>
          <a:lstStyle/>
          <a:p>
            <a:pPr algn="ctr"/>
            <a:endParaRPr sz="1559">
              <a:highlight>
                <a:srgbClr val="FF0000"/>
              </a:highlight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" name="Google Shape;57;p6">
            <a:extLst>
              <a:ext uri="{FF2B5EF4-FFF2-40B4-BE49-F238E27FC236}">
                <a16:creationId xmlns:a16="http://schemas.microsoft.com/office/drawing/2014/main" id="{2A53BF07-0D69-1528-4EF6-CBADC1F580C6}"/>
              </a:ext>
            </a:extLst>
          </p:cNvPr>
          <p:cNvSpPr/>
          <p:nvPr/>
        </p:nvSpPr>
        <p:spPr>
          <a:xfrm>
            <a:off x="14137420" y="2632773"/>
            <a:ext cx="323884" cy="30959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spcFirstLastPara="1" wrap="square" lIns="101823" tIns="50898" rIns="101823" bIns="50898" anchor="ctr" anchorCtr="0">
            <a:noAutofit/>
          </a:bodyPr>
          <a:lstStyle/>
          <a:p>
            <a:pPr algn="ctr"/>
            <a:endParaRPr sz="1559">
              <a:highlight>
                <a:srgbClr val="FF0000"/>
              </a:highlight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" name="Google Shape;57;p6">
            <a:extLst>
              <a:ext uri="{FF2B5EF4-FFF2-40B4-BE49-F238E27FC236}">
                <a16:creationId xmlns:a16="http://schemas.microsoft.com/office/drawing/2014/main" id="{2A53BF07-0D69-1528-4EF6-CBADC1F580C6}"/>
              </a:ext>
            </a:extLst>
          </p:cNvPr>
          <p:cNvSpPr/>
          <p:nvPr/>
        </p:nvSpPr>
        <p:spPr>
          <a:xfrm>
            <a:off x="15650561" y="2632773"/>
            <a:ext cx="323884" cy="309597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spcFirstLastPara="1" wrap="square" lIns="101823" tIns="50898" rIns="101823" bIns="50898" anchor="ctr" anchorCtr="0">
            <a:noAutofit/>
          </a:bodyPr>
          <a:lstStyle/>
          <a:p>
            <a:pPr algn="ctr"/>
            <a:endParaRPr sz="1559">
              <a:highlight>
                <a:srgbClr val="FF0000"/>
              </a:highlight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8"/>
          <a:srcRect l="7388" t="7174" r="6958" b="8034"/>
          <a:stretch/>
        </p:blipFill>
        <p:spPr>
          <a:xfrm>
            <a:off x="448855" y="7431488"/>
            <a:ext cx="2212720" cy="2190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196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46042" y="1095850"/>
          <a:ext cx="2626" cy="26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7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46042" y="1095850"/>
                        <a:ext cx="2626" cy="26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Заголовок 1">
            <a:extLst>
              <a:ext uri="{FF2B5EF4-FFF2-40B4-BE49-F238E27FC236}">
                <a16:creationId xmlns:a16="http://schemas.microsoft.com/office/drawing/2014/main" id="{2265599A-CCF0-93EC-6448-DBE2CDB639FF}"/>
              </a:ext>
            </a:extLst>
          </p:cNvPr>
          <p:cNvSpPr txBox="1">
            <a:spLocks/>
          </p:cNvSpPr>
          <p:nvPr/>
        </p:nvSpPr>
        <p:spPr bwMode="auto">
          <a:xfrm>
            <a:off x="552495" y="426239"/>
            <a:ext cx="15329707" cy="815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0190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105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900" dirty="0" smtClean="0">
                <a:solidFill>
                  <a:schemeClr val="tx2"/>
                </a:solidFill>
              </a:rPr>
              <a:t>Специальная номинация </a:t>
            </a:r>
            <a:r>
              <a:rPr lang="ru-RU" sz="2900" dirty="0">
                <a:solidFill>
                  <a:schemeClr val="tx2"/>
                </a:solidFill>
              </a:rPr>
              <a:t>ДОМ.РФ </a:t>
            </a:r>
            <a:r>
              <a:rPr lang="ru-RU" sz="2900" dirty="0" smtClean="0">
                <a:solidFill>
                  <a:schemeClr val="accent6"/>
                </a:solidFill>
              </a:rPr>
              <a:t>«</a:t>
            </a:r>
            <a:r>
              <a:rPr lang="ru-RU" sz="2900" dirty="0" err="1" smtClean="0">
                <a:solidFill>
                  <a:schemeClr val="accent6"/>
                </a:solidFill>
              </a:rPr>
              <a:t>Экологичные</a:t>
            </a:r>
            <a:r>
              <a:rPr lang="ru-RU" sz="2900" dirty="0" smtClean="0">
                <a:solidFill>
                  <a:schemeClr val="accent6"/>
                </a:solidFill>
              </a:rPr>
              <a:t> практики в строительстве»</a:t>
            </a:r>
            <a:endParaRPr lang="ru-RU" sz="2900" dirty="0">
              <a:solidFill>
                <a:schemeClr val="accent6"/>
              </a:solidFill>
            </a:endParaRPr>
          </a:p>
          <a:p>
            <a:r>
              <a:rPr lang="ru-RU" sz="2400" b="0" dirty="0">
                <a:solidFill>
                  <a:schemeClr val="tx2"/>
                </a:solidFill>
              </a:rPr>
              <a:t>в рамках </a:t>
            </a:r>
            <a:r>
              <a:rPr lang="ru-RU" sz="2400" b="0" dirty="0" smtClean="0">
                <a:solidFill>
                  <a:schemeClr val="tx2"/>
                </a:solidFill>
              </a:rPr>
              <a:t>ежегодной зеленой премии ППК РЭО</a:t>
            </a:r>
            <a:endParaRPr lang="ru-RU" sz="2400" b="0" dirty="0">
              <a:solidFill>
                <a:schemeClr val="tx2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" y="1577922"/>
            <a:ext cx="5145622" cy="91154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  <a:prstDash val="solid"/>
          </a:ln>
        </p:spPr>
        <p:txBody>
          <a:bodyPr wrap="square" lIns="149688" tIns="149688" rIns="149688" bIns="149688" rtlCol="0" anchor="ctr" anchorCtr="0">
            <a:noAutofit/>
          </a:bodyPr>
          <a:lstStyle/>
          <a:p>
            <a:pPr>
              <a:buClr>
                <a:schemeClr val="accent6"/>
              </a:buClr>
              <a:tabLst>
                <a:tab pos="401336" algn="l"/>
              </a:tabLst>
            </a:pPr>
            <a:endParaRPr lang="ru-RU" sz="1871" dirty="0">
              <a:ea typeface="Tahoma"/>
              <a:cs typeface="Tahoma"/>
              <a:sym typeface="Tahoma"/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5549668" y="1640454"/>
            <a:ext cx="2630528" cy="38395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>
              <a:buClr>
                <a:srgbClr val="8FC54C"/>
              </a:buClr>
            </a:pPr>
            <a:r>
              <a:rPr lang="ru-RU" sz="2495" dirty="0">
                <a:solidFill>
                  <a:schemeClr val="accent6"/>
                </a:solidFill>
              </a:rPr>
              <a:t>Таймлайн премии</a:t>
            </a:r>
          </a:p>
        </p:txBody>
      </p:sp>
      <p:sp>
        <p:nvSpPr>
          <p:cNvPr id="133" name="Прямоугольник 132"/>
          <p:cNvSpPr/>
          <p:nvPr/>
        </p:nvSpPr>
        <p:spPr>
          <a:xfrm>
            <a:off x="5455083" y="4724497"/>
            <a:ext cx="9675277" cy="2391425"/>
          </a:xfrm>
          <a:prstGeom prst="rect">
            <a:avLst/>
          </a:prstGeom>
          <a:noFill/>
        </p:spPr>
        <p:txBody>
          <a:bodyPr wrap="none" lIns="149688" tIns="149688" rIns="149688" bIns="149688">
            <a:noAutofit/>
          </a:bodyPr>
          <a:lstStyle/>
          <a:p>
            <a:pPr>
              <a:buClr>
                <a:srgbClr val="8DC63F"/>
              </a:buClr>
            </a:pPr>
            <a:r>
              <a:rPr lang="ru-RU" sz="2400" b="1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В номинации могут участвовать уже построенные объекты и объекты </a:t>
            </a:r>
            <a:br>
              <a:rPr lang="ru-RU" sz="2400" b="1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400" b="1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в стадии строительства </a:t>
            </a:r>
            <a:endParaRPr lang="ru-RU" sz="2400" b="1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buClr>
                <a:srgbClr val="8DC63F"/>
              </a:buClr>
            </a:pPr>
            <a:endParaRPr lang="ru-RU" sz="2400" b="1" dirty="0" smtClean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buClr>
                <a:srgbClr val="8DC63F"/>
              </a:buClr>
            </a:pPr>
            <a:r>
              <a:rPr lang="ru-RU" sz="2400" b="1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Оценка проводится по двум блокам</a:t>
            </a:r>
          </a:p>
        </p:txBody>
      </p:sp>
      <p:sp>
        <p:nvSpPr>
          <p:cNvPr id="146" name="Прямоугольник 145"/>
          <p:cNvSpPr/>
          <p:nvPr/>
        </p:nvSpPr>
        <p:spPr>
          <a:xfrm>
            <a:off x="5557724" y="4235615"/>
            <a:ext cx="2587247" cy="38395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>
              <a:buClr>
                <a:srgbClr val="8FC54C"/>
              </a:buClr>
            </a:pPr>
            <a:r>
              <a:rPr lang="ru-RU" sz="2495" dirty="0" smtClean="0">
                <a:solidFill>
                  <a:schemeClr val="accent6"/>
                </a:solidFill>
              </a:rPr>
              <a:t>Критерии премии</a:t>
            </a:r>
            <a:endParaRPr lang="ru-RU" sz="2495" dirty="0">
              <a:solidFill>
                <a:schemeClr val="accent6"/>
              </a:solidFill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1B3239EB-8B8F-B81A-40EE-26F49FDA4EEE}"/>
              </a:ext>
            </a:extLst>
          </p:cNvPr>
          <p:cNvGrpSpPr/>
          <p:nvPr/>
        </p:nvGrpSpPr>
        <p:grpSpPr>
          <a:xfrm>
            <a:off x="512756" y="1669363"/>
            <a:ext cx="4632866" cy="3596549"/>
            <a:chOff x="-147269" y="1147582"/>
            <a:chExt cx="2228418" cy="1729948"/>
          </a:xfrm>
        </p:grpSpPr>
        <p:cxnSp>
          <p:nvCxnSpPr>
            <p:cNvPr id="9" name="Прямая соединительная линия 8"/>
            <p:cNvCxnSpPr>
              <a:cxnSpLocks/>
            </p:cNvCxnSpPr>
            <p:nvPr/>
          </p:nvCxnSpPr>
          <p:spPr>
            <a:xfrm flipH="1" flipV="1">
              <a:off x="-147269" y="2877529"/>
              <a:ext cx="1981782" cy="1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851D7E0-99EF-EB51-DCD7-8D39D1899E1A}"/>
                </a:ext>
              </a:extLst>
            </p:cNvPr>
            <p:cNvSpPr txBox="1"/>
            <p:nvPr/>
          </p:nvSpPr>
          <p:spPr>
            <a:xfrm>
              <a:off x="-126255" y="1147582"/>
              <a:ext cx="2207404" cy="149521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>
                <a:buClr>
                  <a:schemeClr val="accent6"/>
                </a:buClr>
                <a:tabLst>
                  <a:tab pos="401336" algn="l"/>
                </a:tabLst>
              </a:pPr>
              <a:r>
                <a:rPr lang="ru-RU" sz="2500" b="1" dirty="0" err="1" smtClean="0">
                  <a:solidFill>
                    <a:schemeClr val="accent6"/>
                  </a:solidFill>
                  <a:ea typeface="Tahoma"/>
                  <a:cs typeface="Tahoma"/>
                  <a:sym typeface="Tahoma"/>
                </a:rPr>
                <a:t>Экологичные</a:t>
              </a:r>
              <a:r>
                <a:rPr lang="ru-RU" sz="2500" b="1" dirty="0" smtClean="0">
                  <a:solidFill>
                    <a:schemeClr val="accent6"/>
                  </a:solidFill>
                  <a:ea typeface="Tahoma"/>
                  <a:cs typeface="Tahoma"/>
                  <a:sym typeface="Tahoma"/>
                </a:rPr>
                <a:t> </a:t>
              </a:r>
              <a:r>
                <a:rPr lang="ru-RU" sz="2500" b="1" dirty="0">
                  <a:solidFill>
                    <a:schemeClr val="accent6"/>
                  </a:solidFill>
                  <a:ea typeface="Tahoma"/>
                  <a:cs typeface="Tahoma"/>
                  <a:sym typeface="Tahoma"/>
                </a:rPr>
                <a:t>практики </a:t>
              </a:r>
              <a:r>
                <a:rPr lang="ru-RU" sz="2500" b="1" dirty="0" smtClean="0">
                  <a:solidFill>
                    <a:schemeClr val="accent6"/>
                  </a:solidFill>
                  <a:ea typeface="Tahoma"/>
                  <a:cs typeface="Tahoma"/>
                  <a:sym typeface="Tahoma"/>
                </a:rPr>
                <a:t/>
              </a:r>
              <a:br>
                <a:rPr lang="ru-RU" sz="2500" b="1" dirty="0" smtClean="0">
                  <a:solidFill>
                    <a:schemeClr val="accent6"/>
                  </a:solidFill>
                  <a:ea typeface="Tahoma"/>
                  <a:cs typeface="Tahoma"/>
                  <a:sym typeface="Tahoma"/>
                </a:rPr>
              </a:br>
              <a:r>
                <a:rPr lang="ru-RU" sz="2500" b="1" dirty="0" smtClean="0">
                  <a:solidFill>
                    <a:schemeClr val="accent6"/>
                  </a:solidFill>
                  <a:ea typeface="Tahoma"/>
                  <a:cs typeface="Tahoma"/>
                  <a:sym typeface="Tahoma"/>
                </a:rPr>
                <a:t>в строительстве</a:t>
              </a:r>
            </a:p>
            <a:p>
              <a:pPr>
                <a:buClr>
                  <a:schemeClr val="accent6"/>
                </a:buClr>
                <a:tabLst>
                  <a:tab pos="401336" algn="l"/>
                </a:tabLst>
              </a:pPr>
              <a:r>
                <a:rPr lang="ru-RU" sz="2000" b="1" dirty="0">
                  <a:solidFill>
                    <a:schemeClr val="accent6"/>
                  </a:solidFill>
                  <a:ea typeface="Tahoma"/>
                  <a:cs typeface="Tahoma"/>
                  <a:sym typeface="Tahoma"/>
                </a:rPr>
                <a:t/>
              </a:r>
              <a:br>
                <a:rPr lang="ru-RU" sz="2000" b="1" dirty="0">
                  <a:solidFill>
                    <a:schemeClr val="accent6"/>
                  </a:solidFill>
                  <a:ea typeface="Tahoma"/>
                  <a:cs typeface="Tahoma"/>
                  <a:sym typeface="Tahoma"/>
                </a:rPr>
              </a:br>
              <a:r>
                <a:rPr lang="ru-RU" sz="2200" dirty="0">
                  <a:sym typeface="Tahoma"/>
                </a:rPr>
                <a:t>Н</a:t>
              </a:r>
              <a:r>
                <a:rPr lang="ru-RU" sz="2200" dirty="0" smtClean="0"/>
                <a:t>оминация </a:t>
              </a:r>
              <a:r>
                <a:rPr lang="ru-RU" sz="2200" dirty="0"/>
                <a:t>позволит выявить </a:t>
              </a:r>
              <a:r>
                <a:rPr lang="ru-RU" sz="2200" dirty="0" smtClean="0"/>
                <a:t>лучших застройщиков, </a:t>
              </a:r>
              <a:r>
                <a:rPr lang="ru-RU" sz="2200" dirty="0"/>
                <a:t>чья деятельность </a:t>
              </a:r>
              <a:r>
                <a:rPr lang="ru-RU" sz="2200" dirty="0" smtClean="0"/>
                <a:t>отвечает принципам экономики замкнутого </a:t>
              </a:r>
              <a:r>
                <a:rPr lang="ru-RU" sz="2200" dirty="0"/>
                <a:t>цикла </a:t>
              </a:r>
              <a:r>
                <a:rPr lang="ru-RU" sz="2200" dirty="0" smtClean="0"/>
                <a:t/>
              </a:r>
              <a:br>
                <a:rPr lang="ru-RU" sz="2200" dirty="0" smtClean="0"/>
              </a:br>
              <a:r>
                <a:rPr lang="ru-RU" sz="2200" dirty="0" smtClean="0"/>
                <a:t>и </a:t>
              </a:r>
              <a:r>
                <a:rPr lang="ru-RU" sz="2200" dirty="0"/>
                <a:t>направлена </a:t>
              </a:r>
              <a:r>
                <a:rPr lang="ru-RU" sz="2200" dirty="0" smtClean="0"/>
                <a:t>на </a:t>
              </a:r>
              <a:r>
                <a:rPr lang="ru-RU" sz="2200" dirty="0"/>
                <a:t>сохранение </a:t>
              </a:r>
              <a:r>
                <a:rPr lang="ru-RU" sz="2200" dirty="0" smtClean="0"/>
                <a:t>окружающей </a:t>
              </a:r>
              <a:r>
                <a:rPr lang="ru-RU" sz="2200" dirty="0"/>
                <a:t>среды</a:t>
              </a:r>
              <a:endParaRPr lang="ru-RU" sz="2200" baseline="30000" dirty="0">
                <a:ea typeface="Tahoma"/>
                <a:cs typeface="Tahoma"/>
                <a:sym typeface="Tahoma"/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5549668" y="5789799"/>
            <a:ext cx="127022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Группа 9"/>
          <p:cNvGrpSpPr/>
          <p:nvPr/>
        </p:nvGrpSpPr>
        <p:grpSpPr>
          <a:xfrm>
            <a:off x="5619027" y="2322074"/>
            <a:ext cx="12925804" cy="1442813"/>
            <a:chOff x="8290254" y="2197584"/>
            <a:chExt cx="12925804" cy="1442813"/>
          </a:xfrm>
        </p:grpSpPr>
        <p:cxnSp>
          <p:nvCxnSpPr>
            <p:cNvPr id="15" name="Google Shape;56;p6">
              <a:extLst>
                <a:ext uri="{FF2B5EF4-FFF2-40B4-BE49-F238E27FC236}">
                  <a16:creationId xmlns:a16="http://schemas.microsoft.com/office/drawing/2014/main" id="{FDA05CCF-9AFB-9C67-35CF-779DB9F48D98}"/>
                </a:ext>
              </a:extLst>
            </p:cNvPr>
            <p:cNvCxnSpPr>
              <a:cxnSpLocks/>
              <a:stCxn id="20" idx="1"/>
            </p:cNvCxnSpPr>
            <p:nvPr/>
          </p:nvCxnSpPr>
          <p:spPr>
            <a:xfrm>
              <a:off x="8299923" y="2787572"/>
              <a:ext cx="12916135" cy="0"/>
            </a:xfrm>
            <a:prstGeom prst="straightConnector1">
              <a:avLst/>
            </a:prstGeom>
            <a:ln>
              <a:solidFill>
                <a:schemeClr val="tx1"/>
              </a:solidFill>
              <a:prstDash val="solid"/>
              <a:headEnd type="none" w="sm" len="sm"/>
              <a:tailEnd type="stealth" w="lg" len="lg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20" name="Google Shape;57;p6">
              <a:extLst>
                <a:ext uri="{FF2B5EF4-FFF2-40B4-BE49-F238E27FC236}">
                  <a16:creationId xmlns:a16="http://schemas.microsoft.com/office/drawing/2014/main" id="{AADD7786-F2FB-5581-35D0-F4AD7B0D78EA}"/>
                </a:ext>
              </a:extLst>
            </p:cNvPr>
            <p:cNvSpPr/>
            <p:nvPr/>
          </p:nvSpPr>
          <p:spPr>
            <a:xfrm>
              <a:off x="8299923" y="2632773"/>
              <a:ext cx="307760" cy="309597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spcFirstLastPara="1" wrap="square" lIns="101823" tIns="50898" rIns="101823" bIns="50898" anchor="ctr" anchorCtr="0">
              <a:noAutofit/>
            </a:bodyPr>
            <a:lstStyle/>
            <a:p>
              <a:pPr algn="ctr"/>
              <a:endParaRPr sz="1559">
                <a:highlight>
                  <a:srgbClr val="FF0000"/>
                </a:highlight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995CA26-70DB-4321-2D40-BE9E8A49E1E8}"/>
                </a:ext>
              </a:extLst>
            </p:cNvPr>
            <p:cNvSpPr txBox="1"/>
            <p:nvPr/>
          </p:nvSpPr>
          <p:spPr>
            <a:xfrm>
              <a:off x="8290254" y="3128589"/>
              <a:ext cx="1493468" cy="511807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ru-RU"/>
              </a:defPPr>
              <a:lvl1pPr algn="ctr">
                <a:defRPr sz="1100" b="1">
                  <a:ea typeface="Tahoma" panose="020B0604030504040204" pitchFamily="34" charset="0"/>
                  <a:cs typeface="Tahoma" panose="020B0604030504040204" pitchFamily="34" charset="0"/>
                </a:defRPr>
              </a:lvl1pPr>
            </a:lstStyle>
            <a:p>
              <a:pPr algn="l"/>
              <a:r>
                <a:rPr lang="ru-RU" sz="1663" b="0" dirty="0" smtClean="0"/>
                <a:t>Сбор заявок застройщиков</a:t>
              </a:r>
              <a:endParaRPr lang="ru-RU" sz="1663" b="0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548AD6D-72CD-0C9C-FF50-718417FC2481}"/>
                </a:ext>
              </a:extLst>
            </p:cNvPr>
            <p:cNvSpPr txBox="1"/>
            <p:nvPr/>
          </p:nvSpPr>
          <p:spPr>
            <a:xfrm>
              <a:off x="8290254" y="2197584"/>
              <a:ext cx="903325" cy="255904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r>
                <a:rPr lang="ru-RU" sz="1663" b="1" dirty="0" smtClean="0">
                  <a:ea typeface="Tahoma" panose="020B0604030504040204" pitchFamily="34" charset="0"/>
                  <a:cs typeface="Tahoma" panose="020B0604030504040204" pitchFamily="34" charset="0"/>
                </a:rPr>
                <a:t>07</a:t>
              </a:r>
              <a:r>
                <a:rPr lang="en-US" sz="1663" b="1" dirty="0" smtClean="0">
                  <a:ea typeface="Tahoma" panose="020B0604030504040204" pitchFamily="34" charset="0"/>
                  <a:cs typeface="Tahoma" panose="020B0604030504040204" pitchFamily="34" charset="0"/>
                </a:rPr>
                <a:t>.09</a:t>
              </a:r>
              <a:endParaRPr lang="ru-RU" sz="1663" b="1" dirty="0"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4" name="Google Shape;57;p6">
              <a:extLst>
                <a:ext uri="{FF2B5EF4-FFF2-40B4-BE49-F238E27FC236}">
                  <a16:creationId xmlns:a16="http://schemas.microsoft.com/office/drawing/2014/main" id="{944B5B3C-E21C-F537-F524-63AB259B5252}"/>
                </a:ext>
              </a:extLst>
            </p:cNvPr>
            <p:cNvSpPr/>
            <p:nvPr/>
          </p:nvSpPr>
          <p:spPr>
            <a:xfrm>
              <a:off x="11842695" y="2632773"/>
              <a:ext cx="309600" cy="30959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spcFirstLastPara="1" wrap="square" lIns="101823" tIns="50898" rIns="101823" bIns="50898" anchor="ctr" anchorCtr="0">
              <a:noAutofit/>
            </a:bodyPr>
            <a:lstStyle/>
            <a:p>
              <a:pPr algn="ctr"/>
              <a:endParaRPr sz="1559">
                <a:highlight>
                  <a:srgbClr val="FFFF00"/>
                </a:highlight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AF965CC-CF62-8769-083E-38AB2C86B913}"/>
                </a:ext>
              </a:extLst>
            </p:cNvPr>
            <p:cNvSpPr txBox="1"/>
            <p:nvPr/>
          </p:nvSpPr>
          <p:spPr>
            <a:xfrm>
              <a:off x="11842695" y="2197584"/>
              <a:ext cx="1371826" cy="255904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r>
                <a:rPr lang="ru-RU" sz="1663" b="1" dirty="0" smtClean="0">
                  <a:ea typeface="Tahoma" panose="020B0604030504040204" pitchFamily="34" charset="0"/>
                  <a:cs typeface="Tahoma" panose="020B0604030504040204" pitchFamily="34" charset="0"/>
                </a:rPr>
                <a:t>01.10</a:t>
              </a:r>
              <a:endParaRPr lang="ru-RU" sz="1663" b="1" dirty="0"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D713C53-5C35-AE8D-0726-ED3C4912111E}"/>
                </a:ext>
              </a:extLst>
            </p:cNvPr>
            <p:cNvSpPr txBox="1"/>
            <p:nvPr/>
          </p:nvSpPr>
          <p:spPr>
            <a:xfrm>
              <a:off x="11842695" y="3128589"/>
              <a:ext cx="1916674" cy="511807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ru-RU"/>
              </a:defPPr>
              <a:lvl1pPr algn="ctr">
                <a:defRPr sz="1100" b="1">
                  <a:ea typeface="Tahoma" panose="020B0604030504040204" pitchFamily="34" charset="0"/>
                  <a:cs typeface="Tahoma" panose="020B0604030504040204" pitchFamily="34" charset="0"/>
                </a:defRPr>
              </a:lvl1pPr>
            </a:lstStyle>
            <a:p>
              <a:pPr algn="l"/>
              <a:r>
                <a:rPr lang="ru-RU" sz="1663" b="0" dirty="0"/>
                <a:t>Окончание приема конкурсных заявок</a:t>
              </a:r>
            </a:p>
          </p:txBody>
        </p:sp>
        <p:sp>
          <p:nvSpPr>
            <p:cNvPr id="27" name="Google Shape;57;p6">
              <a:extLst>
                <a:ext uri="{FF2B5EF4-FFF2-40B4-BE49-F238E27FC236}">
                  <a16:creationId xmlns:a16="http://schemas.microsoft.com/office/drawing/2014/main" id="{92C8883A-65D2-F8B9-AB39-AC7A4F558D70}"/>
                </a:ext>
              </a:extLst>
            </p:cNvPr>
            <p:cNvSpPr/>
            <p:nvPr/>
          </p:nvSpPr>
          <p:spPr>
            <a:xfrm>
              <a:off x="18931920" y="2632773"/>
              <a:ext cx="309600" cy="309597"/>
            </a:xfrm>
            <a:prstGeom prst="rect">
              <a:avLst/>
            </a:prstGeom>
            <a:ln>
              <a:solidFill>
                <a:schemeClr val="accent4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spcFirstLastPara="1" wrap="square" lIns="101823" tIns="50898" rIns="101823" bIns="50898" anchor="ctr" anchorCtr="0">
              <a:noAutofit/>
            </a:bodyPr>
            <a:lstStyle/>
            <a:p>
              <a:pPr algn="ctr"/>
              <a:endParaRPr sz="1559"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12D09E22-D9C6-764F-8221-79595CF6DA9C}"/>
                </a:ext>
              </a:extLst>
            </p:cNvPr>
            <p:cNvSpPr txBox="1"/>
            <p:nvPr/>
          </p:nvSpPr>
          <p:spPr>
            <a:xfrm>
              <a:off x="18931920" y="2197584"/>
              <a:ext cx="1371826" cy="255904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r>
                <a:rPr lang="ru-RU" sz="1663" b="1" dirty="0" smtClean="0">
                  <a:ea typeface="Tahoma" panose="020B0604030504040204" pitchFamily="34" charset="0"/>
                  <a:cs typeface="Tahoma" panose="020B0604030504040204" pitchFamily="34" charset="0"/>
                </a:rPr>
                <a:t>13.12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2F1A09F0-7A0A-63D8-2E9C-5925760F7F5F}"/>
                </a:ext>
              </a:extLst>
            </p:cNvPr>
            <p:cNvSpPr txBox="1"/>
            <p:nvPr/>
          </p:nvSpPr>
          <p:spPr>
            <a:xfrm>
              <a:off x="18931920" y="3128589"/>
              <a:ext cx="1571719" cy="511807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ru-RU"/>
              </a:defPPr>
              <a:lvl1pPr algn="ctr">
                <a:defRPr sz="1100" b="1">
                  <a:ea typeface="Tahoma" panose="020B0604030504040204" pitchFamily="34" charset="0"/>
                  <a:cs typeface="Tahoma" panose="020B0604030504040204" pitchFamily="34" charset="0"/>
                </a:defRPr>
              </a:lvl1pPr>
            </a:lstStyle>
            <a:p>
              <a:pPr algn="l"/>
              <a:r>
                <a:rPr lang="ru-RU" sz="1663" b="0" dirty="0"/>
                <a:t>Награждение победителей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E71D18BA-1620-0695-A126-93DABC24D8AF}"/>
                </a:ext>
              </a:extLst>
            </p:cNvPr>
            <p:cNvSpPr txBox="1"/>
            <p:nvPr/>
          </p:nvSpPr>
          <p:spPr>
            <a:xfrm>
              <a:off x="15387307" y="2197584"/>
              <a:ext cx="1067550" cy="255904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r>
                <a:rPr lang="ru-RU" sz="1663" b="1" dirty="0" smtClean="0">
                  <a:ea typeface="Tahoma" panose="020B0604030504040204" pitchFamily="34" charset="0"/>
                  <a:cs typeface="Tahoma" panose="020B0604030504040204" pitchFamily="34" charset="0"/>
                </a:rPr>
                <a:t>14.11</a:t>
              </a:r>
              <a:endParaRPr lang="en-US" sz="1663" b="1" dirty="0"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CA418966-EBAC-BE9F-5FD2-DA857885DEB7}"/>
                </a:ext>
              </a:extLst>
            </p:cNvPr>
            <p:cNvSpPr txBox="1"/>
            <p:nvPr/>
          </p:nvSpPr>
          <p:spPr>
            <a:xfrm>
              <a:off x="15387307" y="3128590"/>
              <a:ext cx="1671982" cy="511807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ru-RU"/>
              </a:defPPr>
              <a:lvl1pPr algn="ctr">
                <a:defRPr sz="1100" b="1">
                  <a:ea typeface="Tahoma" panose="020B0604030504040204" pitchFamily="34" charset="0"/>
                  <a:cs typeface="Tahoma" panose="020B0604030504040204" pitchFamily="34" charset="0"/>
                </a:defRPr>
              </a:lvl1pPr>
            </a:lstStyle>
            <a:p>
              <a:pPr algn="l"/>
              <a:r>
                <a:rPr lang="ru-RU" sz="1663" b="0" dirty="0"/>
                <a:t>Проведение оценки </a:t>
              </a:r>
              <a:r>
                <a:rPr lang="ru-RU" sz="1663" b="0" dirty="0" smtClean="0"/>
                <a:t>анкет </a:t>
              </a:r>
              <a:endParaRPr lang="ru-RU" sz="1663" b="0" dirty="0"/>
            </a:p>
          </p:txBody>
        </p:sp>
        <p:sp>
          <p:nvSpPr>
            <p:cNvPr id="71" name="Google Shape;57;p6">
              <a:extLst>
                <a:ext uri="{FF2B5EF4-FFF2-40B4-BE49-F238E27FC236}">
                  <a16:creationId xmlns:a16="http://schemas.microsoft.com/office/drawing/2014/main" id="{2A53BF07-0D69-1528-4EF6-CBADC1F580C6}"/>
                </a:ext>
              </a:extLst>
            </p:cNvPr>
            <p:cNvSpPr/>
            <p:nvPr/>
          </p:nvSpPr>
          <p:spPr>
            <a:xfrm>
              <a:off x="15387307" y="2632773"/>
              <a:ext cx="309600" cy="30959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spcFirstLastPara="1" wrap="square" lIns="101823" tIns="50898" rIns="101823" bIns="50898" anchor="ctr" anchorCtr="0">
              <a:noAutofit/>
            </a:bodyPr>
            <a:lstStyle/>
            <a:p>
              <a:pPr algn="ctr"/>
              <a:endParaRPr sz="1559">
                <a:highlight>
                  <a:srgbClr val="FF0000"/>
                </a:highlight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72723" name="Picture 19" descr="http://qrcoder.ru/code/?https%3A%2F%2Faward.reo.ru%2Fdomrf&amp;4&amp;0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45" t="11554" r="11809" b="11944"/>
          <a:stretch/>
        </p:blipFill>
        <p:spPr bwMode="auto">
          <a:xfrm>
            <a:off x="1263504" y="7693573"/>
            <a:ext cx="2009105" cy="2023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utoShape 29" descr="Российский экологический оператор"/>
          <p:cNvSpPr>
            <a:spLocks noChangeAspect="1" noChangeArrowheads="1"/>
          </p:cNvSpPr>
          <p:nvPr/>
        </p:nvSpPr>
        <p:spPr bwMode="auto">
          <a:xfrm>
            <a:off x="155574" y="-144463"/>
            <a:ext cx="1450487" cy="1450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72737" name="Picture 33" descr="ППК «РЭО» и Российское экологическое общество проведут обсуждение  Федеральной схемы обращения с ТКО • Российское экологическое общество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94" t="16232" r="21257" b="17156"/>
          <a:stretch/>
        </p:blipFill>
        <p:spPr bwMode="auto">
          <a:xfrm>
            <a:off x="16906393" y="329730"/>
            <a:ext cx="829114" cy="691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549668" y="7547013"/>
            <a:ext cx="590203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8DC63F"/>
              </a:buClr>
              <a:buFontTx/>
              <a:buChar char="-"/>
            </a:pPr>
            <a:r>
              <a:rPr lang="ru-RU" sz="2400" dirty="0" smtClean="0">
                <a:ea typeface="Tahoma" panose="020B0604030504040204" pitchFamily="34" charset="0"/>
                <a:cs typeface="Tahoma" panose="020B0604030504040204" pitchFamily="34" charset="0"/>
              </a:rPr>
              <a:t>Практики </a:t>
            </a:r>
            <a:r>
              <a:rPr lang="ru-RU" sz="2400" dirty="0">
                <a:ea typeface="Tahoma" panose="020B0604030504040204" pitchFamily="34" charset="0"/>
                <a:cs typeface="Tahoma" panose="020B0604030504040204" pitchFamily="34" charset="0"/>
              </a:rPr>
              <a:t>управления строительными  отходами </a:t>
            </a:r>
          </a:p>
          <a:p>
            <a:pPr marL="342900" indent="-342900">
              <a:buClr>
                <a:srgbClr val="8DC63F"/>
              </a:buClr>
              <a:buFontTx/>
              <a:buChar char="-"/>
            </a:pPr>
            <a:r>
              <a:rPr lang="ru-RU" sz="2400" dirty="0" smtClean="0">
                <a:ea typeface="Tahoma" panose="020B0604030504040204" pitchFamily="34" charset="0"/>
                <a:cs typeface="Tahoma" panose="020B0604030504040204" pitchFamily="34" charset="0"/>
              </a:rPr>
              <a:t>РСО </a:t>
            </a:r>
            <a:r>
              <a:rPr lang="ru-RU" sz="2400" dirty="0">
                <a:ea typeface="Tahoma" panose="020B0604030504040204" pitchFamily="34" charset="0"/>
                <a:cs typeface="Tahoma" panose="020B0604030504040204" pitchFamily="34" charset="0"/>
              </a:rPr>
              <a:t>на этапе строительства</a:t>
            </a:r>
          </a:p>
          <a:p>
            <a:pPr marL="342900" indent="-342900">
              <a:buClr>
                <a:srgbClr val="8DC63F"/>
              </a:buClr>
              <a:buFontTx/>
              <a:buChar char="-"/>
            </a:pPr>
            <a:r>
              <a:rPr lang="ru-RU" sz="2400" dirty="0">
                <a:ea typeface="Tahoma" panose="020B0604030504040204" pitchFamily="34" charset="0"/>
                <a:cs typeface="Tahoma" panose="020B0604030504040204" pitchFamily="34" charset="0"/>
              </a:rPr>
              <a:t>Ц</a:t>
            </a:r>
            <a:r>
              <a:rPr lang="ru-RU" sz="2400" dirty="0" smtClean="0">
                <a:ea typeface="Tahoma" panose="020B0604030504040204" pitchFamily="34" charset="0"/>
                <a:cs typeface="Tahoma" panose="020B0604030504040204" pitchFamily="34" charset="0"/>
              </a:rPr>
              <a:t>елевые </a:t>
            </a:r>
            <a:r>
              <a:rPr lang="ru-RU" sz="2400" dirty="0">
                <a:ea typeface="Tahoma" panose="020B0604030504040204" pitchFamily="34" charset="0"/>
                <a:cs typeface="Tahoma" panose="020B0604030504040204" pitchFamily="34" charset="0"/>
              </a:rPr>
              <a:t>показатели образования и сокращения отходов</a:t>
            </a:r>
          </a:p>
          <a:p>
            <a:pPr marL="342900" indent="-342900">
              <a:buClr>
                <a:srgbClr val="8DC63F"/>
              </a:buClr>
              <a:buFontTx/>
              <a:buChar char="-"/>
            </a:pPr>
            <a:r>
              <a:rPr lang="ru-RU" sz="2400" dirty="0" smtClean="0">
                <a:ea typeface="Tahoma" panose="020B0604030504040204" pitchFamily="34" charset="0"/>
                <a:cs typeface="Tahoma" panose="020B0604030504040204" pitchFamily="34" charset="0"/>
              </a:rPr>
              <a:t>Просвещение </a:t>
            </a:r>
            <a:r>
              <a:rPr lang="ru-RU" sz="2400" dirty="0">
                <a:ea typeface="Tahoma" panose="020B0604030504040204" pitchFamily="34" charset="0"/>
                <a:cs typeface="Tahoma" panose="020B0604030504040204" pitchFamily="34" charset="0"/>
              </a:rPr>
              <a:t>жителей ЖК</a:t>
            </a:r>
            <a:endParaRPr lang="ru-RU" dirty="0"/>
          </a:p>
        </p:txBody>
      </p:sp>
      <p:sp>
        <p:nvSpPr>
          <p:cNvPr id="36" name="TextBox 35"/>
          <p:cNvSpPr txBox="1"/>
          <p:nvPr/>
        </p:nvSpPr>
        <p:spPr>
          <a:xfrm>
            <a:off x="12170090" y="7549737"/>
            <a:ext cx="543446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8DC63F"/>
              </a:buClr>
              <a:buFontTx/>
              <a:buChar char="-"/>
            </a:pPr>
            <a:r>
              <a:rPr lang="ru-RU" sz="2400" dirty="0" smtClean="0">
                <a:ea typeface="Tahoma" panose="020B0604030504040204" pitchFamily="34" charset="0"/>
                <a:cs typeface="Tahoma" panose="020B0604030504040204" pitchFamily="34" charset="0"/>
              </a:rPr>
              <a:t>Применение </a:t>
            </a:r>
            <a:r>
              <a:rPr lang="ru-RU" sz="2400" dirty="0">
                <a:ea typeface="Tahoma" panose="020B0604030504040204" pitchFamily="34" charset="0"/>
                <a:cs typeface="Tahoma" panose="020B0604030504040204" pitchFamily="34" charset="0"/>
              </a:rPr>
              <a:t>вторичных материалов</a:t>
            </a:r>
          </a:p>
          <a:p>
            <a:pPr marL="342900" indent="-342900">
              <a:buClr>
                <a:srgbClr val="8DC63F"/>
              </a:buClr>
              <a:buFontTx/>
              <a:buChar char="-"/>
            </a:pPr>
            <a:r>
              <a:rPr lang="ru-RU" sz="2400" dirty="0" smtClean="0">
                <a:ea typeface="Tahoma" panose="020B0604030504040204" pitchFamily="34" charset="0"/>
                <a:cs typeface="Tahoma" panose="020B0604030504040204" pitchFamily="34" charset="0"/>
              </a:rPr>
              <a:t>Применение </a:t>
            </a:r>
            <a:r>
              <a:rPr lang="ru-RU" sz="2400" dirty="0">
                <a:ea typeface="Tahoma" panose="020B0604030504040204" pitchFamily="34" charset="0"/>
                <a:cs typeface="Tahoma" panose="020B0604030504040204" pitchFamily="34" charset="0"/>
              </a:rPr>
              <a:t>материалов </a:t>
            </a:r>
            <a:r>
              <a:rPr lang="ru-RU" sz="2400" dirty="0" smtClean="0"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2400" dirty="0" smtClean="0"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400" dirty="0" smtClean="0">
                <a:ea typeface="Tahoma" panose="020B0604030504040204" pitchFamily="34" charset="0"/>
                <a:cs typeface="Tahoma" panose="020B0604030504040204" pitchFamily="34" charset="0"/>
              </a:rPr>
              <a:t>с </a:t>
            </a:r>
            <a:r>
              <a:rPr lang="ru-RU" sz="2400" dirty="0">
                <a:ea typeface="Tahoma" panose="020B0604030504040204" pitchFamily="34" charset="0"/>
                <a:cs typeface="Tahoma" panose="020B0604030504040204" pitchFamily="34" charset="0"/>
              </a:rPr>
              <a:t>переработанной составляющей</a:t>
            </a:r>
          </a:p>
          <a:p>
            <a:pPr marL="342900" indent="-342900">
              <a:buClr>
                <a:srgbClr val="8DC63F"/>
              </a:buClr>
              <a:buFontTx/>
              <a:buChar char="-"/>
            </a:pPr>
            <a:r>
              <a:rPr lang="ru-RU" sz="2400" dirty="0" smtClean="0">
                <a:ea typeface="Tahoma" panose="020B0604030504040204" pitchFamily="34" charset="0"/>
                <a:cs typeface="Tahoma" panose="020B0604030504040204" pitchFamily="34" charset="0"/>
              </a:rPr>
              <a:t>Применение </a:t>
            </a:r>
            <a:r>
              <a:rPr lang="ru-RU" sz="2400" dirty="0">
                <a:ea typeface="Tahoma" panose="020B0604030504040204" pitchFamily="34" charset="0"/>
                <a:cs typeface="Tahoma" panose="020B0604030504040204" pitchFamily="34" charset="0"/>
              </a:rPr>
              <a:t>местных материалов</a:t>
            </a:r>
            <a:endParaRPr lang="ru-RU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5634274" y="6645919"/>
            <a:ext cx="5357182" cy="76790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buClr>
                <a:srgbClr val="8FC54C"/>
              </a:buClr>
            </a:pPr>
            <a:r>
              <a:rPr lang="ru-RU" sz="2495" dirty="0">
                <a:solidFill>
                  <a:schemeClr val="accent6"/>
                </a:solidFill>
              </a:rPr>
              <a:t>Блок 1. Сбор, сортировка, утилизация отходов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12247375" y="6645919"/>
            <a:ext cx="5357182" cy="76790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buClr>
                <a:srgbClr val="8FC54C"/>
              </a:buClr>
            </a:pPr>
            <a:r>
              <a:rPr lang="ru-RU" sz="2495" dirty="0">
                <a:solidFill>
                  <a:schemeClr val="accent6"/>
                </a:solidFill>
              </a:rPr>
              <a:t>Блок 2. Применение вторичных и местных материалов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512756" y="5630257"/>
            <a:ext cx="4382728" cy="17835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buClr>
                <a:srgbClr val="8FC54C"/>
              </a:buClr>
            </a:pPr>
            <a:r>
              <a:rPr lang="ru-RU" sz="2495" b="1" dirty="0" smtClean="0">
                <a:solidFill>
                  <a:schemeClr val="accent6"/>
                </a:solidFill>
              </a:rPr>
              <a:t>География премии</a:t>
            </a:r>
          </a:p>
          <a:p>
            <a:pPr lvl="0">
              <a:buClr>
                <a:srgbClr val="8FC54C"/>
              </a:buClr>
            </a:pPr>
            <a:endParaRPr lang="ru-RU" sz="2495" dirty="0">
              <a:solidFill>
                <a:schemeClr val="accent6"/>
              </a:solidFill>
            </a:endParaRPr>
          </a:p>
          <a:p>
            <a:pPr lvl="0">
              <a:buClr>
                <a:srgbClr val="8FC54C"/>
              </a:buClr>
            </a:pPr>
            <a:r>
              <a:rPr lang="ru-RU" sz="2200" dirty="0" smtClean="0">
                <a:sym typeface="Tahoma"/>
              </a:rPr>
              <a:t>В премии могут участвовать застройщики из всех регионов России</a:t>
            </a:r>
            <a:endParaRPr lang="ru-RU" sz="22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973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301" y="3351"/>
          <a:ext cx="3301" cy="33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8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01" y="3351"/>
                        <a:ext cx="3301" cy="33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1FE4F340-F303-4BA6-53D4-2B3986DAF170}"/>
              </a:ext>
            </a:extLst>
          </p:cNvPr>
          <p:cNvGrpSpPr/>
          <p:nvPr/>
        </p:nvGrpSpPr>
        <p:grpSpPr>
          <a:xfrm>
            <a:off x="1" y="2060634"/>
            <a:ext cx="9342211" cy="6572136"/>
            <a:chOff x="0" y="914400"/>
            <a:chExt cx="4493623" cy="3161211"/>
          </a:xfrm>
        </p:grpSpPr>
        <p:sp>
          <p:nvSpPr>
            <p:cNvPr id="5" name="Прямоугольник 4">
              <a:extLst>
                <a:ext uri="{FF2B5EF4-FFF2-40B4-BE49-F238E27FC236}">
                  <a16:creationId xmlns:a16="http://schemas.microsoft.com/office/drawing/2014/main" id="{59C16038-8323-9920-16C6-72C51FDB8007}"/>
                </a:ext>
              </a:extLst>
            </p:cNvPr>
            <p:cNvSpPr/>
            <p:nvPr/>
          </p:nvSpPr>
          <p:spPr>
            <a:xfrm>
              <a:off x="0" y="914400"/>
              <a:ext cx="4493623" cy="316121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25778"/>
              <a:endParaRPr lang="ru-RU">
                <a:solidFill>
                  <a:prstClr val="white"/>
                </a:solidFill>
                <a:latin typeface="Tahoma"/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358775" y="1429329"/>
              <a:ext cx="4042744" cy="21239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901038">
                <a:spcAft>
                  <a:spcPts val="624"/>
                </a:spcAft>
                <a:defRPr/>
              </a:pPr>
              <a:r>
                <a:rPr lang="ru-RU" sz="3742" b="1" dirty="0">
                  <a:solidFill>
                    <a:srgbClr val="3E5057"/>
                  </a:solidFill>
                  <a:latin typeface="Tahoma"/>
                </a:rPr>
                <a:t>Устойчивое развитие ДОМ.РФ</a:t>
              </a:r>
            </a:p>
            <a:p>
              <a:pPr defTabSz="1901038">
                <a:spcAft>
                  <a:spcPts val="624"/>
                </a:spcAft>
                <a:defRPr/>
              </a:pPr>
              <a:r>
                <a:rPr lang="en-US" sz="3742" dirty="0">
                  <a:solidFill>
                    <a:srgbClr val="3E5057"/>
                  </a:solidFill>
                  <a:latin typeface="Tahoma"/>
                  <a:hlinkClick r:id="rId6"/>
                </a:rPr>
                <a:t>esg@domrf.ru</a:t>
              </a:r>
              <a:endParaRPr lang="en-US" sz="3742" dirty="0">
                <a:solidFill>
                  <a:srgbClr val="3E5057"/>
                </a:solidFill>
                <a:latin typeface="Tahoma"/>
              </a:endParaRPr>
            </a:p>
            <a:p>
              <a:pPr defTabSz="1901038">
                <a:defRPr/>
              </a:pPr>
              <a:endParaRPr lang="en-US" sz="3742" b="1" dirty="0">
                <a:solidFill>
                  <a:srgbClr val="3E5057"/>
                </a:solidFill>
                <a:latin typeface="Tahoma"/>
              </a:endParaRPr>
            </a:p>
            <a:p>
              <a:pPr defTabSz="1901038">
                <a:spcAft>
                  <a:spcPts val="624"/>
                </a:spcAft>
                <a:defRPr/>
              </a:pPr>
              <a:r>
                <a:rPr lang="ru-RU" sz="3742" b="1" dirty="0">
                  <a:solidFill>
                    <a:srgbClr val="3E5057"/>
                  </a:solidFill>
                  <a:latin typeface="Tahoma"/>
                </a:rPr>
                <a:t>Евгения Либефорт</a:t>
              </a:r>
              <a:endParaRPr lang="en-US" sz="3742" b="1" dirty="0">
                <a:solidFill>
                  <a:srgbClr val="3E5057"/>
                </a:solidFill>
                <a:latin typeface="Tahoma"/>
              </a:endParaRPr>
            </a:p>
            <a:p>
              <a:pPr defTabSz="1901038">
                <a:spcAft>
                  <a:spcPts val="624"/>
                </a:spcAft>
                <a:defRPr/>
              </a:pPr>
              <a:r>
                <a:rPr lang="en-US" sz="3742" dirty="0">
                  <a:solidFill>
                    <a:srgbClr val="3E5057"/>
                  </a:solidFill>
                  <a:latin typeface="Tahoma"/>
                  <a:hlinkClick r:id="rId7"/>
                </a:rPr>
                <a:t>evgeniya.libefort@domrf.ru</a:t>
              </a:r>
              <a:endParaRPr lang="en-US" sz="3742" dirty="0">
                <a:solidFill>
                  <a:srgbClr val="3E5057"/>
                </a:solidFill>
                <a:latin typeface="Tahoma"/>
              </a:endParaRPr>
            </a:p>
            <a:p>
              <a:pPr defTabSz="1901038">
                <a:spcAft>
                  <a:spcPts val="624"/>
                </a:spcAft>
                <a:defRPr/>
              </a:pPr>
              <a:r>
                <a:rPr lang="ru-RU" sz="3742" dirty="0">
                  <a:solidFill>
                    <a:srgbClr val="8FC54C"/>
                  </a:solidFill>
                  <a:latin typeface="Tahoma"/>
                </a:rPr>
                <a:t>+7(926)264-49-27</a:t>
              </a:r>
            </a:p>
            <a:p>
              <a:pPr defTabSz="1901038">
                <a:defRPr/>
              </a:pPr>
              <a:endParaRPr lang="ru-RU" sz="3742" dirty="0">
                <a:solidFill>
                  <a:srgbClr val="3E5057"/>
                </a:solidFill>
                <a:latin typeface="Tahoma"/>
              </a:endParaRPr>
            </a:p>
          </p:txBody>
        </p:sp>
      </p:grpSp>
      <p:sp>
        <p:nvSpPr>
          <p:cNvPr id="9" name="Заголовок 3"/>
          <p:cNvSpPr txBox="1">
            <a:spLocks/>
          </p:cNvSpPr>
          <p:nvPr/>
        </p:nvSpPr>
        <p:spPr bwMode="auto">
          <a:xfrm>
            <a:off x="382591" y="243649"/>
            <a:ext cx="18293206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18288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2860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27432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2004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defTabSz="762001">
              <a:defRPr/>
            </a:pPr>
            <a:r>
              <a:rPr lang="ru-RU" altLang="ru-RU" sz="3600" b="1" dirty="0">
                <a:solidFill>
                  <a:srgbClr val="3E5057"/>
                </a:solidFill>
              </a:rPr>
              <a:t>Контакты</a:t>
            </a:r>
          </a:p>
        </p:txBody>
      </p:sp>
    </p:spTree>
    <p:extLst>
      <p:ext uri="{BB962C8B-B14F-4D97-AF65-F5344CB8AC3E}">
        <p14:creationId xmlns:p14="http://schemas.microsoft.com/office/powerpoint/2010/main" val="33314523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301" y="3351"/>
          <a:ext cx="3301" cy="33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2" name="Слайд think-cell" r:id="rId37" imgW="286" imgH="286" progId="TCLayout.ActiveDocument.1">
                  <p:embed/>
                </p:oleObj>
              </mc:Choice>
              <mc:Fallback>
                <p:oleObj name="Слайд think-cell" r:id="rId37" imgW="286" imgH="286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3301" y="3351"/>
                        <a:ext cx="3301" cy="33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Прямоугольник 40"/>
          <p:cNvSpPr/>
          <p:nvPr/>
        </p:nvSpPr>
        <p:spPr>
          <a:xfrm>
            <a:off x="748439" y="10343455"/>
            <a:ext cx="17737967" cy="1798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07000"/>
              </a:lnSpc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сточники: (1) Росстат, Приказ Минприроды от 30.06.2015 №300, ГОСТ Р 57262-2016, Методика расчета выбросов парниковых газов (2) Международное энергетическое агентство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B74990B2-30BF-21CA-3C20-85A7BD8CD723}"/>
              </a:ext>
            </a:extLst>
          </p:cNvPr>
          <p:cNvGrpSpPr/>
          <p:nvPr/>
        </p:nvGrpSpPr>
        <p:grpSpPr>
          <a:xfrm>
            <a:off x="-271277" y="4596505"/>
            <a:ext cx="18672718" cy="4195171"/>
            <a:chOff x="-229352" y="1751546"/>
            <a:chExt cx="17554688" cy="3943981"/>
          </a:xfrm>
        </p:grpSpPr>
        <p:sp>
          <p:nvSpPr>
            <p:cNvPr id="8" name="TextBox 7"/>
            <p:cNvSpPr txBox="1"/>
            <p:nvPr/>
          </p:nvSpPr>
          <p:spPr>
            <a:xfrm>
              <a:off x="4416142" y="1915150"/>
              <a:ext cx="3921726" cy="3616774"/>
            </a:xfrm>
            <a:prstGeom prst="rect">
              <a:avLst/>
            </a:prstGeom>
            <a:noFill/>
          </p:spPr>
          <p:txBody>
            <a:bodyPr wrap="square" lIns="149688" tIns="0" rIns="149688" bIns="0" rtlCol="0" anchor="ctr" anchorCtr="0">
              <a:noAutofit/>
            </a:bodyPr>
            <a:lstStyle/>
            <a:p>
              <a:pPr algn="ctr"/>
              <a:r>
                <a:rPr lang="ru-RU" sz="3564" b="1" dirty="0">
                  <a:solidFill>
                    <a:srgbClr val="C00000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12%</a:t>
              </a:r>
              <a:endParaRPr lang="ru-RU" sz="3564" dirty="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  <a:p>
              <a:pPr algn="ctr"/>
              <a:r>
                <a:rPr lang="ru-RU" sz="1782" b="1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Доля выбросов парниковых газов в строительстве и ЖКХ</a:t>
              </a:r>
              <a:br>
                <a:rPr lang="ru-RU" sz="1782" b="1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</a:br>
              <a:r>
                <a:rPr lang="ru-RU" sz="1782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(около 248 млн т CO</a:t>
              </a:r>
              <a:r>
                <a:rPr lang="ru-RU" sz="1782" baseline="-25000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2</a:t>
              </a:r>
              <a:r>
                <a:rPr lang="ru-RU" sz="1782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e в год)</a:t>
              </a:r>
              <a:br>
                <a:rPr lang="ru-RU" sz="1782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</a:br>
              <a:endParaRPr lang="ru-RU" sz="1782" dirty="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  <a:p>
              <a:pPr algn="ctr"/>
              <a:r>
                <a:rPr lang="ru-RU" sz="3564" b="1" dirty="0">
                  <a:solidFill>
                    <a:srgbClr val="C00000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25%</a:t>
              </a:r>
              <a:endParaRPr lang="ru-RU" sz="3564" dirty="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  <a:p>
              <a:pPr algn="ctr"/>
              <a:r>
                <a:rPr lang="ru-RU" sz="1782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(около 503 млн т СО</a:t>
              </a:r>
              <a:r>
                <a:rPr lang="ru-RU" sz="1782" baseline="-25000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2</a:t>
              </a:r>
              <a:r>
                <a:rPr lang="ru-RU" sz="1782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е в год)</a:t>
              </a:r>
              <a:br>
                <a:rPr lang="ru-RU" sz="1782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</a:br>
              <a:r>
                <a:rPr lang="ru-RU" sz="1782" b="1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С учетом выбросов </a:t>
              </a:r>
              <a:br>
                <a:rPr lang="ru-RU" sz="1782" b="1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</a:br>
              <a:r>
                <a:rPr lang="ru-RU" sz="1782" b="1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от производства строительных материалов</a:t>
              </a:r>
              <a:r>
                <a:rPr lang="ru-RU" sz="1782" b="1" baseline="30000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2</a:t>
              </a:r>
              <a:r>
                <a:rPr lang="ru-RU" sz="1782" b="1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 и энергии </a:t>
              </a:r>
              <a:br>
                <a:rPr lang="ru-RU" sz="1782" b="1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</a:br>
              <a:r>
                <a:rPr lang="ru-RU" sz="1782" b="1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для нужд ЖКХ</a:t>
              </a:r>
              <a:r>
                <a:rPr lang="ru-RU" sz="1782" b="1" baseline="30000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3</a:t>
              </a:r>
              <a:endParaRPr lang="ru-RU" sz="1782" dirty="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graphicFrame>
          <p:nvGraphicFramePr>
            <p:cNvPr id="30" name="Chart 3"/>
            <p:cNvGraphicFramePr/>
            <p:nvPr>
              <p:custDataLst>
                <p:tags r:id="rId29"/>
              </p:custDataLst>
              <p:extLst/>
            </p:nvPr>
          </p:nvGraphicFramePr>
          <p:xfrm>
            <a:off x="-229352" y="1751546"/>
            <a:ext cx="5458864" cy="394398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9"/>
            </a:graphicData>
          </a:graphic>
        </p:graphicFrame>
        <p:sp>
          <p:nvSpPr>
            <p:cNvPr id="31" name="Прямоугольник 30"/>
            <p:cNvSpPr/>
            <p:nvPr>
              <p:custDataLst>
                <p:tags r:id="rId30"/>
              </p:custDataLst>
            </p:nvPr>
          </p:nvSpPr>
          <p:spPr bwMode="gray">
            <a:xfrm>
              <a:off x="3749966" y="3477579"/>
              <a:ext cx="617176" cy="313540"/>
            </a:xfrm>
            <a:prstGeom prst="rect">
              <a:avLst/>
            </a:prstGeom>
            <a:solidFill>
              <a:srgbClr val="BADB91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2906" tIns="0" rIns="42906" bIns="0" rtlCol="0" anchor="ctr"/>
            <a:lstStyle/>
            <a:p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fld id="{91562013-4389-4E85-8260-862AF26B82A5}" type="datetime'''''''''''''''''''''''''''''''''3''''''''''''%'''''''''''">
                <a:rPr lang="ru-RU" altLang="en-US" sz="2286" b="1">
                  <a:solidFill>
                    <a:schemeClr val="tx2"/>
                  </a:solidFill>
                </a:rPr>
                <a:pPr/>
                <a:t>3%</a:t>
              </a:fld>
              <a:endParaRPr lang="ru-RU" sz="2286" b="1" dirty="0">
                <a:solidFill>
                  <a:schemeClr val="tx2"/>
                </a:solidFill>
              </a:endParaRPr>
            </a:p>
          </p:txBody>
        </p:sp>
        <p:sp>
          <p:nvSpPr>
            <p:cNvPr id="33" name="Прямоугольник 32"/>
            <p:cNvSpPr/>
            <p:nvPr>
              <p:custDataLst>
                <p:tags r:id="rId31"/>
              </p:custDataLst>
            </p:nvPr>
          </p:nvSpPr>
          <p:spPr bwMode="gray">
            <a:xfrm>
              <a:off x="3344661" y="4571830"/>
              <a:ext cx="617176" cy="313540"/>
            </a:xfrm>
            <a:prstGeom prst="rect">
              <a:avLst/>
            </a:prstGeom>
            <a:solidFill>
              <a:srgbClr val="ABBCC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2906" tIns="0" rIns="42906" bIns="0" rtlCol="0" anchor="ctr"/>
            <a:lstStyle/>
            <a:p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fld id="{CDCC2900-9833-4B0B-A435-43DB9C5DC080}" type="datetime'''''''''''''''''''''''''''''6''''''''''''%'">
                <a:rPr lang="ru-RU" altLang="en-US" sz="2000" b="1">
                  <a:solidFill>
                    <a:schemeClr val="tx1"/>
                  </a:solidFill>
                </a:rPr>
                <a:pPr/>
                <a:t>6%</a:t>
              </a:fld>
              <a:endParaRPr lang="ru-RU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34" name="Прямоугольник 33"/>
            <p:cNvSpPr/>
            <p:nvPr>
              <p:custDataLst>
                <p:tags r:id="rId32"/>
              </p:custDataLst>
            </p:nvPr>
          </p:nvSpPr>
          <p:spPr bwMode="gray">
            <a:xfrm>
              <a:off x="2685441" y="4620302"/>
              <a:ext cx="617176" cy="313540"/>
            </a:xfrm>
            <a:prstGeom prst="rect">
              <a:avLst/>
            </a:prstGeom>
            <a:solidFill>
              <a:srgbClr val="68767C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2906" tIns="0" rIns="42906" bIns="0" rtlCol="0" anchor="ctr"/>
            <a:lstStyle/>
            <a:p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fld id="{18125A7A-DD74-4BE8-AEB1-6943252380EA}" type="datetime'''''''''''''''''''''5''''''''''''''%'''''''">
                <a:rPr lang="ru-RU" altLang="en-US" sz="2000" b="1">
                  <a:solidFill>
                    <a:schemeClr val="bg1"/>
                  </a:solidFill>
                </a:rPr>
                <a:pPr/>
                <a:t>5%</a:t>
              </a:fld>
              <a:endParaRPr lang="ru-RU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35" name="Прямоугольник 34"/>
            <p:cNvSpPr/>
            <p:nvPr>
              <p:custDataLst>
                <p:tags r:id="rId33"/>
              </p:custDataLst>
            </p:nvPr>
          </p:nvSpPr>
          <p:spPr bwMode="gray">
            <a:xfrm>
              <a:off x="2451259" y="5031252"/>
              <a:ext cx="617176" cy="313540"/>
            </a:xfrm>
            <a:prstGeom prst="rect">
              <a:avLst/>
            </a:prstGeom>
            <a:solidFill>
              <a:srgbClr val="586469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42906" tIns="0" rIns="42906" bIns="0" rtlCol="0" anchor="ctr"/>
            <a:lstStyle/>
            <a:p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fld id="{B12A9F11-1989-4714-918F-D049599D601D}" type="datetime'''''''''''''''''''''''''''3''''''''''''''''''''%'''''">
                <a:rPr lang="ru-RU" altLang="en-US" sz="2000" b="1">
                  <a:solidFill>
                    <a:schemeClr val="bg1"/>
                  </a:solidFill>
                </a:rPr>
                <a:pPr/>
                <a:t>3%</a:t>
              </a:fld>
              <a:endParaRPr lang="ru-RU" sz="2000" b="1" dirty="0">
                <a:solidFill>
                  <a:schemeClr val="bg1"/>
                </a:solidFill>
              </a:endParaRPr>
            </a:p>
          </p:txBody>
        </p:sp>
        <p:graphicFrame>
          <p:nvGraphicFramePr>
            <p:cNvPr id="29" name="Chart 3"/>
            <p:cNvGraphicFramePr/>
            <p:nvPr>
              <p:custDataLst>
                <p:tags r:id="rId34"/>
              </p:custDataLst>
              <p:extLst/>
            </p:nvPr>
          </p:nvGraphicFramePr>
          <p:xfrm>
            <a:off x="8460349" y="1751546"/>
            <a:ext cx="5458864" cy="394398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0"/>
            </a:graphicData>
          </a:graphic>
        </p:graphicFrame>
        <p:sp>
          <p:nvSpPr>
            <p:cNvPr id="62" name="Прямоугольник 61"/>
            <p:cNvSpPr/>
            <p:nvPr>
              <p:custDataLst>
                <p:tags r:id="rId35"/>
              </p:custDataLst>
            </p:nvPr>
          </p:nvSpPr>
          <p:spPr bwMode="gray">
            <a:xfrm>
              <a:off x="11838252" y="4798175"/>
              <a:ext cx="710734" cy="338445"/>
            </a:xfrm>
            <a:prstGeom prst="rect">
              <a:avLst/>
            </a:prstGeom>
            <a:solidFill>
              <a:srgbClr val="BADB91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/>
            <a:lstStyle/>
            <a:p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2200" b="1" dirty="0">
                  <a:solidFill>
                    <a:schemeClr val="tx2"/>
                  </a:solidFill>
                </a:rPr>
                <a:t>6%</a:t>
              </a: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13619013" y="1865873"/>
              <a:ext cx="3706323" cy="3715325"/>
            </a:xfrm>
            <a:prstGeom prst="rect">
              <a:avLst/>
            </a:prstGeom>
            <a:noFill/>
          </p:spPr>
          <p:txBody>
            <a:bodyPr wrap="square" lIns="149688" tIns="0" rIns="149688" bIns="0" rtlCol="0" anchor="ctr" anchorCtr="0">
              <a:noAutofit/>
            </a:bodyPr>
            <a:lstStyle/>
            <a:p>
              <a:pPr algn="ctr"/>
              <a:r>
                <a:rPr lang="ru-RU" sz="3564" b="1" dirty="0">
                  <a:solidFill>
                    <a:srgbClr val="C00000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36%</a:t>
              </a:r>
              <a:endParaRPr lang="ru-RU" sz="3564" dirty="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  <a:p>
              <a:pPr algn="ctr"/>
              <a:r>
                <a:rPr lang="ru-RU" sz="1782" b="1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Доля энергопотребления</a:t>
              </a:r>
              <a:br>
                <a:rPr lang="ru-RU" sz="1782" b="1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</a:br>
              <a:r>
                <a:rPr lang="ru-RU" sz="1782" b="1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в строительстве </a:t>
              </a:r>
            </a:p>
            <a:p>
              <a:pPr algn="ctr"/>
              <a:r>
                <a:rPr lang="ru-RU" sz="1782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(около 77 </a:t>
              </a:r>
              <a:r>
                <a:rPr lang="en-US" sz="1782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EJ</a:t>
              </a:r>
              <a:r>
                <a:rPr lang="ru-RU" sz="1782" dirty="0">
                  <a:solidFill>
                    <a:srgbClr val="3E5057"/>
                  </a:solidFill>
                  <a:latin typeface="Tahoma" panose="020B0604030504040204" pitchFamily="34" charset="0"/>
                  <a:ea typeface="Times New Roman" panose="02020603050405020304" pitchFamily="18" charset="0"/>
                </a:rPr>
                <a:t> в год)</a:t>
              </a:r>
              <a:endParaRPr lang="ru-RU" sz="1782" dirty="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748437" y="1848493"/>
            <a:ext cx="8280000" cy="4478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b="1" dirty="0">
                <a:solidFill>
                  <a:schemeClr val="accent6"/>
                </a:solidFill>
              </a:rPr>
              <a:t>Выбросы </a:t>
            </a:r>
            <a:r>
              <a:rPr lang="en-US" sz="2800" b="1" dirty="0">
                <a:solidFill>
                  <a:schemeClr val="accent6"/>
                </a:solidFill>
              </a:rPr>
              <a:t>CO</a:t>
            </a:r>
            <a:r>
              <a:rPr lang="en-US" sz="2800" b="1" baseline="-25000" dirty="0">
                <a:solidFill>
                  <a:schemeClr val="accent6"/>
                </a:solidFill>
              </a:rPr>
              <a:t>2</a:t>
            </a:r>
            <a:r>
              <a:rPr lang="ru-RU" sz="2800" b="1" baseline="-25000" dirty="0">
                <a:solidFill>
                  <a:schemeClr val="accent6"/>
                </a:solidFill>
              </a:rPr>
              <a:t> </a:t>
            </a:r>
            <a:r>
              <a:rPr lang="ru-RU" sz="2800" b="1" dirty="0">
                <a:solidFill>
                  <a:schemeClr val="accent6"/>
                </a:solidFill>
              </a:rPr>
              <a:t>2 051 млн тонн</a:t>
            </a:r>
            <a:r>
              <a:rPr lang="en-US" sz="2800" b="1" dirty="0">
                <a:solidFill>
                  <a:schemeClr val="accent6"/>
                </a:solidFill>
              </a:rPr>
              <a:t> </a:t>
            </a:r>
            <a:r>
              <a:rPr lang="ru-RU" sz="2800" b="1" dirty="0">
                <a:solidFill>
                  <a:schemeClr val="accent6"/>
                </a:solidFill>
              </a:rPr>
              <a:t>за 2020 г.</a:t>
            </a:r>
            <a:endParaRPr lang="en-US" sz="2800" b="1" dirty="0">
              <a:solidFill>
                <a:schemeClr val="accent6"/>
              </a:solidFill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748437" y="2579919"/>
            <a:ext cx="8093138" cy="1751215"/>
            <a:chOff x="672000" y="5350610"/>
            <a:chExt cx="7266590" cy="1572364"/>
          </a:xfrm>
        </p:grpSpPr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id="{C39495D4-B4E0-4028-B59E-FFF8DEAA44C9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auto">
            <a:xfrm>
              <a:off x="3662000" y="5776083"/>
              <a:ext cx="367453" cy="275591"/>
            </a:xfrm>
            <a:prstGeom prst="rect">
              <a:avLst/>
            </a:prstGeom>
            <a:solidFill>
              <a:srgbClr val="C8CBCE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660741">
                <a:defRPr/>
              </a:pPr>
              <a:endParaRPr lang="ru-RU" sz="4900">
                <a:solidFill>
                  <a:prstClr val="white"/>
                </a:solidFill>
                <a:latin typeface="Tahoma"/>
              </a:endParaRPr>
            </a:p>
          </p:txBody>
        </p:sp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id="{9A73D80D-0495-4624-9F6A-E0CFB5C00962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auto">
            <a:xfrm>
              <a:off x="672000" y="5390931"/>
              <a:ext cx="367453" cy="275591"/>
            </a:xfrm>
            <a:prstGeom prst="rect">
              <a:avLst/>
            </a:prstGeom>
            <a:solidFill>
              <a:srgbClr val="BEC0C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660741">
                <a:defRPr/>
              </a:pPr>
              <a:endParaRPr lang="ru-RU" sz="4900">
                <a:solidFill>
                  <a:prstClr val="white"/>
                </a:solidFill>
                <a:latin typeface="Tahoma"/>
              </a:endParaRPr>
            </a:p>
          </p:txBody>
        </p:sp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id="{686158BF-FE65-4DBF-A42D-25ECB04CD569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auto">
            <a:xfrm>
              <a:off x="672000" y="6617751"/>
              <a:ext cx="367453" cy="275591"/>
            </a:xfrm>
            <a:prstGeom prst="rect">
              <a:avLst/>
            </a:prstGeom>
            <a:solidFill>
              <a:srgbClr val="BADB91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660741">
                <a:defRPr/>
              </a:pPr>
              <a:endParaRPr lang="ru-RU" sz="4900">
                <a:solidFill>
                  <a:prstClr val="white"/>
                </a:solidFill>
                <a:latin typeface="Tahoma"/>
              </a:endParaRPr>
            </a:p>
          </p:txBody>
        </p:sp>
        <p:sp>
          <p:nvSpPr>
            <p:cNvPr id="40" name="Прямоугольник 39"/>
            <p:cNvSpPr/>
            <p:nvPr>
              <p:custDataLst>
                <p:tags r:id="rId16"/>
              </p:custDataLst>
            </p:nvPr>
          </p:nvSpPr>
          <p:spPr bwMode="auto">
            <a:xfrm>
              <a:off x="672000" y="6208812"/>
              <a:ext cx="367453" cy="275589"/>
            </a:xfrm>
            <a:prstGeom prst="rect">
              <a:avLst/>
            </a:prstGeom>
            <a:solidFill>
              <a:srgbClr val="F2F2F2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900"/>
            </a:p>
          </p:txBody>
        </p:sp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id="{7563E859-2996-47EB-9E4C-3BD6D50A6CC7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auto">
            <a:xfrm>
              <a:off x="3662002" y="5359500"/>
              <a:ext cx="367453" cy="275591"/>
            </a:xfrm>
            <a:prstGeom prst="rect">
              <a:avLst/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660741">
                <a:defRPr/>
              </a:pPr>
              <a:endParaRPr lang="ru-RU" sz="4900">
                <a:solidFill>
                  <a:prstClr val="white"/>
                </a:solidFill>
                <a:latin typeface="Tahoma"/>
              </a:endParaRPr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8B653E47-EC94-429E-8D1C-8E96A61059D0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auto">
            <a:xfrm>
              <a:off x="1134280" y="6608861"/>
              <a:ext cx="1769111" cy="3141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0" tIns="0" rIns="0" bIns="0" rtlCol="0" anchor="ctr"/>
            <a:lstStyle/>
            <a:p>
              <a:pPr defTabSz="2660741">
                <a:spcBef>
                  <a:spcPct val="0"/>
                </a:spcBef>
                <a:spcAft>
                  <a:spcPct val="0"/>
                </a:spcAft>
                <a:defRPr/>
              </a:pPr>
              <a:fld id="{801A609C-033C-4D80-A8AC-AF51B9FD53D4}" type="datetime'''С''''тр''ои''''т''''е''''''л''''''ь''''''''''''''ство'''''">
                <a:rPr lang="ru-RU" altLang="en-US" sz="1800">
                  <a:solidFill>
                    <a:srgbClr val="3E5057"/>
                  </a:solidFill>
                </a:rPr>
                <a:pPr defTabSz="2660741">
                  <a:spcBef>
                    <a:spcPct val="0"/>
                  </a:spcBef>
                  <a:spcAft>
                    <a:spcPct val="0"/>
                  </a:spcAft>
                  <a:defRPr/>
                </a:pPr>
                <a:t>Строительство</a:t>
              </a:fld>
              <a:endParaRPr lang="ru-RU" sz="1800" dirty="0">
                <a:solidFill>
                  <a:srgbClr val="3E5057"/>
                </a:solidFill>
              </a:endParaRPr>
            </a:p>
          </p:txBody>
        </p:sp>
        <p:sp>
          <p:nvSpPr>
            <p:cNvPr id="48" name="Прямоугольник 47">
              <a:extLst>
                <a:ext uri="{FF2B5EF4-FFF2-40B4-BE49-F238E27FC236}">
                  <a16:creationId xmlns:a16="http://schemas.microsoft.com/office/drawing/2014/main" id="{3F87429D-BCDE-43DE-9B70-144D066AD431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auto">
            <a:xfrm>
              <a:off x="1134281" y="5382041"/>
              <a:ext cx="1452033" cy="3141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0" tIns="0" rIns="0" bIns="0" rtlCol="0" anchor="ctr"/>
            <a:lstStyle/>
            <a:p>
              <a:pPr defTabSz="2660741">
                <a:spcBef>
                  <a:spcPct val="0"/>
                </a:spcBef>
                <a:spcAft>
                  <a:spcPct val="0"/>
                </a:spcAft>
                <a:defRPr/>
              </a:pPr>
              <a:fld id="{47B4AB12-C103-4635-8C8A-0167645C597B}" type="datetime'''Э''не''''''''''р''''''''гет''ика'''''''''''''''' '''''">
                <a:rPr lang="ru-RU" altLang="en-US" sz="1800">
                  <a:solidFill>
                    <a:srgbClr val="3E5057"/>
                  </a:solidFill>
                </a:rPr>
                <a:pPr defTabSz="2660741">
                  <a:spcBef>
                    <a:spcPct val="0"/>
                  </a:spcBef>
                  <a:spcAft>
                    <a:spcPct val="0"/>
                  </a:spcAft>
                  <a:defRPr/>
                </a:pPr>
                <a:t>Энергетика </a:t>
              </a:fld>
              <a:endParaRPr lang="ru-RU" sz="1800" dirty="0">
                <a:solidFill>
                  <a:srgbClr val="3E5057"/>
                </a:solidFill>
              </a:endParaRPr>
            </a:p>
          </p:txBody>
        </p:sp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id="{8B653E47-EC94-429E-8D1C-8E96A61059D0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auto">
            <a:xfrm>
              <a:off x="1134279" y="6199921"/>
              <a:ext cx="1259418" cy="3141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0" tIns="0" rIns="0" bIns="0" rtlCol="0" anchor="ctr"/>
            <a:lstStyle/>
            <a:p>
              <a:pPr defTabSz="2660741">
                <a:spcBef>
                  <a:spcPct val="0"/>
                </a:spcBef>
                <a:spcAft>
                  <a:spcPct val="0"/>
                </a:spcAft>
                <a:defRPr/>
              </a:pPr>
              <a:fld id="{6A94B9C8-A0CA-4B28-A316-F614D2E5E182}" type="datetime'Т''''р''''''''''''''''а''''''''н''с''''''''''''по''''''р''''т'">
                <a:rPr lang="ru-RU" altLang="en-US" sz="1800">
                  <a:solidFill>
                    <a:srgbClr val="3E5057"/>
                  </a:solidFill>
                </a:rPr>
                <a:pPr defTabSz="2660741">
                  <a:spcBef>
                    <a:spcPct val="0"/>
                  </a:spcBef>
                  <a:spcAft>
                    <a:spcPct val="0"/>
                  </a:spcAft>
                  <a:defRPr/>
                </a:pPr>
                <a:t>Транспорт</a:t>
              </a:fld>
              <a:endParaRPr lang="ru-RU" sz="1800" dirty="0">
                <a:solidFill>
                  <a:srgbClr val="3E5057"/>
                </a:solidFill>
              </a:endParaRPr>
            </a:p>
          </p:txBody>
        </p:sp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id="{5B458505-D111-40FB-B3CE-7F4D8D99DCCE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 bwMode="auto">
            <a:xfrm>
              <a:off x="4124282" y="5767193"/>
              <a:ext cx="3814308" cy="354266"/>
            </a:xfrm>
            <a:prstGeom prst="rect">
              <a:avLst/>
            </a:prstGeom>
            <a:noFill/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0" tIns="0" rIns="0" bIns="0" rtlCol="0" anchor="ctr"/>
            <a:lstStyle/>
            <a:p>
              <a:pPr defTabSz="2660741">
                <a:spcBef>
                  <a:spcPct val="0"/>
                </a:spcBef>
                <a:spcAft>
                  <a:spcPct val="0"/>
                </a:spcAft>
                <a:defRPr/>
              </a:pPr>
              <a:fld id="{21106E38-CAA7-405C-8836-2136B695A108}" type="datetime'''П''''''ром''''ышленност''ь ''(искл. с''тро''ит''ельств''о)'">
                <a:rPr lang="ru-RU" altLang="en-US" sz="1800" smtClean="0">
                  <a:solidFill>
                    <a:srgbClr val="3E5057"/>
                  </a:solidFill>
                </a:rPr>
                <a:pPr defTabSz="2660741">
                  <a:spcBef>
                    <a:spcPct val="0"/>
                  </a:spcBef>
                  <a:spcAft>
                    <a:spcPct val="0"/>
                  </a:spcAft>
                  <a:defRPr/>
                </a:pPr>
                <a:t>Промышленность (искл. строительство)</a:t>
              </a:fld>
              <a:endParaRPr lang="ru-RU" sz="1800" dirty="0">
                <a:solidFill>
                  <a:srgbClr val="3E5057"/>
                </a:solidFill>
              </a:endParaRPr>
            </a:p>
          </p:txBody>
        </p:sp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id="{DC0030C9-ACF4-44DD-8AE0-8F424277C871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auto">
            <a:xfrm>
              <a:off x="4124283" y="5350610"/>
              <a:ext cx="542291" cy="3141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0" tIns="0" rIns="0" bIns="0" rtlCol="0" anchor="ctr"/>
            <a:lstStyle/>
            <a:p>
              <a:pPr defTabSz="2660741">
                <a:spcBef>
                  <a:spcPct val="0"/>
                </a:spcBef>
                <a:spcAft>
                  <a:spcPct val="0"/>
                </a:spcAft>
                <a:defRPr/>
              </a:pPr>
              <a:fld id="{5FD87942-25EA-4E02-9EC7-AD82F3E544BC}" type="datetime'''''''''''''''Ж''''''К''''Х'''''''''''''''''''''''''''''''''''">
                <a:rPr lang="ru-RU" altLang="en-US" sz="1800">
                  <a:solidFill>
                    <a:srgbClr val="3E5057"/>
                  </a:solidFill>
                </a:rPr>
                <a:pPr defTabSz="2660741">
                  <a:spcBef>
                    <a:spcPct val="0"/>
                  </a:spcBef>
                  <a:spcAft>
                    <a:spcPct val="0"/>
                  </a:spcAft>
                  <a:defRPr/>
                </a:pPr>
                <a:t>ЖКХ</a:t>
              </a:fld>
              <a:endParaRPr lang="ru-RU" sz="1800" dirty="0">
                <a:solidFill>
                  <a:srgbClr val="3E5057"/>
                </a:solidFill>
              </a:endParaRPr>
            </a:p>
          </p:txBody>
        </p:sp>
        <p:grpSp>
          <p:nvGrpSpPr>
            <p:cNvPr id="10" name="Группа 9"/>
            <p:cNvGrpSpPr/>
            <p:nvPr/>
          </p:nvGrpSpPr>
          <p:grpSpPr>
            <a:xfrm>
              <a:off x="672000" y="5807346"/>
              <a:ext cx="6223001" cy="1084197"/>
              <a:chOff x="672000" y="5807346"/>
              <a:chExt cx="6223001" cy="1084197"/>
            </a:xfrm>
          </p:grpSpPr>
          <p:sp>
            <p:nvSpPr>
              <p:cNvPr id="44" name="Прямоугольник 43">
                <a:extLst>
                  <a:ext uri="{FF2B5EF4-FFF2-40B4-BE49-F238E27FC236}">
                    <a16:creationId xmlns:a16="http://schemas.microsoft.com/office/drawing/2014/main" id="{800754D0-F515-48E7-AC7C-5C6B01B9A246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 bwMode="auto">
              <a:xfrm>
                <a:off x="672000" y="5816236"/>
                <a:ext cx="367453" cy="275591"/>
              </a:xfrm>
              <a:prstGeom prst="rect">
                <a:avLst/>
              </a:prstGeom>
              <a:solidFill>
                <a:srgbClr val="ABBCC3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660741">
                  <a:defRPr/>
                </a:pPr>
                <a:endParaRPr lang="ru-RU" sz="4900">
                  <a:solidFill>
                    <a:prstClr val="white"/>
                  </a:solidFill>
                  <a:latin typeface="Tahoma"/>
                </a:endParaRPr>
              </a:p>
            </p:txBody>
          </p:sp>
          <p:sp>
            <p:nvSpPr>
              <p:cNvPr id="45" name="Прямоугольник 44">
                <a:extLst>
                  <a:ext uri="{FF2B5EF4-FFF2-40B4-BE49-F238E27FC236}">
                    <a16:creationId xmlns:a16="http://schemas.microsoft.com/office/drawing/2014/main" id="{B9EF356E-1C5D-4BB9-9953-1A335A82916E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 bwMode="auto">
              <a:xfrm>
                <a:off x="3662002" y="6177380"/>
                <a:ext cx="367453" cy="275591"/>
              </a:xfrm>
              <a:prstGeom prst="rect">
                <a:avLst/>
              </a:prstGeom>
              <a:solidFill>
                <a:srgbClr val="68767C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660741">
                  <a:defRPr/>
                </a:pPr>
                <a:endParaRPr lang="ru-RU" sz="4900">
                  <a:solidFill>
                    <a:prstClr val="white"/>
                  </a:solidFill>
                  <a:latin typeface="Tahoma"/>
                </a:endParaRPr>
              </a:p>
            </p:txBody>
          </p:sp>
          <p:sp>
            <p:nvSpPr>
              <p:cNvPr id="46" name="Прямоугольник 45">
                <a:extLst>
                  <a:ext uri="{FF2B5EF4-FFF2-40B4-BE49-F238E27FC236}">
                    <a16:creationId xmlns:a16="http://schemas.microsoft.com/office/drawing/2014/main" id="{A28059C7-328F-4E02-A933-0A118CBDD7D2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 bwMode="auto">
              <a:xfrm>
                <a:off x="3662002" y="6586320"/>
                <a:ext cx="367453" cy="275591"/>
              </a:xfrm>
              <a:prstGeom prst="rect">
                <a:avLst/>
              </a:prstGeom>
              <a:solidFill>
                <a:srgbClr val="586469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2660741">
                  <a:defRPr/>
                </a:pPr>
                <a:endParaRPr lang="ru-RU" sz="4900">
                  <a:solidFill>
                    <a:prstClr val="white"/>
                  </a:solidFill>
                  <a:latin typeface="Tahoma"/>
                </a:endParaRPr>
              </a:p>
            </p:txBody>
          </p:sp>
          <p:sp>
            <p:nvSpPr>
              <p:cNvPr id="52" name="Прямоугольник 51">
                <a:extLst>
                  <a:ext uri="{FF2B5EF4-FFF2-40B4-BE49-F238E27FC236}">
                    <a16:creationId xmlns:a16="http://schemas.microsoft.com/office/drawing/2014/main" id="{463459A9-FF0B-45FC-8CCD-2DCB60E76820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 bwMode="auto">
              <a:xfrm>
                <a:off x="1134280" y="5807346"/>
                <a:ext cx="2379558" cy="31411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0" tIns="0" rIns="0" bIns="0" rtlCol="0" anchor="ctr"/>
              <a:lstStyle/>
              <a:p>
                <a:pPr defTabSz="266074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6C16D79A-1D5C-4242-9378-39C529CB1E3E}" type="datetime'С''''''е''ль''ск''''ое ''''''х''о''зяй''ст''''в''''''''''о'''">
                  <a:rPr lang="ru-RU" altLang="en-US" sz="1800">
                    <a:solidFill>
                      <a:srgbClr val="3E5057"/>
                    </a:solidFill>
                  </a:rPr>
                  <a:pPr defTabSz="266074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Сельское хозяйство</a:t>
                </a:fld>
                <a:endParaRPr lang="ru-RU" sz="1800" dirty="0">
                  <a:solidFill>
                    <a:srgbClr val="3E5057"/>
                  </a:solidFill>
                </a:endParaRPr>
              </a:p>
            </p:txBody>
          </p:sp>
          <p:sp>
            <p:nvSpPr>
              <p:cNvPr id="53" name="Прямоугольник 52">
                <a:extLst>
                  <a:ext uri="{FF2B5EF4-FFF2-40B4-BE49-F238E27FC236}">
                    <a16:creationId xmlns:a16="http://schemas.microsoft.com/office/drawing/2014/main" id="{2BE3CAF0-0C30-4160-9F60-06B988243FE5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 bwMode="auto">
              <a:xfrm>
                <a:off x="4124282" y="6168490"/>
                <a:ext cx="903818" cy="31411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0" tIns="0" rIns="0" bIns="0" rtlCol="0" anchor="ctr"/>
              <a:lstStyle/>
              <a:p>
                <a:pPr defTabSz="266074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1EA8AE52-8473-4EB6-A1CF-80BE201D4FA5}" type="datetime'''''О''т''''''''''''''''''''''''''''''х''''о''д''ы'''''">
                  <a:rPr lang="ru-RU" altLang="en-US" sz="1800">
                    <a:solidFill>
                      <a:srgbClr val="3E5057"/>
                    </a:solidFill>
                  </a:rPr>
                  <a:pPr defTabSz="266074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Отходы</a:t>
                </a:fld>
                <a:endParaRPr lang="ru-RU" sz="1800" dirty="0">
                  <a:solidFill>
                    <a:srgbClr val="3E5057"/>
                  </a:solidFill>
                </a:endParaRPr>
              </a:p>
            </p:txBody>
          </p:sp>
          <p:sp>
            <p:nvSpPr>
              <p:cNvPr id="54" name="Прямоугольник 53">
                <a:extLst>
                  <a:ext uri="{FF2B5EF4-FFF2-40B4-BE49-F238E27FC236}">
                    <a16:creationId xmlns:a16="http://schemas.microsoft.com/office/drawing/2014/main" id="{E5518454-3698-4078-B39B-BCA9BB8FBEB7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 bwMode="auto">
              <a:xfrm>
                <a:off x="4124283" y="6577430"/>
                <a:ext cx="2770718" cy="31411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0" tIns="0" rIns="0" bIns="0" rtlCol="0" anchor="ctr"/>
              <a:lstStyle/>
              <a:p>
                <a:pPr defTabSz="2660741">
                  <a:spcBef>
                    <a:spcPct val="0"/>
                  </a:spcBef>
                  <a:spcAft>
                    <a:spcPct val="0"/>
                  </a:spcAft>
                  <a:defRPr/>
                </a:pPr>
                <a:fld id="{EDF5A193-C583-49BC-9B54-E0FB898D6544}" type="datetime'К''омме''''р''ч''''. и ''г''''''ос''. ''''у''''слу''''ги'">
                  <a:rPr lang="ru-RU" altLang="en-US" sz="1800">
                    <a:solidFill>
                      <a:srgbClr val="3E5057"/>
                    </a:solidFill>
                  </a:rPr>
                  <a:pPr defTabSz="2660741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t>Коммерч. и гос. услуги</a:t>
                </a:fld>
                <a:endParaRPr lang="ru-RU" sz="1800" dirty="0">
                  <a:solidFill>
                    <a:srgbClr val="3E5057"/>
                  </a:solidFill>
                </a:endParaRPr>
              </a:p>
            </p:txBody>
          </p:sp>
        </p:grpSp>
      </p:grpSp>
      <p:grpSp>
        <p:nvGrpSpPr>
          <p:cNvPr id="5" name="Группа 4"/>
          <p:cNvGrpSpPr/>
          <p:nvPr/>
        </p:nvGrpSpPr>
        <p:grpSpPr>
          <a:xfrm>
            <a:off x="10079344" y="2611949"/>
            <a:ext cx="6000132" cy="1238623"/>
            <a:chOff x="9001932" y="5499433"/>
            <a:chExt cx="5387342" cy="1112123"/>
          </a:xfrm>
        </p:grpSpPr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id="{C39495D4-B4E0-4028-B59E-FFF8DEAA44C9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9001932" y="5917263"/>
              <a:ext cx="367453" cy="275591"/>
            </a:xfrm>
            <a:prstGeom prst="rect">
              <a:avLst/>
            </a:prstGeom>
            <a:solidFill>
              <a:srgbClr val="C8CBCE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660741">
                <a:defRPr/>
              </a:pPr>
              <a:endParaRPr lang="ru-RU" sz="4900">
                <a:solidFill>
                  <a:prstClr val="white"/>
                </a:solidFill>
                <a:latin typeface="Tahoma"/>
              </a:endParaRP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9A73D80D-0495-4624-9F6A-E0CFB5C00962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auto">
            <a:xfrm>
              <a:off x="9001932" y="5508323"/>
              <a:ext cx="367453" cy="275591"/>
            </a:xfrm>
            <a:prstGeom prst="rect">
              <a:avLst/>
            </a:prstGeom>
            <a:solidFill>
              <a:srgbClr val="BEC0C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660741">
                <a:defRPr/>
              </a:pPr>
              <a:endParaRPr lang="ru-RU" sz="4900">
                <a:solidFill>
                  <a:prstClr val="white"/>
                </a:solidFill>
                <a:latin typeface="Tahoma"/>
              </a:endParaRPr>
            </a:p>
          </p:txBody>
        </p:sp>
        <p:sp>
          <p:nvSpPr>
            <p:cNvPr id="42" name="Прямоугольник 41"/>
            <p:cNvSpPr/>
            <p:nvPr>
              <p:custDataLst>
                <p:tags r:id="rId5"/>
              </p:custDataLst>
            </p:nvPr>
          </p:nvSpPr>
          <p:spPr bwMode="auto">
            <a:xfrm>
              <a:off x="12157884" y="5954898"/>
              <a:ext cx="367453" cy="275589"/>
            </a:xfrm>
            <a:prstGeom prst="rect">
              <a:avLst/>
            </a:prstGeom>
            <a:solidFill>
              <a:srgbClr val="F2F2F2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4900"/>
            </a:p>
          </p:txBody>
        </p:sp>
        <p:sp>
          <p:nvSpPr>
            <p:cNvPr id="55" name="Прямоугольник 54">
              <a:extLst>
                <a:ext uri="{FF2B5EF4-FFF2-40B4-BE49-F238E27FC236}">
                  <a16:creationId xmlns:a16="http://schemas.microsoft.com/office/drawing/2014/main" id="{7563E859-2996-47EB-9E4C-3BD6D50A6CC7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auto">
            <a:xfrm>
              <a:off x="9001933" y="6306334"/>
              <a:ext cx="367453" cy="275591"/>
            </a:xfrm>
            <a:prstGeom prst="rect">
              <a:avLst/>
            </a:prstGeom>
            <a:solidFill>
              <a:schemeClr val="accent6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660741">
                <a:defRPr/>
              </a:pPr>
              <a:endParaRPr lang="ru-RU" sz="4900">
                <a:solidFill>
                  <a:prstClr val="white"/>
                </a:solidFill>
                <a:latin typeface="Tahoma"/>
              </a:endParaRPr>
            </a:p>
          </p:txBody>
        </p:sp>
        <p:sp>
          <p:nvSpPr>
            <p:cNvPr id="56" name="Прямоугольник 55">
              <a:extLst>
                <a:ext uri="{FF2B5EF4-FFF2-40B4-BE49-F238E27FC236}">
                  <a16:creationId xmlns:a16="http://schemas.microsoft.com/office/drawing/2014/main" id="{3F87429D-BCDE-43DE-9B70-144D066AD431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auto">
            <a:xfrm>
              <a:off x="9464213" y="5499433"/>
              <a:ext cx="1452033" cy="3141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0" tIns="0" rIns="0" bIns="0" rtlCol="0" anchor="ctr"/>
            <a:lstStyle/>
            <a:p>
              <a:pPr defTabSz="266074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en-US" sz="1800" dirty="0">
                  <a:solidFill>
                    <a:srgbClr val="3E5057"/>
                  </a:solidFill>
                </a:rPr>
                <a:t>Строительство </a:t>
              </a:r>
              <a:endParaRPr lang="ru-RU" sz="1800" dirty="0">
                <a:solidFill>
                  <a:srgbClr val="3E5057"/>
                </a:solidFill>
              </a:endParaRPr>
            </a:p>
          </p:txBody>
        </p:sp>
        <p:sp>
          <p:nvSpPr>
            <p:cNvPr id="57" name="Прямоугольник 56">
              <a:extLst>
                <a:ext uri="{FF2B5EF4-FFF2-40B4-BE49-F238E27FC236}">
                  <a16:creationId xmlns:a16="http://schemas.microsoft.com/office/drawing/2014/main" id="{8B653E47-EC94-429E-8D1C-8E96A61059D0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auto">
            <a:xfrm>
              <a:off x="12620163" y="5989934"/>
              <a:ext cx="1259418" cy="3141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0" tIns="0" rIns="0" bIns="0" rtlCol="0" anchor="ctr"/>
            <a:lstStyle/>
            <a:p>
              <a:pPr defTabSz="266074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en-US" sz="1800" dirty="0">
                  <a:solidFill>
                    <a:srgbClr val="3E5057"/>
                  </a:solidFill>
                </a:rPr>
                <a:t>Промышленность, энергетика </a:t>
              </a:r>
              <a:br>
                <a:rPr lang="ru-RU" altLang="en-US" sz="1800" dirty="0">
                  <a:solidFill>
                    <a:srgbClr val="3E5057"/>
                  </a:solidFill>
                </a:rPr>
              </a:br>
              <a:r>
                <a:rPr lang="ru-RU" altLang="en-US" sz="1800" dirty="0">
                  <a:solidFill>
                    <a:srgbClr val="3E5057"/>
                  </a:solidFill>
                </a:rPr>
                <a:t>и др. индустрии </a:t>
              </a:r>
              <a:endParaRPr lang="ru-RU" sz="1800" dirty="0">
                <a:solidFill>
                  <a:srgbClr val="3E5057"/>
                </a:solidFill>
              </a:endParaRPr>
            </a:p>
          </p:txBody>
        </p:sp>
        <p:sp>
          <p:nvSpPr>
            <p:cNvPr id="58" name="Прямоугольник 57">
              <a:extLst>
                <a:ext uri="{FF2B5EF4-FFF2-40B4-BE49-F238E27FC236}">
                  <a16:creationId xmlns:a16="http://schemas.microsoft.com/office/drawing/2014/main" id="{5B458505-D111-40FB-B3CE-7F4D8D99DCCE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auto">
            <a:xfrm>
              <a:off x="9464213" y="5908373"/>
              <a:ext cx="4830233" cy="3141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0" tIns="0" rIns="0" bIns="0" rtlCol="0" anchor="ctr"/>
            <a:lstStyle/>
            <a:p>
              <a:pPr defTabSz="266074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en-US" sz="1800" dirty="0">
                  <a:solidFill>
                    <a:srgbClr val="3E5057"/>
                  </a:solidFill>
                </a:rPr>
                <a:t>Транспорт</a:t>
              </a:r>
              <a:endParaRPr lang="ru-RU" sz="1800" dirty="0">
                <a:solidFill>
                  <a:srgbClr val="3E5057"/>
                </a:solidFill>
              </a:endParaRPr>
            </a:p>
          </p:txBody>
        </p:sp>
        <p:sp>
          <p:nvSpPr>
            <p:cNvPr id="59" name="Прямоугольник 58">
              <a:extLst>
                <a:ext uri="{FF2B5EF4-FFF2-40B4-BE49-F238E27FC236}">
                  <a16:creationId xmlns:a16="http://schemas.microsoft.com/office/drawing/2014/main" id="{DC0030C9-ACF4-44DD-8AE0-8F424277C871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auto">
            <a:xfrm>
              <a:off x="9464213" y="6297443"/>
              <a:ext cx="542291" cy="3141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0" tIns="0" rIns="0" bIns="0" rtlCol="0" anchor="ctr"/>
            <a:lstStyle/>
            <a:p>
              <a:pPr defTabSz="266074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en-US" sz="1800" dirty="0">
                  <a:solidFill>
                    <a:srgbClr val="3E5057"/>
                  </a:solidFill>
                </a:rPr>
                <a:t>Другое</a:t>
              </a:r>
              <a:endParaRPr lang="ru-RU" sz="1800" dirty="0">
                <a:solidFill>
                  <a:srgbClr val="3E5057"/>
                </a:solidFill>
              </a:endParaRPr>
            </a:p>
          </p:txBody>
        </p:sp>
        <p:sp>
          <p:nvSpPr>
            <p:cNvPr id="63" name="Прямоугольник 62">
              <a:extLst>
                <a:ext uri="{FF2B5EF4-FFF2-40B4-BE49-F238E27FC236}">
                  <a16:creationId xmlns:a16="http://schemas.microsoft.com/office/drawing/2014/main" id="{686158BF-FE65-4DBF-A42D-25ECB04CD569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auto">
            <a:xfrm>
              <a:off x="12157883" y="5519684"/>
              <a:ext cx="367453" cy="275591"/>
            </a:xfrm>
            <a:prstGeom prst="rect">
              <a:avLst/>
            </a:prstGeom>
            <a:solidFill>
              <a:srgbClr val="BADB91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660741">
                <a:defRPr/>
              </a:pPr>
              <a:endParaRPr lang="ru-RU" sz="4900">
                <a:solidFill>
                  <a:prstClr val="white"/>
                </a:solidFill>
                <a:latin typeface="Tahoma"/>
              </a:endParaRPr>
            </a:p>
          </p:txBody>
        </p:sp>
        <p:sp>
          <p:nvSpPr>
            <p:cNvPr id="64" name="Прямоугольник 63">
              <a:extLst>
                <a:ext uri="{FF2B5EF4-FFF2-40B4-BE49-F238E27FC236}">
                  <a16:creationId xmlns:a16="http://schemas.microsoft.com/office/drawing/2014/main" id="{8B653E47-EC94-429E-8D1C-8E96A61059D0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auto">
            <a:xfrm>
              <a:off x="12620163" y="5510795"/>
              <a:ext cx="1769111" cy="3141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0" tIns="0" rIns="0" bIns="0" rtlCol="0" anchor="ctr"/>
            <a:lstStyle/>
            <a:p>
              <a:pPr defTabSz="266074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en-US" sz="1800" dirty="0">
                  <a:solidFill>
                    <a:srgbClr val="3E5057"/>
                  </a:solidFill>
                </a:rPr>
                <a:t>Индустрии, связанные со строительством</a:t>
              </a:r>
              <a:endParaRPr lang="ru-RU" sz="1800" dirty="0">
                <a:solidFill>
                  <a:srgbClr val="3E5057"/>
                </a:solidFill>
              </a:endParaRPr>
            </a:p>
          </p:txBody>
        </p:sp>
      </p:grpSp>
      <p:sp>
        <p:nvSpPr>
          <p:cNvPr id="65" name="TextBox 64"/>
          <p:cNvSpPr txBox="1"/>
          <p:nvPr/>
        </p:nvSpPr>
        <p:spPr>
          <a:xfrm>
            <a:off x="10079344" y="1848492"/>
            <a:ext cx="7668000" cy="4478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b="1" dirty="0">
                <a:solidFill>
                  <a:schemeClr val="accent6"/>
                </a:solidFill>
              </a:rPr>
              <a:t>Энергопотребление 210 </a:t>
            </a:r>
            <a:r>
              <a:rPr lang="en-US" sz="2800" b="1" dirty="0">
                <a:solidFill>
                  <a:schemeClr val="accent6"/>
                </a:solidFill>
              </a:rPr>
              <a:t>EJ</a:t>
            </a:r>
            <a:r>
              <a:rPr lang="en-US" sz="2800" dirty="0">
                <a:solidFill>
                  <a:schemeClr val="accent6"/>
                </a:solidFill>
              </a:rPr>
              <a:t> </a:t>
            </a:r>
            <a:r>
              <a:rPr lang="ru-RU" sz="2800" b="1" dirty="0">
                <a:solidFill>
                  <a:schemeClr val="accent6"/>
                </a:solidFill>
              </a:rPr>
              <a:t>за 2020 г.</a:t>
            </a:r>
            <a:endParaRPr lang="en-US" sz="2800" b="1" dirty="0">
              <a:solidFill>
                <a:schemeClr val="accent6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48437" y="9178175"/>
            <a:ext cx="1773796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4" algn="ctr" defTabSz="1425704">
              <a:spcBef>
                <a:spcPts val="1663"/>
              </a:spcBef>
              <a:buClr>
                <a:srgbClr val="8FC54C"/>
              </a:buClr>
              <a:defRPr/>
            </a:pPr>
            <a:r>
              <a:rPr lang="ru-RU" sz="2800" b="1" spc="-41" dirty="0" err="1">
                <a:solidFill>
                  <a:schemeClr val="accent6"/>
                </a:solidFill>
                <a:ea typeface="Times New Roman" panose="02020603050405020304" pitchFamily="18" charset="0"/>
                <a:cs typeface="Calibri" panose="020F0502020204030204" pitchFamily="34" charset="0"/>
              </a:rPr>
              <a:t>Энергоэффективным</a:t>
            </a:r>
            <a:r>
              <a:rPr lang="ru-RU" sz="2800" b="1" spc="-41" dirty="0">
                <a:solidFill>
                  <a:schemeClr val="accent6"/>
                </a:solidFill>
                <a:ea typeface="Times New Roman" panose="02020603050405020304" pitchFamily="18" charset="0"/>
                <a:cs typeface="Calibri" panose="020F0502020204030204" pitchFamily="34" charset="0"/>
              </a:rPr>
              <a:t> признано только 3% всего жилого фонда МКД, </a:t>
            </a:r>
            <a:br>
              <a:rPr lang="ru-RU" sz="2800" b="1" spc="-41" dirty="0">
                <a:solidFill>
                  <a:schemeClr val="accent6"/>
                </a:solidFill>
                <a:ea typeface="Times New Roman" panose="02020603050405020304" pitchFamily="18" charset="0"/>
                <a:cs typeface="Calibri" panose="020F0502020204030204" pitchFamily="34" charset="0"/>
              </a:rPr>
            </a:br>
            <a:r>
              <a:rPr lang="ru-RU" sz="2800" b="1" spc="-41" dirty="0">
                <a:solidFill>
                  <a:schemeClr val="accent6"/>
                </a:solidFill>
                <a:ea typeface="Times New Roman" panose="02020603050405020304" pitchFamily="18" charset="0"/>
                <a:cs typeface="Calibri" panose="020F0502020204030204" pitchFamily="34" charset="0"/>
              </a:rPr>
              <a:t>30% </a:t>
            </a:r>
            <a:r>
              <a:rPr lang="ru-RU" sz="2800" b="1" spc="-21" dirty="0">
                <a:solidFill>
                  <a:schemeClr val="accent6"/>
                </a:solidFill>
                <a:ea typeface="Times New Roman" panose="02020603050405020304" pitchFamily="18" charset="0"/>
                <a:cs typeface="Calibri" panose="020F0502020204030204" pitchFamily="34" charset="0"/>
              </a:rPr>
              <a:t>жилья в стадии строительства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0458BAE4-C1FC-4B4B-D1B5-29853AF2E614}"/>
              </a:ext>
            </a:extLst>
          </p:cNvPr>
          <p:cNvCxnSpPr>
            <a:cxnSpLocks/>
          </p:cNvCxnSpPr>
          <p:nvPr/>
        </p:nvCxnSpPr>
        <p:spPr>
          <a:xfrm>
            <a:off x="9460460" y="1931464"/>
            <a:ext cx="0" cy="7132325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Заголовок 3"/>
          <p:cNvSpPr txBox="1">
            <a:spLocks/>
          </p:cNvSpPr>
          <p:nvPr/>
        </p:nvSpPr>
        <p:spPr bwMode="auto">
          <a:xfrm>
            <a:off x="382591" y="243649"/>
            <a:ext cx="18293206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18288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2860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27432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2004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defTabSz="1422394">
              <a:defRPr/>
            </a:pPr>
            <a:r>
              <a:rPr lang="ru-RU" altLang="ru-RU" sz="3600" b="1" dirty="0">
                <a:solidFill>
                  <a:srgbClr val="3E5057"/>
                </a:solidFill>
              </a:rPr>
              <a:t>Доля стройки в выбросах парниковых газов (CO2e) </a:t>
            </a:r>
            <a:br>
              <a:rPr lang="ru-RU" altLang="ru-RU" sz="3600" b="1" dirty="0">
                <a:solidFill>
                  <a:srgbClr val="3E5057"/>
                </a:solidFill>
              </a:rPr>
            </a:br>
            <a:r>
              <a:rPr lang="ru-RU" altLang="ru-RU" sz="3600" b="1" dirty="0">
                <a:solidFill>
                  <a:srgbClr val="3E5057"/>
                </a:solidFill>
              </a:rPr>
              <a:t>и потреблении электроэнергии в России</a:t>
            </a:r>
          </a:p>
        </p:txBody>
      </p:sp>
    </p:spTree>
    <p:extLst>
      <p:ext uri="{BB962C8B-B14F-4D97-AF65-F5344CB8AC3E}">
        <p14:creationId xmlns:p14="http://schemas.microsoft.com/office/powerpoint/2010/main" val="1780516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"/>
    </mc:Choice>
    <mc:Fallback xmlns="">
      <p:transition spd="slow" advTm="23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748439" y="1074646"/>
            <a:ext cx="17737966" cy="9189255"/>
            <a:chOff x="2074016" y="1736890"/>
            <a:chExt cx="12723645" cy="6591555"/>
          </a:xfrm>
        </p:grpSpPr>
        <p:sp>
          <p:nvSpPr>
            <p:cNvPr id="61" name="Google Shape;61;p2"/>
            <p:cNvSpPr/>
            <p:nvPr/>
          </p:nvSpPr>
          <p:spPr>
            <a:xfrm>
              <a:off x="4168966" y="4695319"/>
              <a:ext cx="621732" cy="590408"/>
            </a:xfrm>
            <a:prstGeom prst="roundRect">
              <a:avLst>
                <a:gd name="adj" fmla="val 16667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142554" tIns="71257" rIns="142554" bIns="71257" anchor="ctr" anchorCtr="0">
              <a:noAutofit/>
            </a:bodyPr>
            <a:lstStyle/>
            <a:p>
              <a:pPr algn="ctr"/>
              <a:endParaRPr sz="2104">
                <a:solidFill>
                  <a:schemeClr val="lt1"/>
                </a:solidFill>
                <a:latin typeface="Tahoma"/>
                <a:ea typeface="Tahoma"/>
                <a:cs typeface="Tahoma"/>
                <a:sym typeface="Tahoma"/>
              </a:endParaRPr>
            </a:p>
          </p:txBody>
        </p:sp>
        <p:grpSp>
          <p:nvGrpSpPr>
            <p:cNvPr id="62" name="Google Shape;62;p2"/>
            <p:cNvGrpSpPr/>
            <p:nvPr/>
          </p:nvGrpSpPr>
          <p:grpSpPr>
            <a:xfrm>
              <a:off x="3198332" y="1736890"/>
              <a:ext cx="11107454" cy="6125003"/>
              <a:chOff x="962569" y="388114"/>
              <a:chExt cx="7590567" cy="4332989"/>
            </a:xfrm>
          </p:grpSpPr>
          <p:grpSp>
            <p:nvGrpSpPr>
              <p:cNvPr id="63" name="Google Shape;63;p2"/>
              <p:cNvGrpSpPr/>
              <p:nvPr/>
            </p:nvGrpSpPr>
            <p:grpSpPr>
              <a:xfrm>
                <a:off x="962569" y="388114"/>
                <a:ext cx="7590567" cy="4332989"/>
                <a:chOff x="962569" y="388114"/>
                <a:chExt cx="7590567" cy="4332989"/>
              </a:xfrm>
            </p:grpSpPr>
            <p:grpSp>
              <p:nvGrpSpPr>
                <p:cNvPr id="66" name="Google Shape;66;p2"/>
                <p:cNvGrpSpPr/>
                <p:nvPr/>
              </p:nvGrpSpPr>
              <p:grpSpPr>
                <a:xfrm>
                  <a:off x="962569" y="388114"/>
                  <a:ext cx="7590567" cy="4332989"/>
                  <a:chOff x="1315924" y="587694"/>
                  <a:chExt cx="7300844" cy="3933006"/>
                </a:xfrm>
              </p:grpSpPr>
              <p:grpSp>
                <p:nvGrpSpPr>
                  <p:cNvPr id="67" name="Google Shape;67;p2"/>
                  <p:cNvGrpSpPr/>
                  <p:nvPr/>
                </p:nvGrpSpPr>
                <p:grpSpPr>
                  <a:xfrm>
                    <a:off x="1315924" y="587694"/>
                    <a:ext cx="7300844" cy="3933006"/>
                    <a:chOff x="1315924" y="587694"/>
                    <a:chExt cx="7300844" cy="3933006"/>
                  </a:xfrm>
                </p:grpSpPr>
                <p:grpSp>
                  <p:nvGrpSpPr>
                    <p:cNvPr id="69" name="Google Shape;69;p2"/>
                    <p:cNvGrpSpPr/>
                    <p:nvPr/>
                  </p:nvGrpSpPr>
                  <p:grpSpPr>
                    <a:xfrm>
                      <a:off x="1315924" y="587694"/>
                      <a:ext cx="7300844" cy="3933006"/>
                      <a:chOff x="0" y="0"/>
                      <a:chExt cx="6178708" cy="3214530"/>
                    </a:xfrm>
                  </p:grpSpPr>
                  <p:sp>
                    <p:nvSpPr>
                      <p:cNvPr id="70" name="Google Shape;70;p2"/>
                      <p:cNvSpPr/>
                      <p:nvPr/>
                    </p:nvSpPr>
                    <p:spPr>
                      <a:xfrm>
                        <a:off x="4893102" y="632030"/>
                        <a:ext cx="27703" cy="26677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7" h="26" extrusionOk="0">
                            <a:moveTo>
                              <a:pt x="5" y="4"/>
                            </a:moveTo>
                            <a:lnTo>
                              <a:pt x="0" y="18"/>
                            </a:lnTo>
                            <a:lnTo>
                              <a:pt x="13" y="26"/>
                            </a:lnTo>
                            <a:lnTo>
                              <a:pt x="27" y="18"/>
                            </a:lnTo>
                            <a:lnTo>
                              <a:pt x="22" y="0"/>
                            </a:lnTo>
                            <a:lnTo>
                              <a:pt x="5" y="4"/>
                            </a:lnTo>
                            <a:lnTo>
                              <a:pt x="5" y="4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71" name="Google Shape;71;p2"/>
                      <p:cNvSpPr/>
                      <p:nvPr/>
                    </p:nvSpPr>
                    <p:spPr>
                      <a:xfrm>
                        <a:off x="3678291" y="1000372"/>
                        <a:ext cx="37963" cy="4104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7" h="40" extrusionOk="0">
                            <a:moveTo>
                              <a:pt x="0" y="22"/>
                            </a:moveTo>
                            <a:lnTo>
                              <a:pt x="23" y="40"/>
                            </a:lnTo>
                            <a:lnTo>
                              <a:pt x="34" y="24"/>
                            </a:lnTo>
                            <a:lnTo>
                              <a:pt x="37" y="10"/>
                            </a:lnTo>
                            <a:lnTo>
                              <a:pt x="24" y="2"/>
                            </a:lnTo>
                            <a:lnTo>
                              <a:pt x="9" y="0"/>
                            </a:lnTo>
                            <a:lnTo>
                              <a:pt x="0" y="22"/>
                            </a:lnTo>
                            <a:lnTo>
                              <a:pt x="0" y="22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72" name="Google Shape;72;p2"/>
                      <p:cNvSpPr/>
                      <p:nvPr/>
                    </p:nvSpPr>
                    <p:spPr>
                      <a:xfrm>
                        <a:off x="3633146" y="1055777"/>
                        <a:ext cx="33859" cy="31807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" h="31" extrusionOk="0">
                            <a:moveTo>
                              <a:pt x="0" y="22"/>
                            </a:moveTo>
                            <a:lnTo>
                              <a:pt x="7" y="31"/>
                            </a:lnTo>
                            <a:lnTo>
                              <a:pt x="33" y="15"/>
                            </a:lnTo>
                            <a:lnTo>
                              <a:pt x="27" y="0"/>
                            </a:lnTo>
                            <a:lnTo>
                              <a:pt x="11" y="0"/>
                            </a:lnTo>
                            <a:lnTo>
                              <a:pt x="2" y="13"/>
                            </a:lnTo>
                            <a:lnTo>
                              <a:pt x="0" y="22"/>
                            </a:lnTo>
                            <a:lnTo>
                              <a:pt x="0" y="22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73" name="Google Shape;73;p2"/>
                      <p:cNvSpPr/>
                      <p:nvPr/>
                    </p:nvSpPr>
                    <p:spPr>
                      <a:xfrm>
                        <a:off x="4208744" y="836209"/>
                        <a:ext cx="41041" cy="2872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0" h="28" extrusionOk="0">
                            <a:moveTo>
                              <a:pt x="0" y="0"/>
                            </a:moveTo>
                            <a:lnTo>
                              <a:pt x="38" y="5"/>
                            </a:lnTo>
                            <a:lnTo>
                              <a:pt x="40" y="24"/>
                            </a:lnTo>
                            <a:lnTo>
                              <a:pt x="25" y="28"/>
                            </a:lnTo>
                            <a:lnTo>
                              <a:pt x="7" y="17"/>
                            </a:ln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74" name="Google Shape;74;p2"/>
                      <p:cNvSpPr/>
                      <p:nvPr/>
                    </p:nvSpPr>
                    <p:spPr>
                      <a:xfrm>
                        <a:off x="4311347" y="761309"/>
                        <a:ext cx="26677" cy="42067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6" h="41" extrusionOk="0">
                            <a:moveTo>
                              <a:pt x="0" y="10"/>
                            </a:moveTo>
                            <a:lnTo>
                              <a:pt x="7" y="41"/>
                            </a:lnTo>
                            <a:lnTo>
                              <a:pt x="23" y="41"/>
                            </a:lnTo>
                            <a:lnTo>
                              <a:pt x="26" y="13"/>
                            </a:lnTo>
                            <a:lnTo>
                              <a:pt x="10" y="0"/>
                            </a:lnTo>
                            <a:lnTo>
                              <a:pt x="0" y="10"/>
                            </a:lnTo>
                            <a:lnTo>
                              <a:pt x="0" y="10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75" name="Google Shape;75;p2"/>
                      <p:cNvSpPr/>
                      <p:nvPr/>
                    </p:nvSpPr>
                    <p:spPr>
                      <a:xfrm>
                        <a:off x="4347258" y="768491"/>
                        <a:ext cx="77978" cy="6464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76" h="63" extrusionOk="0">
                            <a:moveTo>
                              <a:pt x="0" y="29"/>
                            </a:moveTo>
                            <a:lnTo>
                              <a:pt x="0" y="63"/>
                            </a:lnTo>
                            <a:lnTo>
                              <a:pt x="39" y="55"/>
                            </a:lnTo>
                            <a:lnTo>
                              <a:pt x="76" y="36"/>
                            </a:lnTo>
                            <a:lnTo>
                              <a:pt x="63" y="8"/>
                            </a:lnTo>
                            <a:lnTo>
                              <a:pt x="39" y="4"/>
                            </a:lnTo>
                            <a:lnTo>
                              <a:pt x="21" y="0"/>
                            </a:lnTo>
                            <a:lnTo>
                              <a:pt x="8" y="20"/>
                            </a:lnTo>
                            <a:lnTo>
                              <a:pt x="0" y="29"/>
                            </a:lnTo>
                            <a:lnTo>
                              <a:pt x="0" y="29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76" name="Google Shape;76;p2"/>
                      <p:cNvSpPr/>
                      <p:nvPr/>
                    </p:nvSpPr>
                    <p:spPr>
                      <a:xfrm>
                        <a:off x="4360596" y="552001"/>
                        <a:ext cx="110810" cy="7284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08" h="71" extrusionOk="0">
                            <a:moveTo>
                              <a:pt x="0" y="45"/>
                            </a:moveTo>
                            <a:lnTo>
                              <a:pt x="11" y="70"/>
                            </a:lnTo>
                            <a:lnTo>
                              <a:pt x="86" y="71"/>
                            </a:lnTo>
                            <a:lnTo>
                              <a:pt x="108" y="31"/>
                            </a:lnTo>
                            <a:lnTo>
                              <a:pt x="94" y="0"/>
                            </a:lnTo>
                            <a:lnTo>
                              <a:pt x="78" y="18"/>
                            </a:lnTo>
                            <a:lnTo>
                              <a:pt x="47" y="15"/>
                            </a:lnTo>
                            <a:lnTo>
                              <a:pt x="39" y="29"/>
                            </a:lnTo>
                            <a:lnTo>
                              <a:pt x="22" y="29"/>
                            </a:lnTo>
                            <a:lnTo>
                              <a:pt x="20" y="46"/>
                            </a:lnTo>
                            <a:lnTo>
                              <a:pt x="0" y="45"/>
                            </a:lnTo>
                            <a:lnTo>
                              <a:pt x="0" y="45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77" name="Google Shape;77;p2"/>
                      <p:cNvSpPr/>
                      <p:nvPr/>
                    </p:nvSpPr>
                    <p:spPr>
                      <a:xfrm>
                        <a:off x="4325711" y="469919"/>
                        <a:ext cx="20520" cy="2257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0" h="22" extrusionOk="0">
                            <a:moveTo>
                              <a:pt x="5" y="0"/>
                            </a:moveTo>
                            <a:lnTo>
                              <a:pt x="0" y="19"/>
                            </a:lnTo>
                            <a:lnTo>
                              <a:pt x="15" y="22"/>
                            </a:lnTo>
                            <a:lnTo>
                              <a:pt x="20" y="6"/>
                            </a:lnTo>
                            <a:lnTo>
                              <a:pt x="5" y="0"/>
                            </a:lnTo>
                            <a:lnTo>
                              <a:pt x="5" y="0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78" name="Google Shape;78;p2"/>
                      <p:cNvSpPr/>
                      <p:nvPr/>
                    </p:nvSpPr>
                    <p:spPr>
                      <a:xfrm>
                        <a:off x="4176938" y="610484"/>
                        <a:ext cx="164164" cy="15287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60" h="149" extrusionOk="0">
                            <a:moveTo>
                              <a:pt x="110" y="25"/>
                            </a:moveTo>
                            <a:lnTo>
                              <a:pt x="127" y="51"/>
                            </a:lnTo>
                            <a:lnTo>
                              <a:pt x="160" y="58"/>
                            </a:lnTo>
                            <a:lnTo>
                              <a:pt x="160" y="21"/>
                            </a:lnTo>
                            <a:lnTo>
                              <a:pt x="150" y="2"/>
                            </a:lnTo>
                            <a:lnTo>
                              <a:pt x="111" y="0"/>
                            </a:lnTo>
                            <a:lnTo>
                              <a:pt x="91" y="14"/>
                            </a:lnTo>
                            <a:lnTo>
                              <a:pt x="61" y="9"/>
                            </a:lnTo>
                            <a:lnTo>
                              <a:pt x="58" y="30"/>
                            </a:lnTo>
                            <a:lnTo>
                              <a:pt x="77" y="49"/>
                            </a:lnTo>
                            <a:lnTo>
                              <a:pt x="67" y="60"/>
                            </a:lnTo>
                            <a:lnTo>
                              <a:pt x="37" y="36"/>
                            </a:lnTo>
                            <a:lnTo>
                              <a:pt x="3" y="40"/>
                            </a:lnTo>
                            <a:lnTo>
                              <a:pt x="0" y="68"/>
                            </a:lnTo>
                            <a:lnTo>
                              <a:pt x="3" y="97"/>
                            </a:lnTo>
                            <a:lnTo>
                              <a:pt x="19" y="117"/>
                            </a:lnTo>
                            <a:lnTo>
                              <a:pt x="25" y="139"/>
                            </a:lnTo>
                            <a:lnTo>
                              <a:pt x="57" y="149"/>
                            </a:lnTo>
                            <a:lnTo>
                              <a:pt x="87" y="146"/>
                            </a:lnTo>
                            <a:lnTo>
                              <a:pt x="85" y="114"/>
                            </a:lnTo>
                            <a:lnTo>
                              <a:pt x="106" y="117"/>
                            </a:lnTo>
                            <a:lnTo>
                              <a:pt x="123" y="89"/>
                            </a:lnTo>
                            <a:lnTo>
                              <a:pt x="143" y="94"/>
                            </a:lnTo>
                            <a:lnTo>
                              <a:pt x="156" y="79"/>
                            </a:lnTo>
                            <a:lnTo>
                              <a:pt x="143" y="65"/>
                            </a:lnTo>
                            <a:lnTo>
                              <a:pt x="114" y="57"/>
                            </a:lnTo>
                            <a:lnTo>
                              <a:pt x="91" y="30"/>
                            </a:lnTo>
                            <a:lnTo>
                              <a:pt x="110" y="25"/>
                            </a:lnTo>
                            <a:lnTo>
                              <a:pt x="110" y="25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79" name="Google Shape;79;p2"/>
                      <p:cNvSpPr/>
                      <p:nvPr/>
                    </p:nvSpPr>
                    <p:spPr>
                      <a:xfrm>
                        <a:off x="4138975" y="706930"/>
                        <a:ext cx="38989" cy="47197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8" h="46" extrusionOk="0">
                            <a:moveTo>
                              <a:pt x="0" y="0"/>
                            </a:moveTo>
                            <a:lnTo>
                              <a:pt x="5" y="23"/>
                            </a:lnTo>
                            <a:lnTo>
                              <a:pt x="25" y="46"/>
                            </a:lnTo>
                            <a:lnTo>
                              <a:pt x="38" y="41"/>
                            </a:lnTo>
                            <a:lnTo>
                              <a:pt x="23" y="14"/>
                            </a:ln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80" name="Google Shape;80;p2"/>
                      <p:cNvSpPr/>
                      <p:nvPr/>
                    </p:nvSpPr>
                    <p:spPr>
                      <a:xfrm>
                        <a:off x="3590053" y="656655"/>
                        <a:ext cx="1579049" cy="174321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539" h="1699" extrusionOk="0">
                            <a:moveTo>
                              <a:pt x="1398" y="0"/>
                            </a:moveTo>
                            <a:lnTo>
                              <a:pt x="1388" y="20"/>
                            </a:lnTo>
                            <a:lnTo>
                              <a:pt x="1334" y="50"/>
                            </a:lnTo>
                            <a:lnTo>
                              <a:pt x="1294" y="13"/>
                            </a:lnTo>
                            <a:lnTo>
                              <a:pt x="1255" y="9"/>
                            </a:lnTo>
                            <a:lnTo>
                              <a:pt x="1198" y="45"/>
                            </a:lnTo>
                            <a:lnTo>
                              <a:pt x="1160" y="93"/>
                            </a:lnTo>
                            <a:lnTo>
                              <a:pt x="1146" y="141"/>
                            </a:lnTo>
                            <a:lnTo>
                              <a:pt x="1120" y="149"/>
                            </a:lnTo>
                            <a:lnTo>
                              <a:pt x="1088" y="133"/>
                            </a:lnTo>
                            <a:lnTo>
                              <a:pt x="1058" y="136"/>
                            </a:lnTo>
                            <a:lnTo>
                              <a:pt x="1042" y="157"/>
                            </a:lnTo>
                            <a:lnTo>
                              <a:pt x="1028" y="145"/>
                            </a:lnTo>
                            <a:lnTo>
                              <a:pt x="1015" y="159"/>
                            </a:lnTo>
                            <a:lnTo>
                              <a:pt x="1000" y="144"/>
                            </a:lnTo>
                            <a:lnTo>
                              <a:pt x="1023" y="121"/>
                            </a:lnTo>
                            <a:lnTo>
                              <a:pt x="969" y="118"/>
                            </a:lnTo>
                            <a:lnTo>
                              <a:pt x="939" y="144"/>
                            </a:lnTo>
                            <a:lnTo>
                              <a:pt x="955" y="202"/>
                            </a:lnTo>
                            <a:lnTo>
                              <a:pt x="925" y="231"/>
                            </a:lnTo>
                            <a:lnTo>
                              <a:pt x="925" y="187"/>
                            </a:lnTo>
                            <a:lnTo>
                              <a:pt x="904" y="187"/>
                            </a:lnTo>
                            <a:lnTo>
                              <a:pt x="883" y="205"/>
                            </a:lnTo>
                            <a:lnTo>
                              <a:pt x="878" y="182"/>
                            </a:lnTo>
                            <a:lnTo>
                              <a:pt x="909" y="155"/>
                            </a:lnTo>
                            <a:lnTo>
                              <a:pt x="876" y="157"/>
                            </a:lnTo>
                            <a:lnTo>
                              <a:pt x="779" y="206"/>
                            </a:lnTo>
                            <a:lnTo>
                              <a:pt x="798" y="229"/>
                            </a:lnTo>
                            <a:lnTo>
                              <a:pt x="771" y="256"/>
                            </a:lnTo>
                            <a:lnTo>
                              <a:pt x="782" y="276"/>
                            </a:lnTo>
                            <a:lnTo>
                              <a:pt x="801" y="266"/>
                            </a:lnTo>
                            <a:lnTo>
                              <a:pt x="803" y="294"/>
                            </a:lnTo>
                            <a:lnTo>
                              <a:pt x="827" y="322"/>
                            </a:lnTo>
                            <a:lnTo>
                              <a:pt x="790" y="331"/>
                            </a:lnTo>
                            <a:lnTo>
                              <a:pt x="779" y="345"/>
                            </a:lnTo>
                            <a:lnTo>
                              <a:pt x="789" y="369"/>
                            </a:lnTo>
                            <a:lnTo>
                              <a:pt x="760" y="374"/>
                            </a:lnTo>
                            <a:lnTo>
                              <a:pt x="720" y="362"/>
                            </a:lnTo>
                            <a:lnTo>
                              <a:pt x="708" y="407"/>
                            </a:lnTo>
                            <a:lnTo>
                              <a:pt x="641" y="395"/>
                            </a:lnTo>
                            <a:lnTo>
                              <a:pt x="641" y="494"/>
                            </a:lnTo>
                            <a:lnTo>
                              <a:pt x="594" y="486"/>
                            </a:lnTo>
                            <a:lnTo>
                              <a:pt x="520" y="419"/>
                            </a:lnTo>
                            <a:lnTo>
                              <a:pt x="547" y="401"/>
                            </a:lnTo>
                            <a:lnTo>
                              <a:pt x="503" y="335"/>
                            </a:lnTo>
                            <a:lnTo>
                              <a:pt x="474" y="321"/>
                            </a:lnTo>
                            <a:lnTo>
                              <a:pt x="431" y="335"/>
                            </a:lnTo>
                            <a:lnTo>
                              <a:pt x="382" y="317"/>
                            </a:lnTo>
                            <a:lnTo>
                              <a:pt x="376" y="392"/>
                            </a:lnTo>
                            <a:lnTo>
                              <a:pt x="288" y="429"/>
                            </a:lnTo>
                            <a:lnTo>
                              <a:pt x="254" y="407"/>
                            </a:lnTo>
                            <a:lnTo>
                              <a:pt x="259" y="389"/>
                            </a:lnTo>
                            <a:lnTo>
                              <a:pt x="169" y="388"/>
                            </a:lnTo>
                            <a:lnTo>
                              <a:pt x="146" y="419"/>
                            </a:lnTo>
                            <a:lnTo>
                              <a:pt x="140" y="440"/>
                            </a:lnTo>
                            <a:lnTo>
                              <a:pt x="134" y="410"/>
                            </a:lnTo>
                            <a:lnTo>
                              <a:pt x="117" y="395"/>
                            </a:lnTo>
                            <a:lnTo>
                              <a:pt x="97" y="416"/>
                            </a:lnTo>
                            <a:lnTo>
                              <a:pt x="70" y="429"/>
                            </a:lnTo>
                            <a:lnTo>
                              <a:pt x="68" y="448"/>
                            </a:lnTo>
                            <a:lnTo>
                              <a:pt x="81" y="465"/>
                            </a:lnTo>
                            <a:lnTo>
                              <a:pt x="81" y="466"/>
                            </a:lnTo>
                            <a:lnTo>
                              <a:pt x="81" y="466"/>
                            </a:lnTo>
                            <a:lnTo>
                              <a:pt x="87" y="497"/>
                            </a:lnTo>
                            <a:lnTo>
                              <a:pt x="129" y="556"/>
                            </a:lnTo>
                            <a:lnTo>
                              <a:pt x="130" y="557"/>
                            </a:lnTo>
                            <a:lnTo>
                              <a:pt x="130" y="557"/>
                            </a:lnTo>
                            <a:lnTo>
                              <a:pt x="130" y="596"/>
                            </a:lnTo>
                            <a:lnTo>
                              <a:pt x="151" y="622"/>
                            </a:lnTo>
                            <a:lnTo>
                              <a:pt x="152" y="624"/>
                            </a:lnTo>
                            <a:lnTo>
                              <a:pt x="151" y="625"/>
                            </a:lnTo>
                            <a:lnTo>
                              <a:pt x="101" y="664"/>
                            </a:lnTo>
                            <a:lnTo>
                              <a:pt x="99" y="687"/>
                            </a:lnTo>
                            <a:lnTo>
                              <a:pt x="99" y="687"/>
                            </a:lnTo>
                            <a:lnTo>
                              <a:pt x="99" y="688"/>
                            </a:lnTo>
                            <a:lnTo>
                              <a:pt x="87" y="705"/>
                            </a:lnTo>
                            <a:lnTo>
                              <a:pt x="78" y="747"/>
                            </a:lnTo>
                            <a:lnTo>
                              <a:pt x="78" y="748"/>
                            </a:lnTo>
                            <a:lnTo>
                              <a:pt x="76" y="748"/>
                            </a:lnTo>
                            <a:lnTo>
                              <a:pt x="52" y="746"/>
                            </a:lnTo>
                            <a:lnTo>
                              <a:pt x="13" y="778"/>
                            </a:lnTo>
                            <a:lnTo>
                              <a:pt x="13" y="778"/>
                            </a:lnTo>
                            <a:lnTo>
                              <a:pt x="13" y="778"/>
                            </a:lnTo>
                            <a:lnTo>
                              <a:pt x="0" y="784"/>
                            </a:lnTo>
                            <a:lnTo>
                              <a:pt x="31" y="832"/>
                            </a:lnTo>
                            <a:lnTo>
                              <a:pt x="31" y="832"/>
                            </a:lnTo>
                            <a:lnTo>
                              <a:pt x="31" y="832"/>
                            </a:lnTo>
                            <a:lnTo>
                              <a:pt x="42" y="965"/>
                            </a:lnTo>
                            <a:lnTo>
                              <a:pt x="42" y="965"/>
                            </a:lnTo>
                            <a:lnTo>
                              <a:pt x="41" y="966"/>
                            </a:lnTo>
                            <a:lnTo>
                              <a:pt x="14" y="996"/>
                            </a:lnTo>
                            <a:lnTo>
                              <a:pt x="32" y="1010"/>
                            </a:lnTo>
                            <a:lnTo>
                              <a:pt x="32" y="1011"/>
                            </a:lnTo>
                            <a:lnTo>
                              <a:pt x="32" y="1012"/>
                            </a:lnTo>
                            <a:lnTo>
                              <a:pt x="25" y="1047"/>
                            </a:lnTo>
                            <a:lnTo>
                              <a:pt x="41" y="1064"/>
                            </a:lnTo>
                            <a:lnTo>
                              <a:pt x="42" y="1065"/>
                            </a:lnTo>
                            <a:lnTo>
                              <a:pt x="42" y="1066"/>
                            </a:lnTo>
                            <a:lnTo>
                              <a:pt x="42" y="1090"/>
                            </a:lnTo>
                            <a:lnTo>
                              <a:pt x="60" y="1103"/>
                            </a:lnTo>
                            <a:lnTo>
                              <a:pt x="62" y="1104"/>
                            </a:lnTo>
                            <a:lnTo>
                              <a:pt x="61" y="1105"/>
                            </a:lnTo>
                            <a:lnTo>
                              <a:pt x="52" y="1129"/>
                            </a:lnTo>
                            <a:lnTo>
                              <a:pt x="52" y="1130"/>
                            </a:lnTo>
                            <a:lnTo>
                              <a:pt x="52" y="1130"/>
                            </a:lnTo>
                            <a:lnTo>
                              <a:pt x="23" y="1164"/>
                            </a:lnTo>
                            <a:lnTo>
                              <a:pt x="21" y="1189"/>
                            </a:lnTo>
                            <a:lnTo>
                              <a:pt x="67" y="1189"/>
                            </a:lnTo>
                            <a:lnTo>
                              <a:pt x="67" y="1189"/>
                            </a:lnTo>
                            <a:lnTo>
                              <a:pt x="68" y="1189"/>
                            </a:lnTo>
                            <a:lnTo>
                              <a:pt x="88" y="1205"/>
                            </a:lnTo>
                            <a:lnTo>
                              <a:pt x="109" y="1191"/>
                            </a:lnTo>
                            <a:lnTo>
                              <a:pt x="111" y="1190"/>
                            </a:lnTo>
                            <a:lnTo>
                              <a:pt x="111" y="1191"/>
                            </a:lnTo>
                            <a:lnTo>
                              <a:pt x="124" y="1206"/>
                            </a:lnTo>
                            <a:lnTo>
                              <a:pt x="125" y="1207"/>
                            </a:lnTo>
                            <a:lnTo>
                              <a:pt x="125" y="1207"/>
                            </a:lnTo>
                            <a:lnTo>
                              <a:pt x="141" y="1231"/>
                            </a:lnTo>
                            <a:lnTo>
                              <a:pt x="141" y="1232"/>
                            </a:lnTo>
                            <a:lnTo>
                              <a:pt x="140" y="1234"/>
                            </a:lnTo>
                            <a:lnTo>
                              <a:pt x="122" y="1245"/>
                            </a:lnTo>
                            <a:lnTo>
                              <a:pt x="122" y="1266"/>
                            </a:lnTo>
                            <a:lnTo>
                              <a:pt x="142" y="1268"/>
                            </a:lnTo>
                            <a:lnTo>
                              <a:pt x="158" y="1256"/>
                            </a:lnTo>
                            <a:lnTo>
                              <a:pt x="160" y="1255"/>
                            </a:lnTo>
                            <a:lnTo>
                              <a:pt x="161" y="1257"/>
                            </a:lnTo>
                            <a:lnTo>
                              <a:pt x="181" y="1296"/>
                            </a:lnTo>
                            <a:lnTo>
                              <a:pt x="181" y="1296"/>
                            </a:lnTo>
                            <a:lnTo>
                              <a:pt x="181" y="1297"/>
                            </a:lnTo>
                            <a:lnTo>
                              <a:pt x="180" y="1343"/>
                            </a:lnTo>
                            <a:lnTo>
                              <a:pt x="206" y="1358"/>
                            </a:lnTo>
                            <a:lnTo>
                              <a:pt x="207" y="1359"/>
                            </a:lnTo>
                            <a:lnTo>
                              <a:pt x="207" y="1360"/>
                            </a:lnTo>
                            <a:lnTo>
                              <a:pt x="195" y="1409"/>
                            </a:lnTo>
                            <a:lnTo>
                              <a:pt x="210" y="1442"/>
                            </a:lnTo>
                            <a:lnTo>
                              <a:pt x="243" y="1452"/>
                            </a:lnTo>
                            <a:lnTo>
                              <a:pt x="245" y="1452"/>
                            </a:lnTo>
                            <a:lnTo>
                              <a:pt x="244" y="1454"/>
                            </a:lnTo>
                            <a:lnTo>
                              <a:pt x="219" y="1513"/>
                            </a:lnTo>
                            <a:lnTo>
                              <a:pt x="214" y="1587"/>
                            </a:lnTo>
                            <a:lnTo>
                              <a:pt x="239" y="1614"/>
                            </a:lnTo>
                            <a:lnTo>
                              <a:pt x="267" y="1593"/>
                            </a:lnTo>
                            <a:lnTo>
                              <a:pt x="268" y="1593"/>
                            </a:lnTo>
                            <a:lnTo>
                              <a:pt x="268" y="1593"/>
                            </a:lnTo>
                            <a:lnTo>
                              <a:pt x="309" y="1591"/>
                            </a:lnTo>
                            <a:lnTo>
                              <a:pt x="324" y="1565"/>
                            </a:lnTo>
                            <a:lnTo>
                              <a:pt x="326" y="1562"/>
                            </a:lnTo>
                            <a:lnTo>
                              <a:pt x="327" y="1564"/>
                            </a:lnTo>
                            <a:lnTo>
                              <a:pt x="350" y="1586"/>
                            </a:lnTo>
                            <a:lnTo>
                              <a:pt x="379" y="1553"/>
                            </a:lnTo>
                            <a:lnTo>
                              <a:pt x="425" y="1454"/>
                            </a:lnTo>
                            <a:lnTo>
                              <a:pt x="425" y="1453"/>
                            </a:lnTo>
                            <a:lnTo>
                              <a:pt x="426" y="1453"/>
                            </a:lnTo>
                            <a:lnTo>
                              <a:pt x="456" y="1448"/>
                            </a:lnTo>
                            <a:lnTo>
                              <a:pt x="457" y="1448"/>
                            </a:lnTo>
                            <a:lnTo>
                              <a:pt x="458" y="1448"/>
                            </a:lnTo>
                            <a:lnTo>
                              <a:pt x="517" y="1472"/>
                            </a:lnTo>
                            <a:lnTo>
                              <a:pt x="518" y="1472"/>
                            </a:lnTo>
                            <a:lnTo>
                              <a:pt x="518" y="1473"/>
                            </a:lnTo>
                            <a:lnTo>
                              <a:pt x="531" y="1512"/>
                            </a:lnTo>
                            <a:lnTo>
                              <a:pt x="567" y="1496"/>
                            </a:lnTo>
                            <a:lnTo>
                              <a:pt x="568" y="1495"/>
                            </a:lnTo>
                            <a:lnTo>
                              <a:pt x="569" y="1496"/>
                            </a:lnTo>
                            <a:lnTo>
                              <a:pt x="591" y="1511"/>
                            </a:lnTo>
                            <a:lnTo>
                              <a:pt x="591" y="1511"/>
                            </a:lnTo>
                            <a:lnTo>
                              <a:pt x="591" y="1512"/>
                            </a:lnTo>
                            <a:lnTo>
                              <a:pt x="632" y="1603"/>
                            </a:lnTo>
                            <a:lnTo>
                              <a:pt x="683" y="1699"/>
                            </a:lnTo>
                            <a:lnTo>
                              <a:pt x="716" y="1678"/>
                            </a:lnTo>
                            <a:lnTo>
                              <a:pt x="717" y="1678"/>
                            </a:lnTo>
                            <a:lnTo>
                              <a:pt x="717" y="1678"/>
                            </a:lnTo>
                            <a:lnTo>
                              <a:pt x="751" y="1664"/>
                            </a:lnTo>
                            <a:lnTo>
                              <a:pt x="752" y="1664"/>
                            </a:lnTo>
                            <a:lnTo>
                              <a:pt x="752" y="1664"/>
                            </a:lnTo>
                            <a:lnTo>
                              <a:pt x="778" y="1686"/>
                            </a:lnTo>
                            <a:lnTo>
                              <a:pt x="793" y="1673"/>
                            </a:lnTo>
                            <a:lnTo>
                              <a:pt x="794" y="1672"/>
                            </a:lnTo>
                            <a:lnTo>
                              <a:pt x="795" y="1673"/>
                            </a:lnTo>
                            <a:lnTo>
                              <a:pt x="816" y="1692"/>
                            </a:lnTo>
                            <a:lnTo>
                              <a:pt x="835" y="1673"/>
                            </a:lnTo>
                            <a:lnTo>
                              <a:pt x="836" y="1673"/>
                            </a:lnTo>
                            <a:lnTo>
                              <a:pt x="836" y="1673"/>
                            </a:lnTo>
                            <a:lnTo>
                              <a:pt x="884" y="1674"/>
                            </a:lnTo>
                            <a:lnTo>
                              <a:pt x="885" y="1674"/>
                            </a:lnTo>
                            <a:lnTo>
                              <a:pt x="885" y="1674"/>
                            </a:lnTo>
                            <a:lnTo>
                              <a:pt x="915" y="1698"/>
                            </a:lnTo>
                            <a:lnTo>
                              <a:pt x="974" y="1676"/>
                            </a:lnTo>
                            <a:lnTo>
                              <a:pt x="974" y="1676"/>
                            </a:lnTo>
                            <a:lnTo>
                              <a:pt x="975" y="1676"/>
                            </a:lnTo>
                            <a:lnTo>
                              <a:pt x="995" y="1693"/>
                            </a:lnTo>
                            <a:lnTo>
                              <a:pt x="1076" y="1656"/>
                            </a:lnTo>
                            <a:lnTo>
                              <a:pt x="1076" y="1655"/>
                            </a:lnTo>
                            <a:lnTo>
                              <a:pt x="1077" y="1655"/>
                            </a:lnTo>
                            <a:lnTo>
                              <a:pt x="1100" y="1660"/>
                            </a:lnTo>
                            <a:lnTo>
                              <a:pt x="1126" y="1651"/>
                            </a:lnTo>
                            <a:lnTo>
                              <a:pt x="1122" y="1632"/>
                            </a:lnTo>
                            <a:lnTo>
                              <a:pt x="1122" y="1631"/>
                            </a:lnTo>
                            <a:lnTo>
                              <a:pt x="1123" y="1630"/>
                            </a:lnTo>
                            <a:lnTo>
                              <a:pt x="1186" y="1598"/>
                            </a:lnTo>
                            <a:lnTo>
                              <a:pt x="1170" y="1554"/>
                            </a:lnTo>
                            <a:lnTo>
                              <a:pt x="1170" y="1553"/>
                            </a:lnTo>
                            <a:lnTo>
                              <a:pt x="1171" y="1552"/>
                            </a:lnTo>
                            <a:lnTo>
                              <a:pt x="1191" y="1530"/>
                            </a:lnTo>
                            <a:lnTo>
                              <a:pt x="1183" y="1508"/>
                            </a:lnTo>
                            <a:lnTo>
                              <a:pt x="1143" y="1482"/>
                            </a:lnTo>
                            <a:lnTo>
                              <a:pt x="1142" y="1481"/>
                            </a:lnTo>
                            <a:lnTo>
                              <a:pt x="1142" y="1479"/>
                            </a:lnTo>
                            <a:lnTo>
                              <a:pt x="1163" y="1439"/>
                            </a:lnTo>
                            <a:lnTo>
                              <a:pt x="1124" y="1412"/>
                            </a:lnTo>
                            <a:lnTo>
                              <a:pt x="1122" y="1411"/>
                            </a:lnTo>
                            <a:lnTo>
                              <a:pt x="1124" y="1409"/>
                            </a:lnTo>
                            <a:lnTo>
                              <a:pt x="1142" y="1388"/>
                            </a:lnTo>
                            <a:lnTo>
                              <a:pt x="1142" y="1299"/>
                            </a:lnTo>
                            <a:lnTo>
                              <a:pt x="1142" y="1297"/>
                            </a:lnTo>
                            <a:lnTo>
                              <a:pt x="1143" y="1297"/>
                            </a:lnTo>
                            <a:lnTo>
                              <a:pt x="1220" y="1268"/>
                            </a:lnTo>
                            <a:lnTo>
                              <a:pt x="1223" y="1233"/>
                            </a:lnTo>
                            <a:lnTo>
                              <a:pt x="1223" y="1231"/>
                            </a:lnTo>
                            <a:lnTo>
                              <a:pt x="1225" y="1231"/>
                            </a:lnTo>
                            <a:lnTo>
                              <a:pt x="1270" y="1228"/>
                            </a:lnTo>
                            <a:lnTo>
                              <a:pt x="1280" y="1200"/>
                            </a:lnTo>
                            <a:lnTo>
                              <a:pt x="1279" y="1171"/>
                            </a:lnTo>
                            <a:lnTo>
                              <a:pt x="1279" y="1170"/>
                            </a:lnTo>
                            <a:lnTo>
                              <a:pt x="1280" y="1169"/>
                            </a:lnTo>
                            <a:lnTo>
                              <a:pt x="1302" y="1159"/>
                            </a:lnTo>
                            <a:lnTo>
                              <a:pt x="1285" y="1101"/>
                            </a:lnTo>
                            <a:lnTo>
                              <a:pt x="1255" y="1079"/>
                            </a:lnTo>
                            <a:lnTo>
                              <a:pt x="1254" y="1078"/>
                            </a:lnTo>
                            <a:lnTo>
                              <a:pt x="1254" y="1078"/>
                            </a:lnTo>
                            <a:lnTo>
                              <a:pt x="1274" y="1007"/>
                            </a:lnTo>
                            <a:lnTo>
                              <a:pt x="1246" y="933"/>
                            </a:lnTo>
                            <a:lnTo>
                              <a:pt x="1246" y="931"/>
                            </a:lnTo>
                            <a:lnTo>
                              <a:pt x="1246" y="931"/>
                            </a:lnTo>
                            <a:lnTo>
                              <a:pt x="1262" y="911"/>
                            </a:lnTo>
                            <a:lnTo>
                              <a:pt x="1263" y="910"/>
                            </a:lnTo>
                            <a:lnTo>
                              <a:pt x="1264" y="910"/>
                            </a:lnTo>
                            <a:lnTo>
                              <a:pt x="1318" y="928"/>
                            </a:lnTo>
                            <a:lnTo>
                              <a:pt x="1352" y="921"/>
                            </a:lnTo>
                            <a:lnTo>
                              <a:pt x="1364" y="900"/>
                            </a:lnTo>
                            <a:lnTo>
                              <a:pt x="1365" y="899"/>
                            </a:lnTo>
                            <a:lnTo>
                              <a:pt x="1366" y="899"/>
                            </a:lnTo>
                            <a:lnTo>
                              <a:pt x="1407" y="893"/>
                            </a:lnTo>
                            <a:lnTo>
                              <a:pt x="1414" y="867"/>
                            </a:lnTo>
                            <a:lnTo>
                              <a:pt x="1346" y="726"/>
                            </a:lnTo>
                            <a:lnTo>
                              <a:pt x="1346" y="726"/>
                            </a:lnTo>
                            <a:lnTo>
                              <a:pt x="1346" y="725"/>
                            </a:lnTo>
                            <a:lnTo>
                              <a:pt x="1353" y="690"/>
                            </a:lnTo>
                            <a:lnTo>
                              <a:pt x="1353" y="690"/>
                            </a:lnTo>
                            <a:lnTo>
                              <a:pt x="1354" y="689"/>
                            </a:lnTo>
                            <a:lnTo>
                              <a:pt x="1399" y="657"/>
                            </a:lnTo>
                            <a:lnTo>
                              <a:pt x="1382" y="625"/>
                            </a:lnTo>
                            <a:lnTo>
                              <a:pt x="1381" y="623"/>
                            </a:lnTo>
                            <a:lnTo>
                              <a:pt x="1382" y="622"/>
                            </a:lnTo>
                            <a:lnTo>
                              <a:pt x="1426" y="581"/>
                            </a:lnTo>
                            <a:lnTo>
                              <a:pt x="1427" y="581"/>
                            </a:lnTo>
                            <a:lnTo>
                              <a:pt x="1427" y="581"/>
                            </a:lnTo>
                            <a:lnTo>
                              <a:pt x="1467" y="576"/>
                            </a:lnTo>
                            <a:lnTo>
                              <a:pt x="1489" y="551"/>
                            </a:lnTo>
                            <a:lnTo>
                              <a:pt x="1493" y="507"/>
                            </a:lnTo>
                            <a:lnTo>
                              <a:pt x="1467" y="485"/>
                            </a:lnTo>
                            <a:lnTo>
                              <a:pt x="1467" y="484"/>
                            </a:lnTo>
                            <a:lnTo>
                              <a:pt x="1467" y="483"/>
                            </a:lnTo>
                            <a:lnTo>
                              <a:pt x="1465" y="455"/>
                            </a:lnTo>
                            <a:lnTo>
                              <a:pt x="1449" y="431"/>
                            </a:lnTo>
                            <a:lnTo>
                              <a:pt x="1448" y="429"/>
                            </a:lnTo>
                            <a:lnTo>
                              <a:pt x="1449" y="428"/>
                            </a:lnTo>
                            <a:lnTo>
                              <a:pt x="1469" y="410"/>
                            </a:lnTo>
                            <a:lnTo>
                              <a:pt x="1448" y="385"/>
                            </a:lnTo>
                            <a:lnTo>
                              <a:pt x="1447" y="384"/>
                            </a:lnTo>
                            <a:lnTo>
                              <a:pt x="1448" y="383"/>
                            </a:lnTo>
                            <a:lnTo>
                              <a:pt x="1499" y="336"/>
                            </a:lnTo>
                            <a:lnTo>
                              <a:pt x="1499" y="336"/>
                            </a:lnTo>
                            <a:lnTo>
                              <a:pt x="1500" y="336"/>
                            </a:lnTo>
                            <a:lnTo>
                              <a:pt x="1522" y="326"/>
                            </a:lnTo>
                            <a:lnTo>
                              <a:pt x="1539" y="301"/>
                            </a:lnTo>
                            <a:lnTo>
                              <a:pt x="1507" y="235"/>
                            </a:lnTo>
                            <a:lnTo>
                              <a:pt x="1467" y="235"/>
                            </a:lnTo>
                            <a:lnTo>
                              <a:pt x="1467" y="235"/>
                            </a:lnTo>
                            <a:lnTo>
                              <a:pt x="1467" y="235"/>
                            </a:lnTo>
                            <a:lnTo>
                              <a:pt x="1435" y="221"/>
                            </a:lnTo>
                            <a:lnTo>
                              <a:pt x="1434" y="221"/>
                            </a:lnTo>
                            <a:lnTo>
                              <a:pt x="1434" y="220"/>
                            </a:lnTo>
                            <a:lnTo>
                              <a:pt x="1418" y="177"/>
                            </a:lnTo>
                            <a:lnTo>
                              <a:pt x="1417" y="176"/>
                            </a:lnTo>
                            <a:lnTo>
                              <a:pt x="1418" y="175"/>
                            </a:lnTo>
                            <a:lnTo>
                              <a:pt x="1482" y="100"/>
                            </a:lnTo>
                            <a:lnTo>
                              <a:pt x="1482" y="63"/>
                            </a:lnTo>
                            <a:lnTo>
                              <a:pt x="1398" y="0"/>
                            </a:lnTo>
                            <a:lnTo>
                              <a:pt x="1398" y="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81" name="Google Shape;81;p2"/>
                      <p:cNvSpPr/>
                      <p:nvPr/>
                    </p:nvSpPr>
                    <p:spPr>
                      <a:xfrm>
                        <a:off x="5126008" y="85160"/>
                        <a:ext cx="80030" cy="11799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78" h="115" extrusionOk="0">
                            <a:moveTo>
                              <a:pt x="0" y="65"/>
                            </a:moveTo>
                            <a:lnTo>
                              <a:pt x="43" y="115"/>
                            </a:lnTo>
                            <a:lnTo>
                              <a:pt x="53" y="106"/>
                            </a:lnTo>
                            <a:lnTo>
                              <a:pt x="64" y="48"/>
                            </a:lnTo>
                            <a:lnTo>
                              <a:pt x="78" y="21"/>
                            </a:lnTo>
                            <a:lnTo>
                              <a:pt x="63" y="0"/>
                            </a:lnTo>
                            <a:lnTo>
                              <a:pt x="24" y="3"/>
                            </a:lnTo>
                            <a:lnTo>
                              <a:pt x="0" y="38"/>
                            </a:lnTo>
                            <a:lnTo>
                              <a:pt x="0" y="65"/>
                            </a:lnTo>
                            <a:lnTo>
                              <a:pt x="0" y="65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82" name="Google Shape;82;p2"/>
                      <p:cNvSpPr/>
                      <p:nvPr/>
                    </p:nvSpPr>
                    <p:spPr>
                      <a:xfrm>
                        <a:off x="5025458" y="0"/>
                        <a:ext cx="807480" cy="96446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787" h="940" extrusionOk="0">
                            <a:moveTo>
                              <a:pt x="756" y="656"/>
                            </a:moveTo>
                            <a:lnTo>
                              <a:pt x="746" y="549"/>
                            </a:lnTo>
                            <a:lnTo>
                              <a:pt x="717" y="532"/>
                            </a:lnTo>
                            <a:lnTo>
                              <a:pt x="787" y="484"/>
                            </a:lnTo>
                            <a:lnTo>
                              <a:pt x="777" y="451"/>
                            </a:lnTo>
                            <a:lnTo>
                              <a:pt x="646" y="440"/>
                            </a:lnTo>
                            <a:lnTo>
                              <a:pt x="631" y="461"/>
                            </a:lnTo>
                            <a:lnTo>
                              <a:pt x="595" y="464"/>
                            </a:lnTo>
                            <a:lnTo>
                              <a:pt x="591" y="492"/>
                            </a:lnTo>
                            <a:lnTo>
                              <a:pt x="562" y="490"/>
                            </a:lnTo>
                            <a:lnTo>
                              <a:pt x="562" y="451"/>
                            </a:lnTo>
                            <a:lnTo>
                              <a:pt x="595" y="440"/>
                            </a:lnTo>
                            <a:lnTo>
                              <a:pt x="608" y="414"/>
                            </a:lnTo>
                            <a:lnTo>
                              <a:pt x="601" y="344"/>
                            </a:lnTo>
                            <a:lnTo>
                              <a:pt x="588" y="339"/>
                            </a:lnTo>
                            <a:lnTo>
                              <a:pt x="572" y="349"/>
                            </a:lnTo>
                            <a:lnTo>
                              <a:pt x="571" y="323"/>
                            </a:lnTo>
                            <a:lnTo>
                              <a:pt x="541" y="335"/>
                            </a:lnTo>
                            <a:lnTo>
                              <a:pt x="520" y="311"/>
                            </a:lnTo>
                            <a:lnTo>
                              <a:pt x="528" y="273"/>
                            </a:lnTo>
                            <a:lnTo>
                              <a:pt x="554" y="296"/>
                            </a:lnTo>
                            <a:lnTo>
                              <a:pt x="568" y="283"/>
                            </a:lnTo>
                            <a:lnTo>
                              <a:pt x="590" y="307"/>
                            </a:lnTo>
                            <a:lnTo>
                              <a:pt x="603" y="277"/>
                            </a:lnTo>
                            <a:lnTo>
                              <a:pt x="600" y="242"/>
                            </a:lnTo>
                            <a:lnTo>
                              <a:pt x="624" y="222"/>
                            </a:lnTo>
                            <a:lnTo>
                              <a:pt x="665" y="226"/>
                            </a:lnTo>
                            <a:lnTo>
                              <a:pt x="734" y="174"/>
                            </a:lnTo>
                            <a:lnTo>
                              <a:pt x="718" y="154"/>
                            </a:lnTo>
                            <a:lnTo>
                              <a:pt x="752" y="159"/>
                            </a:lnTo>
                            <a:lnTo>
                              <a:pt x="751" y="125"/>
                            </a:lnTo>
                            <a:lnTo>
                              <a:pt x="714" y="133"/>
                            </a:lnTo>
                            <a:lnTo>
                              <a:pt x="703" y="109"/>
                            </a:lnTo>
                            <a:lnTo>
                              <a:pt x="652" y="99"/>
                            </a:lnTo>
                            <a:lnTo>
                              <a:pt x="672" y="74"/>
                            </a:lnTo>
                            <a:lnTo>
                              <a:pt x="646" y="55"/>
                            </a:lnTo>
                            <a:lnTo>
                              <a:pt x="670" y="39"/>
                            </a:lnTo>
                            <a:lnTo>
                              <a:pt x="640" y="0"/>
                            </a:lnTo>
                            <a:lnTo>
                              <a:pt x="556" y="49"/>
                            </a:lnTo>
                            <a:lnTo>
                              <a:pt x="552" y="90"/>
                            </a:lnTo>
                            <a:lnTo>
                              <a:pt x="529" y="119"/>
                            </a:lnTo>
                            <a:lnTo>
                              <a:pt x="586" y="142"/>
                            </a:lnTo>
                            <a:lnTo>
                              <a:pt x="555" y="156"/>
                            </a:lnTo>
                            <a:lnTo>
                              <a:pt x="464" y="131"/>
                            </a:lnTo>
                            <a:lnTo>
                              <a:pt x="358" y="202"/>
                            </a:lnTo>
                            <a:lnTo>
                              <a:pt x="200" y="287"/>
                            </a:lnTo>
                            <a:lnTo>
                              <a:pt x="157" y="356"/>
                            </a:lnTo>
                            <a:lnTo>
                              <a:pt x="162" y="377"/>
                            </a:lnTo>
                            <a:lnTo>
                              <a:pt x="133" y="385"/>
                            </a:lnTo>
                            <a:lnTo>
                              <a:pt x="93" y="422"/>
                            </a:lnTo>
                            <a:lnTo>
                              <a:pt x="121" y="457"/>
                            </a:lnTo>
                            <a:lnTo>
                              <a:pt x="147" y="449"/>
                            </a:lnTo>
                            <a:lnTo>
                              <a:pt x="185" y="471"/>
                            </a:lnTo>
                            <a:lnTo>
                              <a:pt x="181" y="510"/>
                            </a:lnTo>
                            <a:lnTo>
                              <a:pt x="146" y="513"/>
                            </a:lnTo>
                            <a:lnTo>
                              <a:pt x="122" y="527"/>
                            </a:lnTo>
                            <a:lnTo>
                              <a:pt x="72" y="496"/>
                            </a:lnTo>
                            <a:lnTo>
                              <a:pt x="72" y="560"/>
                            </a:lnTo>
                            <a:lnTo>
                              <a:pt x="20" y="598"/>
                            </a:lnTo>
                            <a:lnTo>
                              <a:pt x="0" y="637"/>
                            </a:lnTo>
                            <a:lnTo>
                              <a:pt x="86" y="701"/>
                            </a:lnTo>
                            <a:lnTo>
                              <a:pt x="87" y="701"/>
                            </a:lnTo>
                            <a:lnTo>
                              <a:pt x="87" y="702"/>
                            </a:lnTo>
                            <a:lnTo>
                              <a:pt x="87" y="741"/>
                            </a:lnTo>
                            <a:lnTo>
                              <a:pt x="87" y="741"/>
                            </a:lnTo>
                            <a:lnTo>
                              <a:pt x="86" y="742"/>
                            </a:lnTo>
                            <a:lnTo>
                              <a:pt x="22" y="817"/>
                            </a:lnTo>
                            <a:lnTo>
                              <a:pt x="38" y="858"/>
                            </a:lnTo>
                            <a:lnTo>
                              <a:pt x="68" y="871"/>
                            </a:lnTo>
                            <a:lnTo>
                              <a:pt x="109" y="871"/>
                            </a:lnTo>
                            <a:lnTo>
                              <a:pt x="111" y="871"/>
                            </a:lnTo>
                            <a:lnTo>
                              <a:pt x="111" y="872"/>
                            </a:lnTo>
                            <a:lnTo>
                              <a:pt x="127" y="906"/>
                            </a:lnTo>
                            <a:lnTo>
                              <a:pt x="154" y="910"/>
                            </a:lnTo>
                            <a:lnTo>
                              <a:pt x="155" y="910"/>
                            </a:lnTo>
                            <a:lnTo>
                              <a:pt x="155" y="911"/>
                            </a:lnTo>
                            <a:lnTo>
                              <a:pt x="172" y="940"/>
                            </a:lnTo>
                            <a:lnTo>
                              <a:pt x="208" y="923"/>
                            </a:lnTo>
                            <a:lnTo>
                              <a:pt x="208" y="923"/>
                            </a:lnTo>
                            <a:lnTo>
                              <a:pt x="209" y="923"/>
                            </a:lnTo>
                            <a:lnTo>
                              <a:pt x="242" y="934"/>
                            </a:lnTo>
                            <a:lnTo>
                              <a:pt x="268" y="911"/>
                            </a:lnTo>
                            <a:lnTo>
                              <a:pt x="268" y="911"/>
                            </a:lnTo>
                            <a:lnTo>
                              <a:pt x="269" y="911"/>
                            </a:lnTo>
                            <a:lnTo>
                              <a:pt x="308" y="908"/>
                            </a:lnTo>
                            <a:lnTo>
                              <a:pt x="337" y="878"/>
                            </a:lnTo>
                            <a:lnTo>
                              <a:pt x="332" y="848"/>
                            </a:lnTo>
                            <a:lnTo>
                              <a:pt x="332" y="847"/>
                            </a:lnTo>
                            <a:lnTo>
                              <a:pt x="333" y="847"/>
                            </a:lnTo>
                            <a:lnTo>
                              <a:pt x="363" y="837"/>
                            </a:lnTo>
                            <a:lnTo>
                              <a:pt x="370" y="809"/>
                            </a:lnTo>
                            <a:lnTo>
                              <a:pt x="371" y="808"/>
                            </a:lnTo>
                            <a:lnTo>
                              <a:pt x="372" y="808"/>
                            </a:lnTo>
                            <a:lnTo>
                              <a:pt x="397" y="805"/>
                            </a:lnTo>
                            <a:lnTo>
                              <a:pt x="405" y="782"/>
                            </a:lnTo>
                            <a:lnTo>
                              <a:pt x="405" y="780"/>
                            </a:lnTo>
                            <a:lnTo>
                              <a:pt x="406" y="780"/>
                            </a:lnTo>
                            <a:lnTo>
                              <a:pt x="452" y="769"/>
                            </a:lnTo>
                            <a:lnTo>
                              <a:pt x="464" y="748"/>
                            </a:lnTo>
                            <a:lnTo>
                              <a:pt x="465" y="747"/>
                            </a:lnTo>
                            <a:lnTo>
                              <a:pt x="466" y="747"/>
                            </a:lnTo>
                            <a:lnTo>
                              <a:pt x="535" y="743"/>
                            </a:lnTo>
                            <a:lnTo>
                              <a:pt x="536" y="743"/>
                            </a:lnTo>
                            <a:lnTo>
                              <a:pt x="536" y="744"/>
                            </a:lnTo>
                            <a:lnTo>
                              <a:pt x="552" y="788"/>
                            </a:lnTo>
                            <a:lnTo>
                              <a:pt x="600" y="773"/>
                            </a:lnTo>
                            <a:lnTo>
                              <a:pt x="600" y="773"/>
                            </a:lnTo>
                            <a:lnTo>
                              <a:pt x="601" y="773"/>
                            </a:lnTo>
                            <a:lnTo>
                              <a:pt x="653" y="775"/>
                            </a:lnTo>
                            <a:lnTo>
                              <a:pt x="695" y="654"/>
                            </a:lnTo>
                            <a:lnTo>
                              <a:pt x="696" y="651"/>
                            </a:lnTo>
                            <a:lnTo>
                              <a:pt x="698" y="652"/>
                            </a:lnTo>
                            <a:lnTo>
                              <a:pt x="724" y="666"/>
                            </a:lnTo>
                            <a:lnTo>
                              <a:pt x="756" y="656"/>
                            </a:lnTo>
                            <a:lnTo>
                              <a:pt x="756" y="656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83" name="Google Shape;83;p2"/>
                      <p:cNvSpPr/>
                      <p:nvPr/>
                    </p:nvSpPr>
                    <p:spPr>
                      <a:xfrm>
                        <a:off x="6132537" y="1216863"/>
                        <a:ext cx="46171" cy="2872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5" h="28" extrusionOk="0">
                            <a:moveTo>
                              <a:pt x="0" y="12"/>
                            </a:moveTo>
                            <a:lnTo>
                              <a:pt x="15" y="28"/>
                            </a:lnTo>
                            <a:lnTo>
                              <a:pt x="45" y="3"/>
                            </a:lnTo>
                            <a:lnTo>
                              <a:pt x="33" y="0"/>
                            </a:lnTo>
                            <a:lnTo>
                              <a:pt x="0" y="12"/>
                            </a:lnTo>
                            <a:lnTo>
                              <a:pt x="0" y="12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84" name="Google Shape;84;p2"/>
                      <p:cNvSpPr/>
                      <p:nvPr/>
                    </p:nvSpPr>
                    <p:spPr>
                      <a:xfrm>
                        <a:off x="6001206" y="1883778"/>
                        <a:ext cx="24625" cy="3283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4" h="32" extrusionOk="0">
                            <a:moveTo>
                              <a:pt x="0" y="10"/>
                            </a:moveTo>
                            <a:lnTo>
                              <a:pt x="2" y="22"/>
                            </a:lnTo>
                            <a:lnTo>
                              <a:pt x="17" y="32"/>
                            </a:lnTo>
                            <a:lnTo>
                              <a:pt x="24" y="14"/>
                            </a:lnTo>
                            <a:lnTo>
                              <a:pt x="16" y="0"/>
                            </a:lnTo>
                            <a:lnTo>
                              <a:pt x="0" y="10"/>
                            </a:lnTo>
                            <a:lnTo>
                              <a:pt x="0" y="10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85" name="Google Shape;85;p2"/>
                      <p:cNvSpPr/>
                      <p:nvPr/>
                    </p:nvSpPr>
                    <p:spPr>
                      <a:xfrm>
                        <a:off x="6046351" y="1865309"/>
                        <a:ext cx="25651" cy="2462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5" h="24" extrusionOk="0">
                            <a:moveTo>
                              <a:pt x="2" y="7"/>
                            </a:moveTo>
                            <a:lnTo>
                              <a:pt x="0" y="18"/>
                            </a:lnTo>
                            <a:lnTo>
                              <a:pt x="16" y="24"/>
                            </a:lnTo>
                            <a:lnTo>
                              <a:pt x="25" y="14"/>
                            </a:lnTo>
                            <a:lnTo>
                              <a:pt x="9" y="0"/>
                            </a:lnTo>
                            <a:lnTo>
                              <a:pt x="2" y="7"/>
                            </a:lnTo>
                            <a:lnTo>
                              <a:pt x="2" y="7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86" name="Google Shape;86;p2"/>
                      <p:cNvSpPr/>
                      <p:nvPr/>
                    </p:nvSpPr>
                    <p:spPr>
                      <a:xfrm>
                        <a:off x="6035064" y="1896090"/>
                        <a:ext cx="34885" cy="7079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4" h="69" extrusionOk="0">
                            <a:moveTo>
                              <a:pt x="3" y="0"/>
                            </a:moveTo>
                            <a:lnTo>
                              <a:pt x="0" y="46"/>
                            </a:lnTo>
                            <a:lnTo>
                              <a:pt x="17" y="69"/>
                            </a:lnTo>
                            <a:lnTo>
                              <a:pt x="34" y="62"/>
                            </a:lnTo>
                            <a:lnTo>
                              <a:pt x="30" y="16"/>
                            </a:lnTo>
                            <a:lnTo>
                              <a:pt x="17" y="4"/>
                            </a:lnTo>
                            <a:lnTo>
                              <a:pt x="3" y="0"/>
                            </a:lnTo>
                            <a:lnTo>
                              <a:pt x="3" y="0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87" name="Google Shape;87;p2"/>
                      <p:cNvSpPr/>
                      <p:nvPr/>
                    </p:nvSpPr>
                    <p:spPr>
                      <a:xfrm>
                        <a:off x="6061741" y="2000744"/>
                        <a:ext cx="32833" cy="3488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2" h="34" extrusionOk="0">
                            <a:moveTo>
                              <a:pt x="3" y="0"/>
                            </a:moveTo>
                            <a:lnTo>
                              <a:pt x="0" y="17"/>
                            </a:lnTo>
                            <a:lnTo>
                              <a:pt x="8" y="34"/>
                            </a:lnTo>
                            <a:lnTo>
                              <a:pt x="29" y="24"/>
                            </a:lnTo>
                            <a:lnTo>
                              <a:pt x="32" y="13"/>
                            </a:lnTo>
                            <a:lnTo>
                              <a:pt x="3" y="0"/>
                            </a:lnTo>
                            <a:lnTo>
                              <a:pt x="3" y="0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88" name="Google Shape;88;p2"/>
                      <p:cNvSpPr/>
                      <p:nvPr/>
                    </p:nvSpPr>
                    <p:spPr>
                      <a:xfrm>
                        <a:off x="6084313" y="2137205"/>
                        <a:ext cx="27703" cy="3283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7" h="32" extrusionOk="0">
                            <a:moveTo>
                              <a:pt x="8" y="0"/>
                            </a:moveTo>
                            <a:lnTo>
                              <a:pt x="0" y="15"/>
                            </a:lnTo>
                            <a:lnTo>
                              <a:pt x="12" y="32"/>
                            </a:lnTo>
                            <a:lnTo>
                              <a:pt x="27" y="19"/>
                            </a:lnTo>
                            <a:lnTo>
                              <a:pt x="17" y="2"/>
                            </a:lnTo>
                            <a:lnTo>
                              <a:pt x="8" y="0"/>
                            </a:lnTo>
                            <a:lnTo>
                              <a:pt x="8" y="0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89" name="Google Shape;89;p2"/>
                      <p:cNvSpPr/>
                      <p:nvPr/>
                    </p:nvSpPr>
                    <p:spPr>
                      <a:xfrm>
                        <a:off x="6093548" y="2209027"/>
                        <a:ext cx="22572" cy="2872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2" h="28" extrusionOk="0">
                            <a:moveTo>
                              <a:pt x="0" y="15"/>
                            </a:moveTo>
                            <a:lnTo>
                              <a:pt x="8" y="28"/>
                            </a:lnTo>
                            <a:lnTo>
                              <a:pt x="19" y="24"/>
                            </a:lnTo>
                            <a:lnTo>
                              <a:pt x="22" y="3"/>
                            </a:lnTo>
                            <a:lnTo>
                              <a:pt x="8" y="0"/>
                            </a:lnTo>
                            <a:lnTo>
                              <a:pt x="0" y="15"/>
                            </a:lnTo>
                            <a:lnTo>
                              <a:pt x="0" y="15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90" name="Google Shape;90;p2"/>
                      <p:cNvSpPr/>
                      <p:nvPr/>
                    </p:nvSpPr>
                    <p:spPr>
                      <a:xfrm>
                        <a:off x="6091496" y="2259302"/>
                        <a:ext cx="37963" cy="3796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7" h="37" extrusionOk="0">
                            <a:moveTo>
                              <a:pt x="12" y="0"/>
                            </a:moveTo>
                            <a:lnTo>
                              <a:pt x="0" y="13"/>
                            </a:lnTo>
                            <a:lnTo>
                              <a:pt x="10" y="37"/>
                            </a:lnTo>
                            <a:lnTo>
                              <a:pt x="37" y="30"/>
                            </a:lnTo>
                            <a:lnTo>
                              <a:pt x="28" y="4"/>
                            </a:lnTo>
                            <a:lnTo>
                              <a:pt x="12" y="0"/>
                            </a:lnTo>
                            <a:lnTo>
                              <a:pt x="12" y="0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91" name="Google Shape;91;p2"/>
                      <p:cNvSpPr/>
                      <p:nvPr/>
                    </p:nvSpPr>
                    <p:spPr>
                      <a:xfrm>
                        <a:off x="6070975" y="2364982"/>
                        <a:ext cx="28729" cy="8926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8" h="87" extrusionOk="0">
                            <a:moveTo>
                              <a:pt x="14" y="0"/>
                            </a:moveTo>
                            <a:lnTo>
                              <a:pt x="0" y="14"/>
                            </a:lnTo>
                            <a:lnTo>
                              <a:pt x="1" y="43"/>
                            </a:lnTo>
                            <a:lnTo>
                              <a:pt x="1" y="73"/>
                            </a:lnTo>
                            <a:lnTo>
                              <a:pt x="2" y="87"/>
                            </a:lnTo>
                            <a:lnTo>
                              <a:pt x="16" y="87"/>
                            </a:lnTo>
                            <a:lnTo>
                              <a:pt x="28" y="53"/>
                            </a:lnTo>
                            <a:lnTo>
                              <a:pt x="25" y="19"/>
                            </a:lnTo>
                            <a:lnTo>
                              <a:pt x="14" y="0"/>
                            </a:lnTo>
                            <a:lnTo>
                              <a:pt x="14" y="0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92" name="Google Shape;92;p2"/>
                      <p:cNvSpPr/>
                      <p:nvPr/>
                    </p:nvSpPr>
                    <p:spPr>
                      <a:xfrm>
                        <a:off x="6015570" y="2480923"/>
                        <a:ext cx="46171" cy="12825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5" h="125" extrusionOk="0">
                            <a:moveTo>
                              <a:pt x="26" y="0"/>
                            </a:moveTo>
                            <a:lnTo>
                              <a:pt x="41" y="1"/>
                            </a:lnTo>
                            <a:lnTo>
                              <a:pt x="45" y="20"/>
                            </a:lnTo>
                            <a:lnTo>
                              <a:pt x="35" y="36"/>
                            </a:lnTo>
                            <a:lnTo>
                              <a:pt x="21" y="56"/>
                            </a:lnTo>
                            <a:lnTo>
                              <a:pt x="20" y="78"/>
                            </a:lnTo>
                            <a:lnTo>
                              <a:pt x="16" y="104"/>
                            </a:lnTo>
                            <a:lnTo>
                              <a:pt x="13" y="125"/>
                            </a:lnTo>
                            <a:lnTo>
                              <a:pt x="7" y="122"/>
                            </a:lnTo>
                            <a:lnTo>
                              <a:pt x="1" y="86"/>
                            </a:lnTo>
                            <a:lnTo>
                              <a:pt x="0" y="42"/>
                            </a:lnTo>
                            <a:lnTo>
                              <a:pt x="18" y="24"/>
                            </a:lnTo>
                            <a:lnTo>
                              <a:pt x="28" y="15"/>
                            </a:lnTo>
                            <a:lnTo>
                              <a:pt x="26" y="0"/>
                            </a:lnTo>
                            <a:lnTo>
                              <a:pt x="26" y="0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93" name="Google Shape;93;p2"/>
                      <p:cNvSpPr/>
                      <p:nvPr/>
                    </p:nvSpPr>
                    <p:spPr>
                      <a:xfrm>
                        <a:off x="5977607" y="2635852"/>
                        <a:ext cx="32833" cy="8618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2" h="84" extrusionOk="0">
                            <a:moveTo>
                              <a:pt x="12" y="84"/>
                            </a:moveTo>
                            <a:lnTo>
                              <a:pt x="18" y="81"/>
                            </a:lnTo>
                            <a:lnTo>
                              <a:pt x="22" y="30"/>
                            </a:lnTo>
                            <a:lnTo>
                              <a:pt x="30" y="19"/>
                            </a:lnTo>
                            <a:lnTo>
                              <a:pt x="32" y="6"/>
                            </a:lnTo>
                            <a:lnTo>
                              <a:pt x="23" y="0"/>
                            </a:lnTo>
                            <a:lnTo>
                              <a:pt x="8" y="7"/>
                            </a:lnTo>
                            <a:lnTo>
                              <a:pt x="0" y="13"/>
                            </a:lnTo>
                            <a:lnTo>
                              <a:pt x="7" y="35"/>
                            </a:lnTo>
                            <a:lnTo>
                              <a:pt x="5" y="65"/>
                            </a:lnTo>
                            <a:lnTo>
                              <a:pt x="12" y="84"/>
                            </a:lnTo>
                            <a:lnTo>
                              <a:pt x="12" y="84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94" name="Google Shape;94;p2"/>
                      <p:cNvSpPr/>
                      <p:nvPr/>
                    </p:nvSpPr>
                    <p:spPr>
                      <a:xfrm>
                        <a:off x="6045325" y="2648164"/>
                        <a:ext cx="19495" cy="31807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" h="31" extrusionOk="0">
                            <a:moveTo>
                              <a:pt x="0" y="20"/>
                            </a:moveTo>
                            <a:lnTo>
                              <a:pt x="4" y="31"/>
                            </a:lnTo>
                            <a:lnTo>
                              <a:pt x="19" y="26"/>
                            </a:lnTo>
                            <a:lnTo>
                              <a:pt x="16" y="11"/>
                            </a:lnTo>
                            <a:lnTo>
                              <a:pt x="8" y="0"/>
                            </a:lnTo>
                            <a:lnTo>
                              <a:pt x="0" y="8"/>
                            </a:lnTo>
                            <a:lnTo>
                              <a:pt x="0" y="20"/>
                            </a:lnTo>
                            <a:lnTo>
                              <a:pt x="0" y="20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95" name="Google Shape;95;p2"/>
                      <p:cNvSpPr/>
                      <p:nvPr/>
                    </p:nvSpPr>
                    <p:spPr>
                      <a:xfrm>
                        <a:off x="5747778" y="1124521"/>
                        <a:ext cx="50275" cy="8618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9" h="84" extrusionOk="0">
                            <a:moveTo>
                              <a:pt x="11" y="0"/>
                            </a:moveTo>
                            <a:lnTo>
                              <a:pt x="0" y="35"/>
                            </a:lnTo>
                            <a:lnTo>
                              <a:pt x="43" y="84"/>
                            </a:lnTo>
                            <a:lnTo>
                              <a:pt x="49" y="13"/>
                            </a:lnTo>
                            <a:lnTo>
                              <a:pt x="25" y="2"/>
                            </a:lnTo>
                            <a:lnTo>
                              <a:pt x="11" y="0"/>
                            </a:lnTo>
                            <a:lnTo>
                              <a:pt x="11" y="0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96" name="Google Shape;96;p2"/>
                      <p:cNvSpPr/>
                      <p:nvPr/>
                    </p:nvSpPr>
                    <p:spPr>
                      <a:xfrm>
                        <a:off x="6055585" y="1249696"/>
                        <a:ext cx="74900" cy="3283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73" h="32" extrusionOk="0">
                            <a:moveTo>
                              <a:pt x="0" y="7"/>
                            </a:moveTo>
                            <a:lnTo>
                              <a:pt x="11" y="25"/>
                            </a:lnTo>
                            <a:lnTo>
                              <a:pt x="55" y="32"/>
                            </a:lnTo>
                            <a:lnTo>
                              <a:pt x="73" y="23"/>
                            </a:lnTo>
                            <a:lnTo>
                              <a:pt x="62" y="4"/>
                            </a:lnTo>
                            <a:lnTo>
                              <a:pt x="30" y="0"/>
                            </a:lnTo>
                            <a:lnTo>
                              <a:pt x="0" y="7"/>
                            </a:lnTo>
                            <a:lnTo>
                              <a:pt x="0" y="7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97" name="Google Shape;97;p2"/>
                      <p:cNvSpPr/>
                      <p:nvPr/>
                    </p:nvSpPr>
                    <p:spPr>
                      <a:xfrm>
                        <a:off x="4974157" y="903926"/>
                        <a:ext cx="587911" cy="75207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73" h="733" extrusionOk="0">
                            <a:moveTo>
                              <a:pt x="258" y="733"/>
                            </a:moveTo>
                            <a:lnTo>
                              <a:pt x="285" y="716"/>
                            </a:lnTo>
                            <a:lnTo>
                              <a:pt x="302" y="701"/>
                            </a:lnTo>
                            <a:lnTo>
                              <a:pt x="327" y="695"/>
                            </a:lnTo>
                            <a:lnTo>
                              <a:pt x="319" y="645"/>
                            </a:lnTo>
                            <a:lnTo>
                              <a:pt x="363" y="631"/>
                            </a:lnTo>
                            <a:lnTo>
                              <a:pt x="396" y="601"/>
                            </a:lnTo>
                            <a:lnTo>
                              <a:pt x="427" y="600"/>
                            </a:lnTo>
                            <a:lnTo>
                              <a:pt x="404" y="633"/>
                            </a:lnTo>
                            <a:lnTo>
                              <a:pt x="426" y="651"/>
                            </a:lnTo>
                            <a:lnTo>
                              <a:pt x="458" y="616"/>
                            </a:lnTo>
                            <a:lnTo>
                              <a:pt x="465" y="560"/>
                            </a:lnTo>
                            <a:lnTo>
                              <a:pt x="494" y="549"/>
                            </a:lnTo>
                            <a:lnTo>
                              <a:pt x="517" y="519"/>
                            </a:lnTo>
                            <a:lnTo>
                              <a:pt x="493" y="502"/>
                            </a:lnTo>
                            <a:lnTo>
                              <a:pt x="473" y="527"/>
                            </a:lnTo>
                            <a:lnTo>
                              <a:pt x="451" y="507"/>
                            </a:lnTo>
                            <a:lnTo>
                              <a:pt x="445" y="405"/>
                            </a:lnTo>
                            <a:lnTo>
                              <a:pt x="426" y="345"/>
                            </a:lnTo>
                            <a:lnTo>
                              <a:pt x="432" y="300"/>
                            </a:lnTo>
                            <a:lnTo>
                              <a:pt x="468" y="248"/>
                            </a:lnTo>
                            <a:lnTo>
                              <a:pt x="489" y="247"/>
                            </a:lnTo>
                            <a:lnTo>
                              <a:pt x="499" y="217"/>
                            </a:lnTo>
                            <a:lnTo>
                              <a:pt x="542" y="276"/>
                            </a:lnTo>
                            <a:lnTo>
                              <a:pt x="571" y="271"/>
                            </a:lnTo>
                            <a:lnTo>
                              <a:pt x="573" y="249"/>
                            </a:lnTo>
                            <a:lnTo>
                              <a:pt x="566" y="204"/>
                            </a:lnTo>
                            <a:lnTo>
                              <a:pt x="559" y="173"/>
                            </a:lnTo>
                            <a:lnTo>
                              <a:pt x="530" y="157"/>
                            </a:lnTo>
                            <a:lnTo>
                              <a:pt x="529" y="157"/>
                            </a:lnTo>
                            <a:lnTo>
                              <a:pt x="529" y="156"/>
                            </a:lnTo>
                            <a:lnTo>
                              <a:pt x="524" y="127"/>
                            </a:lnTo>
                            <a:lnTo>
                              <a:pt x="505" y="110"/>
                            </a:lnTo>
                            <a:lnTo>
                              <a:pt x="476" y="113"/>
                            </a:lnTo>
                            <a:lnTo>
                              <a:pt x="474" y="113"/>
                            </a:lnTo>
                            <a:lnTo>
                              <a:pt x="474" y="112"/>
                            </a:lnTo>
                            <a:lnTo>
                              <a:pt x="456" y="65"/>
                            </a:lnTo>
                            <a:lnTo>
                              <a:pt x="431" y="60"/>
                            </a:lnTo>
                            <a:lnTo>
                              <a:pt x="430" y="60"/>
                            </a:lnTo>
                            <a:lnTo>
                              <a:pt x="430" y="59"/>
                            </a:lnTo>
                            <a:lnTo>
                              <a:pt x="389" y="0"/>
                            </a:lnTo>
                            <a:lnTo>
                              <a:pt x="360" y="30"/>
                            </a:lnTo>
                            <a:lnTo>
                              <a:pt x="360" y="31"/>
                            </a:lnTo>
                            <a:lnTo>
                              <a:pt x="359" y="31"/>
                            </a:lnTo>
                            <a:lnTo>
                              <a:pt x="320" y="34"/>
                            </a:lnTo>
                            <a:lnTo>
                              <a:pt x="294" y="56"/>
                            </a:lnTo>
                            <a:lnTo>
                              <a:pt x="293" y="57"/>
                            </a:lnTo>
                            <a:lnTo>
                              <a:pt x="292" y="57"/>
                            </a:lnTo>
                            <a:lnTo>
                              <a:pt x="259" y="46"/>
                            </a:lnTo>
                            <a:lnTo>
                              <a:pt x="222" y="64"/>
                            </a:lnTo>
                            <a:lnTo>
                              <a:pt x="221" y="64"/>
                            </a:lnTo>
                            <a:lnTo>
                              <a:pt x="220" y="63"/>
                            </a:lnTo>
                            <a:lnTo>
                              <a:pt x="202" y="32"/>
                            </a:lnTo>
                            <a:lnTo>
                              <a:pt x="179" y="29"/>
                            </a:lnTo>
                            <a:lnTo>
                              <a:pt x="194" y="60"/>
                            </a:lnTo>
                            <a:lnTo>
                              <a:pt x="195" y="61"/>
                            </a:lnTo>
                            <a:lnTo>
                              <a:pt x="194" y="62"/>
                            </a:lnTo>
                            <a:lnTo>
                              <a:pt x="176" y="88"/>
                            </a:lnTo>
                            <a:lnTo>
                              <a:pt x="176" y="88"/>
                            </a:lnTo>
                            <a:lnTo>
                              <a:pt x="175" y="89"/>
                            </a:lnTo>
                            <a:lnTo>
                              <a:pt x="152" y="98"/>
                            </a:lnTo>
                            <a:lnTo>
                              <a:pt x="103" y="143"/>
                            </a:lnTo>
                            <a:lnTo>
                              <a:pt x="124" y="168"/>
                            </a:lnTo>
                            <a:lnTo>
                              <a:pt x="125" y="169"/>
                            </a:lnTo>
                            <a:lnTo>
                              <a:pt x="123" y="171"/>
                            </a:lnTo>
                            <a:lnTo>
                              <a:pt x="104" y="189"/>
                            </a:lnTo>
                            <a:lnTo>
                              <a:pt x="120" y="212"/>
                            </a:lnTo>
                            <a:lnTo>
                              <a:pt x="120" y="213"/>
                            </a:lnTo>
                            <a:lnTo>
                              <a:pt x="120" y="213"/>
                            </a:lnTo>
                            <a:lnTo>
                              <a:pt x="121" y="242"/>
                            </a:lnTo>
                            <a:lnTo>
                              <a:pt x="147" y="264"/>
                            </a:lnTo>
                            <a:lnTo>
                              <a:pt x="148" y="265"/>
                            </a:lnTo>
                            <a:lnTo>
                              <a:pt x="148" y="266"/>
                            </a:lnTo>
                            <a:lnTo>
                              <a:pt x="143" y="311"/>
                            </a:lnTo>
                            <a:lnTo>
                              <a:pt x="143" y="312"/>
                            </a:lnTo>
                            <a:lnTo>
                              <a:pt x="143" y="312"/>
                            </a:lnTo>
                            <a:lnTo>
                              <a:pt x="119" y="338"/>
                            </a:lnTo>
                            <a:lnTo>
                              <a:pt x="119" y="339"/>
                            </a:lnTo>
                            <a:lnTo>
                              <a:pt x="118" y="339"/>
                            </a:lnTo>
                            <a:lnTo>
                              <a:pt x="79" y="343"/>
                            </a:lnTo>
                            <a:lnTo>
                              <a:pt x="37" y="383"/>
                            </a:lnTo>
                            <a:lnTo>
                              <a:pt x="54" y="416"/>
                            </a:lnTo>
                            <a:lnTo>
                              <a:pt x="54" y="418"/>
                            </a:lnTo>
                            <a:lnTo>
                              <a:pt x="53" y="419"/>
                            </a:lnTo>
                            <a:lnTo>
                              <a:pt x="7" y="451"/>
                            </a:lnTo>
                            <a:lnTo>
                              <a:pt x="0" y="484"/>
                            </a:lnTo>
                            <a:lnTo>
                              <a:pt x="67" y="623"/>
                            </a:lnTo>
                            <a:lnTo>
                              <a:pt x="98" y="602"/>
                            </a:lnTo>
                            <a:lnTo>
                              <a:pt x="99" y="602"/>
                            </a:lnTo>
                            <a:lnTo>
                              <a:pt x="100" y="602"/>
                            </a:lnTo>
                            <a:lnTo>
                              <a:pt x="170" y="625"/>
                            </a:lnTo>
                            <a:lnTo>
                              <a:pt x="171" y="626"/>
                            </a:lnTo>
                            <a:lnTo>
                              <a:pt x="171" y="627"/>
                            </a:lnTo>
                            <a:lnTo>
                              <a:pt x="179" y="666"/>
                            </a:lnTo>
                            <a:lnTo>
                              <a:pt x="179" y="666"/>
                            </a:lnTo>
                            <a:lnTo>
                              <a:pt x="178" y="667"/>
                            </a:lnTo>
                            <a:lnTo>
                              <a:pt x="162" y="697"/>
                            </a:lnTo>
                            <a:lnTo>
                              <a:pt x="174" y="722"/>
                            </a:lnTo>
                            <a:lnTo>
                              <a:pt x="202" y="702"/>
                            </a:lnTo>
                            <a:lnTo>
                              <a:pt x="203" y="701"/>
                            </a:lnTo>
                            <a:lnTo>
                              <a:pt x="203" y="701"/>
                            </a:lnTo>
                            <a:lnTo>
                              <a:pt x="239" y="701"/>
                            </a:lnTo>
                            <a:lnTo>
                              <a:pt x="240" y="701"/>
                            </a:lnTo>
                            <a:lnTo>
                              <a:pt x="241" y="702"/>
                            </a:lnTo>
                            <a:lnTo>
                              <a:pt x="258" y="733"/>
                            </a:lnTo>
                            <a:lnTo>
                              <a:pt x="258" y="733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98" name="Google Shape;98;p2"/>
                      <p:cNvSpPr/>
                      <p:nvPr/>
                    </p:nvSpPr>
                    <p:spPr>
                      <a:xfrm>
                        <a:off x="5201934" y="2645087"/>
                        <a:ext cx="314989" cy="56944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07" h="555" extrusionOk="0">
                            <a:moveTo>
                              <a:pt x="90" y="233"/>
                            </a:moveTo>
                            <a:lnTo>
                              <a:pt x="86" y="349"/>
                            </a:lnTo>
                            <a:lnTo>
                              <a:pt x="107" y="385"/>
                            </a:lnTo>
                            <a:lnTo>
                              <a:pt x="26" y="391"/>
                            </a:lnTo>
                            <a:lnTo>
                              <a:pt x="0" y="449"/>
                            </a:lnTo>
                            <a:lnTo>
                              <a:pt x="74" y="527"/>
                            </a:lnTo>
                            <a:lnTo>
                              <a:pt x="77" y="555"/>
                            </a:lnTo>
                            <a:lnTo>
                              <a:pt x="118" y="516"/>
                            </a:lnTo>
                            <a:lnTo>
                              <a:pt x="189" y="517"/>
                            </a:lnTo>
                            <a:lnTo>
                              <a:pt x="241" y="475"/>
                            </a:lnTo>
                            <a:lnTo>
                              <a:pt x="271" y="414"/>
                            </a:lnTo>
                            <a:lnTo>
                              <a:pt x="286" y="246"/>
                            </a:lnTo>
                            <a:lnTo>
                              <a:pt x="307" y="158"/>
                            </a:lnTo>
                            <a:lnTo>
                              <a:pt x="293" y="56"/>
                            </a:lnTo>
                            <a:lnTo>
                              <a:pt x="272" y="50"/>
                            </a:lnTo>
                            <a:lnTo>
                              <a:pt x="271" y="50"/>
                            </a:lnTo>
                            <a:lnTo>
                              <a:pt x="271" y="48"/>
                            </a:lnTo>
                            <a:lnTo>
                              <a:pt x="266" y="24"/>
                            </a:lnTo>
                            <a:lnTo>
                              <a:pt x="232" y="0"/>
                            </a:lnTo>
                            <a:lnTo>
                              <a:pt x="195" y="28"/>
                            </a:lnTo>
                            <a:lnTo>
                              <a:pt x="217" y="52"/>
                            </a:lnTo>
                            <a:lnTo>
                              <a:pt x="253" y="55"/>
                            </a:lnTo>
                            <a:lnTo>
                              <a:pt x="255" y="56"/>
                            </a:lnTo>
                            <a:lnTo>
                              <a:pt x="255" y="57"/>
                            </a:lnTo>
                            <a:lnTo>
                              <a:pt x="246" y="113"/>
                            </a:lnTo>
                            <a:lnTo>
                              <a:pt x="246" y="115"/>
                            </a:lnTo>
                            <a:lnTo>
                              <a:pt x="245" y="115"/>
                            </a:lnTo>
                            <a:lnTo>
                              <a:pt x="219" y="115"/>
                            </a:lnTo>
                            <a:lnTo>
                              <a:pt x="223" y="151"/>
                            </a:lnTo>
                            <a:lnTo>
                              <a:pt x="223" y="152"/>
                            </a:lnTo>
                            <a:lnTo>
                              <a:pt x="222" y="153"/>
                            </a:lnTo>
                            <a:lnTo>
                              <a:pt x="186" y="177"/>
                            </a:lnTo>
                            <a:lnTo>
                              <a:pt x="186" y="177"/>
                            </a:lnTo>
                            <a:lnTo>
                              <a:pt x="185" y="177"/>
                            </a:lnTo>
                            <a:lnTo>
                              <a:pt x="125" y="181"/>
                            </a:lnTo>
                            <a:lnTo>
                              <a:pt x="110" y="201"/>
                            </a:lnTo>
                            <a:lnTo>
                              <a:pt x="122" y="224"/>
                            </a:lnTo>
                            <a:lnTo>
                              <a:pt x="123" y="226"/>
                            </a:lnTo>
                            <a:lnTo>
                              <a:pt x="121" y="227"/>
                            </a:lnTo>
                            <a:lnTo>
                              <a:pt x="90" y="233"/>
                            </a:lnTo>
                            <a:lnTo>
                              <a:pt x="90" y="233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99" name="Google Shape;99;p2"/>
                      <p:cNvSpPr/>
                      <p:nvPr/>
                    </p:nvSpPr>
                    <p:spPr>
                      <a:xfrm>
                        <a:off x="4747406" y="1525696"/>
                        <a:ext cx="764387" cy="135537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745" h="1321" extrusionOk="0">
                            <a:moveTo>
                              <a:pt x="500" y="1201"/>
                            </a:moveTo>
                            <a:lnTo>
                              <a:pt x="526" y="1243"/>
                            </a:lnTo>
                            <a:lnTo>
                              <a:pt x="516" y="1275"/>
                            </a:lnTo>
                            <a:lnTo>
                              <a:pt x="533" y="1321"/>
                            </a:lnTo>
                            <a:lnTo>
                              <a:pt x="561" y="1315"/>
                            </a:lnTo>
                            <a:lnTo>
                              <a:pt x="549" y="1293"/>
                            </a:lnTo>
                            <a:lnTo>
                              <a:pt x="549" y="1292"/>
                            </a:lnTo>
                            <a:lnTo>
                              <a:pt x="550" y="1291"/>
                            </a:lnTo>
                            <a:lnTo>
                              <a:pt x="566" y="1270"/>
                            </a:lnTo>
                            <a:lnTo>
                              <a:pt x="566" y="1269"/>
                            </a:lnTo>
                            <a:lnTo>
                              <a:pt x="567" y="1269"/>
                            </a:lnTo>
                            <a:lnTo>
                              <a:pt x="627" y="1265"/>
                            </a:lnTo>
                            <a:lnTo>
                              <a:pt x="662" y="1241"/>
                            </a:lnTo>
                            <a:lnTo>
                              <a:pt x="659" y="1205"/>
                            </a:lnTo>
                            <a:lnTo>
                              <a:pt x="658" y="1203"/>
                            </a:lnTo>
                            <a:lnTo>
                              <a:pt x="660" y="1203"/>
                            </a:lnTo>
                            <a:lnTo>
                              <a:pt x="686" y="1202"/>
                            </a:lnTo>
                            <a:lnTo>
                              <a:pt x="694" y="1150"/>
                            </a:lnTo>
                            <a:lnTo>
                              <a:pt x="659" y="1147"/>
                            </a:lnTo>
                            <a:lnTo>
                              <a:pt x="659" y="1147"/>
                            </a:lnTo>
                            <a:lnTo>
                              <a:pt x="658" y="1146"/>
                            </a:lnTo>
                            <a:lnTo>
                              <a:pt x="634" y="1120"/>
                            </a:lnTo>
                            <a:lnTo>
                              <a:pt x="632" y="1118"/>
                            </a:lnTo>
                            <a:lnTo>
                              <a:pt x="634" y="1117"/>
                            </a:lnTo>
                            <a:lnTo>
                              <a:pt x="674" y="1087"/>
                            </a:lnTo>
                            <a:lnTo>
                              <a:pt x="675" y="1086"/>
                            </a:lnTo>
                            <a:lnTo>
                              <a:pt x="677" y="1087"/>
                            </a:lnTo>
                            <a:lnTo>
                              <a:pt x="712" y="1112"/>
                            </a:lnTo>
                            <a:lnTo>
                              <a:pt x="713" y="1112"/>
                            </a:lnTo>
                            <a:lnTo>
                              <a:pt x="713" y="1113"/>
                            </a:lnTo>
                            <a:lnTo>
                              <a:pt x="718" y="1137"/>
                            </a:lnTo>
                            <a:lnTo>
                              <a:pt x="736" y="1142"/>
                            </a:lnTo>
                            <a:lnTo>
                              <a:pt x="745" y="1026"/>
                            </a:lnTo>
                            <a:lnTo>
                              <a:pt x="732" y="989"/>
                            </a:lnTo>
                            <a:lnTo>
                              <a:pt x="674" y="873"/>
                            </a:lnTo>
                            <a:lnTo>
                              <a:pt x="656" y="851"/>
                            </a:lnTo>
                            <a:lnTo>
                              <a:pt x="639" y="768"/>
                            </a:lnTo>
                            <a:lnTo>
                              <a:pt x="628" y="741"/>
                            </a:lnTo>
                            <a:lnTo>
                              <a:pt x="624" y="737"/>
                            </a:lnTo>
                            <a:lnTo>
                              <a:pt x="581" y="719"/>
                            </a:lnTo>
                            <a:lnTo>
                              <a:pt x="566" y="701"/>
                            </a:lnTo>
                            <a:lnTo>
                              <a:pt x="579" y="675"/>
                            </a:lnTo>
                            <a:lnTo>
                              <a:pt x="547" y="663"/>
                            </a:lnTo>
                            <a:lnTo>
                              <a:pt x="481" y="651"/>
                            </a:lnTo>
                            <a:lnTo>
                              <a:pt x="430" y="678"/>
                            </a:lnTo>
                            <a:lnTo>
                              <a:pt x="412" y="756"/>
                            </a:lnTo>
                            <a:lnTo>
                              <a:pt x="390" y="728"/>
                            </a:lnTo>
                            <a:lnTo>
                              <a:pt x="365" y="759"/>
                            </a:lnTo>
                            <a:lnTo>
                              <a:pt x="345" y="699"/>
                            </a:lnTo>
                            <a:lnTo>
                              <a:pt x="301" y="726"/>
                            </a:lnTo>
                            <a:lnTo>
                              <a:pt x="265" y="720"/>
                            </a:lnTo>
                            <a:lnTo>
                              <a:pt x="267" y="685"/>
                            </a:lnTo>
                            <a:lnTo>
                              <a:pt x="314" y="567"/>
                            </a:lnTo>
                            <a:lnTo>
                              <a:pt x="326" y="448"/>
                            </a:lnTo>
                            <a:lnTo>
                              <a:pt x="340" y="391"/>
                            </a:lnTo>
                            <a:lnTo>
                              <a:pt x="328" y="344"/>
                            </a:lnTo>
                            <a:lnTo>
                              <a:pt x="344" y="301"/>
                            </a:lnTo>
                            <a:lnTo>
                              <a:pt x="337" y="256"/>
                            </a:lnTo>
                            <a:lnTo>
                              <a:pt x="437" y="158"/>
                            </a:lnTo>
                            <a:lnTo>
                              <a:pt x="468" y="164"/>
                            </a:lnTo>
                            <a:lnTo>
                              <a:pt x="471" y="152"/>
                            </a:lnTo>
                            <a:lnTo>
                              <a:pt x="462" y="138"/>
                            </a:lnTo>
                            <a:lnTo>
                              <a:pt x="476" y="129"/>
                            </a:lnTo>
                            <a:lnTo>
                              <a:pt x="459" y="99"/>
                            </a:lnTo>
                            <a:lnTo>
                              <a:pt x="425" y="99"/>
                            </a:lnTo>
                            <a:lnTo>
                              <a:pt x="396" y="121"/>
                            </a:lnTo>
                            <a:lnTo>
                              <a:pt x="394" y="122"/>
                            </a:lnTo>
                            <a:lnTo>
                              <a:pt x="393" y="120"/>
                            </a:lnTo>
                            <a:lnTo>
                              <a:pt x="379" y="92"/>
                            </a:lnTo>
                            <a:lnTo>
                              <a:pt x="379" y="91"/>
                            </a:lnTo>
                            <a:lnTo>
                              <a:pt x="379" y="90"/>
                            </a:lnTo>
                            <a:lnTo>
                              <a:pt x="396" y="60"/>
                            </a:lnTo>
                            <a:lnTo>
                              <a:pt x="388" y="23"/>
                            </a:lnTo>
                            <a:lnTo>
                              <a:pt x="320" y="0"/>
                            </a:lnTo>
                            <a:lnTo>
                              <a:pt x="289" y="21"/>
                            </a:lnTo>
                            <a:lnTo>
                              <a:pt x="282" y="48"/>
                            </a:lnTo>
                            <a:lnTo>
                              <a:pt x="281" y="49"/>
                            </a:lnTo>
                            <a:lnTo>
                              <a:pt x="280" y="49"/>
                            </a:lnTo>
                            <a:lnTo>
                              <a:pt x="239" y="55"/>
                            </a:lnTo>
                            <a:lnTo>
                              <a:pt x="227" y="77"/>
                            </a:lnTo>
                            <a:lnTo>
                              <a:pt x="227" y="77"/>
                            </a:lnTo>
                            <a:lnTo>
                              <a:pt x="226" y="78"/>
                            </a:lnTo>
                            <a:lnTo>
                              <a:pt x="190" y="85"/>
                            </a:lnTo>
                            <a:lnTo>
                              <a:pt x="190" y="85"/>
                            </a:lnTo>
                            <a:lnTo>
                              <a:pt x="189" y="85"/>
                            </a:lnTo>
                            <a:lnTo>
                              <a:pt x="136" y="67"/>
                            </a:lnTo>
                            <a:lnTo>
                              <a:pt x="122" y="85"/>
                            </a:lnTo>
                            <a:lnTo>
                              <a:pt x="150" y="159"/>
                            </a:lnTo>
                            <a:lnTo>
                              <a:pt x="150" y="159"/>
                            </a:lnTo>
                            <a:lnTo>
                              <a:pt x="150" y="160"/>
                            </a:lnTo>
                            <a:lnTo>
                              <a:pt x="130" y="230"/>
                            </a:lnTo>
                            <a:lnTo>
                              <a:pt x="160" y="251"/>
                            </a:lnTo>
                            <a:lnTo>
                              <a:pt x="160" y="251"/>
                            </a:lnTo>
                            <a:lnTo>
                              <a:pt x="161" y="252"/>
                            </a:lnTo>
                            <a:lnTo>
                              <a:pt x="177" y="313"/>
                            </a:lnTo>
                            <a:lnTo>
                              <a:pt x="178" y="314"/>
                            </a:lnTo>
                            <a:lnTo>
                              <a:pt x="176" y="315"/>
                            </a:lnTo>
                            <a:lnTo>
                              <a:pt x="154" y="325"/>
                            </a:lnTo>
                            <a:lnTo>
                              <a:pt x="156" y="354"/>
                            </a:lnTo>
                            <a:lnTo>
                              <a:pt x="156" y="354"/>
                            </a:lnTo>
                            <a:lnTo>
                              <a:pt x="156" y="354"/>
                            </a:lnTo>
                            <a:lnTo>
                              <a:pt x="145" y="384"/>
                            </a:lnTo>
                            <a:lnTo>
                              <a:pt x="144" y="385"/>
                            </a:lnTo>
                            <a:lnTo>
                              <a:pt x="143" y="385"/>
                            </a:lnTo>
                            <a:lnTo>
                              <a:pt x="98" y="388"/>
                            </a:lnTo>
                            <a:lnTo>
                              <a:pt x="95" y="422"/>
                            </a:lnTo>
                            <a:lnTo>
                              <a:pt x="95" y="423"/>
                            </a:lnTo>
                            <a:lnTo>
                              <a:pt x="94" y="423"/>
                            </a:lnTo>
                            <a:lnTo>
                              <a:pt x="18" y="453"/>
                            </a:lnTo>
                            <a:lnTo>
                              <a:pt x="18" y="541"/>
                            </a:lnTo>
                            <a:lnTo>
                              <a:pt x="18" y="542"/>
                            </a:lnTo>
                            <a:lnTo>
                              <a:pt x="17" y="543"/>
                            </a:lnTo>
                            <a:lnTo>
                              <a:pt x="0" y="563"/>
                            </a:lnTo>
                            <a:lnTo>
                              <a:pt x="38" y="590"/>
                            </a:lnTo>
                            <a:lnTo>
                              <a:pt x="40" y="590"/>
                            </a:lnTo>
                            <a:lnTo>
                              <a:pt x="39" y="592"/>
                            </a:lnTo>
                            <a:lnTo>
                              <a:pt x="18" y="633"/>
                            </a:lnTo>
                            <a:lnTo>
                              <a:pt x="57" y="658"/>
                            </a:lnTo>
                            <a:lnTo>
                              <a:pt x="58" y="659"/>
                            </a:lnTo>
                            <a:lnTo>
                              <a:pt x="58" y="659"/>
                            </a:lnTo>
                            <a:lnTo>
                              <a:pt x="67" y="682"/>
                            </a:lnTo>
                            <a:lnTo>
                              <a:pt x="68" y="683"/>
                            </a:lnTo>
                            <a:lnTo>
                              <a:pt x="67" y="684"/>
                            </a:lnTo>
                            <a:lnTo>
                              <a:pt x="46" y="707"/>
                            </a:lnTo>
                            <a:lnTo>
                              <a:pt x="61" y="749"/>
                            </a:lnTo>
                            <a:lnTo>
                              <a:pt x="123" y="717"/>
                            </a:lnTo>
                            <a:lnTo>
                              <a:pt x="124" y="716"/>
                            </a:lnTo>
                            <a:lnTo>
                              <a:pt x="125" y="717"/>
                            </a:lnTo>
                            <a:lnTo>
                              <a:pt x="146" y="739"/>
                            </a:lnTo>
                            <a:lnTo>
                              <a:pt x="146" y="740"/>
                            </a:lnTo>
                            <a:lnTo>
                              <a:pt x="146" y="741"/>
                            </a:lnTo>
                            <a:lnTo>
                              <a:pt x="115" y="807"/>
                            </a:lnTo>
                            <a:lnTo>
                              <a:pt x="119" y="839"/>
                            </a:lnTo>
                            <a:lnTo>
                              <a:pt x="119" y="840"/>
                            </a:lnTo>
                            <a:lnTo>
                              <a:pt x="118" y="841"/>
                            </a:lnTo>
                            <a:lnTo>
                              <a:pt x="95" y="854"/>
                            </a:lnTo>
                            <a:lnTo>
                              <a:pt x="97" y="880"/>
                            </a:lnTo>
                            <a:lnTo>
                              <a:pt x="147" y="880"/>
                            </a:lnTo>
                            <a:lnTo>
                              <a:pt x="148" y="880"/>
                            </a:lnTo>
                            <a:lnTo>
                              <a:pt x="149" y="881"/>
                            </a:lnTo>
                            <a:lnTo>
                              <a:pt x="172" y="915"/>
                            </a:lnTo>
                            <a:lnTo>
                              <a:pt x="198" y="914"/>
                            </a:lnTo>
                            <a:lnTo>
                              <a:pt x="240" y="876"/>
                            </a:lnTo>
                            <a:lnTo>
                              <a:pt x="246" y="847"/>
                            </a:lnTo>
                            <a:lnTo>
                              <a:pt x="246" y="846"/>
                            </a:lnTo>
                            <a:lnTo>
                              <a:pt x="248" y="846"/>
                            </a:lnTo>
                            <a:lnTo>
                              <a:pt x="279" y="846"/>
                            </a:lnTo>
                            <a:lnTo>
                              <a:pt x="289" y="827"/>
                            </a:lnTo>
                            <a:lnTo>
                              <a:pt x="290" y="825"/>
                            </a:lnTo>
                            <a:lnTo>
                              <a:pt x="291" y="826"/>
                            </a:lnTo>
                            <a:lnTo>
                              <a:pt x="313" y="829"/>
                            </a:lnTo>
                            <a:lnTo>
                              <a:pt x="314" y="829"/>
                            </a:lnTo>
                            <a:lnTo>
                              <a:pt x="314" y="830"/>
                            </a:lnTo>
                            <a:lnTo>
                              <a:pt x="335" y="893"/>
                            </a:lnTo>
                            <a:lnTo>
                              <a:pt x="335" y="894"/>
                            </a:lnTo>
                            <a:lnTo>
                              <a:pt x="334" y="895"/>
                            </a:lnTo>
                            <a:lnTo>
                              <a:pt x="321" y="909"/>
                            </a:lnTo>
                            <a:lnTo>
                              <a:pt x="320" y="909"/>
                            </a:lnTo>
                            <a:lnTo>
                              <a:pt x="319" y="909"/>
                            </a:lnTo>
                            <a:lnTo>
                              <a:pt x="270" y="917"/>
                            </a:lnTo>
                            <a:lnTo>
                              <a:pt x="282" y="944"/>
                            </a:lnTo>
                            <a:lnTo>
                              <a:pt x="282" y="945"/>
                            </a:lnTo>
                            <a:lnTo>
                              <a:pt x="282" y="946"/>
                            </a:lnTo>
                            <a:lnTo>
                              <a:pt x="261" y="968"/>
                            </a:lnTo>
                            <a:lnTo>
                              <a:pt x="256" y="996"/>
                            </a:lnTo>
                            <a:lnTo>
                              <a:pt x="256" y="997"/>
                            </a:lnTo>
                            <a:lnTo>
                              <a:pt x="256" y="997"/>
                            </a:lnTo>
                            <a:lnTo>
                              <a:pt x="226" y="1032"/>
                            </a:lnTo>
                            <a:lnTo>
                              <a:pt x="239" y="1048"/>
                            </a:lnTo>
                            <a:lnTo>
                              <a:pt x="240" y="1048"/>
                            </a:lnTo>
                            <a:lnTo>
                              <a:pt x="239" y="1050"/>
                            </a:lnTo>
                            <a:lnTo>
                              <a:pt x="219" y="1077"/>
                            </a:lnTo>
                            <a:lnTo>
                              <a:pt x="219" y="1109"/>
                            </a:lnTo>
                            <a:lnTo>
                              <a:pt x="273" y="1136"/>
                            </a:lnTo>
                            <a:lnTo>
                              <a:pt x="273" y="1136"/>
                            </a:lnTo>
                            <a:lnTo>
                              <a:pt x="273" y="1136"/>
                            </a:lnTo>
                            <a:lnTo>
                              <a:pt x="316" y="1196"/>
                            </a:lnTo>
                            <a:lnTo>
                              <a:pt x="343" y="1170"/>
                            </a:lnTo>
                            <a:lnTo>
                              <a:pt x="344" y="1170"/>
                            </a:lnTo>
                            <a:lnTo>
                              <a:pt x="344" y="1170"/>
                            </a:lnTo>
                            <a:lnTo>
                              <a:pt x="402" y="1171"/>
                            </a:lnTo>
                            <a:lnTo>
                              <a:pt x="403" y="1171"/>
                            </a:lnTo>
                            <a:lnTo>
                              <a:pt x="403" y="1171"/>
                            </a:lnTo>
                            <a:lnTo>
                              <a:pt x="429" y="1191"/>
                            </a:lnTo>
                            <a:lnTo>
                              <a:pt x="506" y="1166"/>
                            </a:lnTo>
                            <a:lnTo>
                              <a:pt x="509" y="1165"/>
                            </a:lnTo>
                            <a:lnTo>
                              <a:pt x="508" y="1168"/>
                            </a:lnTo>
                            <a:lnTo>
                              <a:pt x="500" y="1201"/>
                            </a:lnTo>
                            <a:lnTo>
                              <a:pt x="500" y="1201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00" name="Google Shape;100;p2"/>
                      <p:cNvSpPr/>
                      <p:nvPr/>
                    </p:nvSpPr>
                    <p:spPr>
                      <a:xfrm>
                        <a:off x="5036745" y="2726142"/>
                        <a:ext cx="227777" cy="16211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22" h="158" extrusionOk="0">
                            <a:moveTo>
                              <a:pt x="0" y="84"/>
                            </a:moveTo>
                            <a:lnTo>
                              <a:pt x="29" y="131"/>
                            </a:lnTo>
                            <a:lnTo>
                              <a:pt x="61" y="158"/>
                            </a:lnTo>
                            <a:lnTo>
                              <a:pt x="128" y="126"/>
                            </a:lnTo>
                            <a:lnTo>
                              <a:pt x="137" y="98"/>
                            </a:lnTo>
                            <a:lnTo>
                              <a:pt x="187" y="42"/>
                            </a:lnTo>
                            <a:lnTo>
                              <a:pt x="215" y="29"/>
                            </a:lnTo>
                            <a:lnTo>
                              <a:pt x="222" y="0"/>
                            </a:lnTo>
                            <a:lnTo>
                              <a:pt x="147" y="26"/>
                            </a:lnTo>
                            <a:lnTo>
                              <a:pt x="146" y="26"/>
                            </a:lnTo>
                            <a:lnTo>
                              <a:pt x="145" y="25"/>
                            </a:lnTo>
                            <a:lnTo>
                              <a:pt x="120" y="4"/>
                            </a:lnTo>
                            <a:lnTo>
                              <a:pt x="63" y="3"/>
                            </a:lnTo>
                            <a:lnTo>
                              <a:pt x="35" y="30"/>
                            </a:lnTo>
                            <a:lnTo>
                              <a:pt x="0" y="84"/>
                            </a:lnTo>
                            <a:lnTo>
                              <a:pt x="0" y="84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01" name="Google Shape;101;p2"/>
                      <p:cNvSpPr/>
                      <p:nvPr/>
                    </p:nvSpPr>
                    <p:spPr>
                      <a:xfrm>
                        <a:off x="4293904" y="2265458"/>
                        <a:ext cx="793116" cy="55097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773" h="537" extrusionOk="0">
                            <a:moveTo>
                              <a:pt x="186" y="357"/>
                            </a:moveTo>
                            <a:lnTo>
                              <a:pt x="253" y="323"/>
                            </a:lnTo>
                            <a:lnTo>
                              <a:pt x="305" y="341"/>
                            </a:lnTo>
                            <a:lnTo>
                              <a:pt x="367" y="331"/>
                            </a:lnTo>
                            <a:lnTo>
                              <a:pt x="458" y="421"/>
                            </a:lnTo>
                            <a:lnTo>
                              <a:pt x="570" y="537"/>
                            </a:lnTo>
                            <a:lnTo>
                              <a:pt x="615" y="519"/>
                            </a:lnTo>
                            <a:lnTo>
                              <a:pt x="643" y="532"/>
                            </a:lnTo>
                            <a:lnTo>
                              <a:pt x="662" y="522"/>
                            </a:lnTo>
                            <a:lnTo>
                              <a:pt x="700" y="534"/>
                            </a:lnTo>
                            <a:lnTo>
                              <a:pt x="720" y="532"/>
                            </a:lnTo>
                            <a:lnTo>
                              <a:pt x="756" y="477"/>
                            </a:lnTo>
                            <a:lnTo>
                              <a:pt x="712" y="417"/>
                            </a:lnTo>
                            <a:lnTo>
                              <a:pt x="658" y="391"/>
                            </a:lnTo>
                            <a:lnTo>
                              <a:pt x="658" y="390"/>
                            </a:lnTo>
                            <a:lnTo>
                              <a:pt x="658" y="389"/>
                            </a:lnTo>
                            <a:lnTo>
                              <a:pt x="658" y="355"/>
                            </a:lnTo>
                            <a:lnTo>
                              <a:pt x="658" y="354"/>
                            </a:lnTo>
                            <a:lnTo>
                              <a:pt x="658" y="354"/>
                            </a:lnTo>
                            <a:lnTo>
                              <a:pt x="677" y="327"/>
                            </a:lnTo>
                            <a:lnTo>
                              <a:pt x="665" y="312"/>
                            </a:lnTo>
                            <a:lnTo>
                              <a:pt x="664" y="311"/>
                            </a:lnTo>
                            <a:lnTo>
                              <a:pt x="665" y="309"/>
                            </a:lnTo>
                            <a:lnTo>
                              <a:pt x="695" y="274"/>
                            </a:lnTo>
                            <a:lnTo>
                              <a:pt x="700" y="246"/>
                            </a:lnTo>
                            <a:lnTo>
                              <a:pt x="700" y="245"/>
                            </a:lnTo>
                            <a:lnTo>
                              <a:pt x="701" y="245"/>
                            </a:lnTo>
                            <a:lnTo>
                              <a:pt x="720" y="224"/>
                            </a:lnTo>
                            <a:lnTo>
                              <a:pt x="707" y="196"/>
                            </a:lnTo>
                            <a:lnTo>
                              <a:pt x="706" y="194"/>
                            </a:lnTo>
                            <a:lnTo>
                              <a:pt x="708" y="193"/>
                            </a:lnTo>
                            <a:lnTo>
                              <a:pt x="761" y="184"/>
                            </a:lnTo>
                            <a:lnTo>
                              <a:pt x="773" y="172"/>
                            </a:lnTo>
                            <a:lnTo>
                              <a:pt x="753" y="111"/>
                            </a:lnTo>
                            <a:lnTo>
                              <a:pt x="733" y="108"/>
                            </a:lnTo>
                            <a:lnTo>
                              <a:pt x="724" y="128"/>
                            </a:lnTo>
                            <a:lnTo>
                              <a:pt x="723" y="129"/>
                            </a:lnTo>
                            <a:lnTo>
                              <a:pt x="722" y="129"/>
                            </a:lnTo>
                            <a:lnTo>
                              <a:pt x="692" y="129"/>
                            </a:lnTo>
                            <a:lnTo>
                              <a:pt x="685" y="156"/>
                            </a:lnTo>
                            <a:lnTo>
                              <a:pt x="685" y="157"/>
                            </a:lnTo>
                            <a:lnTo>
                              <a:pt x="684" y="157"/>
                            </a:lnTo>
                            <a:lnTo>
                              <a:pt x="642" y="196"/>
                            </a:lnTo>
                            <a:lnTo>
                              <a:pt x="641" y="197"/>
                            </a:lnTo>
                            <a:lnTo>
                              <a:pt x="641" y="197"/>
                            </a:lnTo>
                            <a:lnTo>
                              <a:pt x="613" y="199"/>
                            </a:lnTo>
                            <a:lnTo>
                              <a:pt x="613" y="199"/>
                            </a:lnTo>
                            <a:lnTo>
                              <a:pt x="612" y="198"/>
                            </a:lnTo>
                            <a:lnTo>
                              <a:pt x="589" y="163"/>
                            </a:lnTo>
                            <a:lnTo>
                              <a:pt x="537" y="163"/>
                            </a:lnTo>
                            <a:lnTo>
                              <a:pt x="535" y="163"/>
                            </a:lnTo>
                            <a:lnTo>
                              <a:pt x="535" y="161"/>
                            </a:lnTo>
                            <a:lnTo>
                              <a:pt x="533" y="132"/>
                            </a:lnTo>
                            <a:lnTo>
                              <a:pt x="533" y="131"/>
                            </a:lnTo>
                            <a:lnTo>
                              <a:pt x="534" y="130"/>
                            </a:lnTo>
                            <a:lnTo>
                              <a:pt x="557" y="117"/>
                            </a:lnTo>
                            <a:lnTo>
                              <a:pt x="554" y="86"/>
                            </a:lnTo>
                            <a:lnTo>
                              <a:pt x="554" y="86"/>
                            </a:lnTo>
                            <a:lnTo>
                              <a:pt x="554" y="85"/>
                            </a:lnTo>
                            <a:lnTo>
                              <a:pt x="584" y="20"/>
                            </a:lnTo>
                            <a:lnTo>
                              <a:pt x="565" y="0"/>
                            </a:lnTo>
                            <a:lnTo>
                              <a:pt x="440" y="65"/>
                            </a:lnTo>
                            <a:lnTo>
                              <a:pt x="443" y="84"/>
                            </a:lnTo>
                            <a:lnTo>
                              <a:pt x="444" y="86"/>
                            </a:lnTo>
                            <a:lnTo>
                              <a:pt x="442" y="86"/>
                            </a:lnTo>
                            <a:lnTo>
                              <a:pt x="415" y="96"/>
                            </a:lnTo>
                            <a:lnTo>
                              <a:pt x="414" y="96"/>
                            </a:lnTo>
                            <a:lnTo>
                              <a:pt x="414" y="96"/>
                            </a:lnTo>
                            <a:lnTo>
                              <a:pt x="391" y="91"/>
                            </a:lnTo>
                            <a:lnTo>
                              <a:pt x="309" y="129"/>
                            </a:lnTo>
                            <a:lnTo>
                              <a:pt x="308" y="129"/>
                            </a:lnTo>
                            <a:lnTo>
                              <a:pt x="308" y="128"/>
                            </a:lnTo>
                            <a:lnTo>
                              <a:pt x="288" y="112"/>
                            </a:lnTo>
                            <a:lnTo>
                              <a:pt x="229" y="134"/>
                            </a:lnTo>
                            <a:lnTo>
                              <a:pt x="229" y="134"/>
                            </a:lnTo>
                            <a:lnTo>
                              <a:pt x="228" y="133"/>
                            </a:lnTo>
                            <a:lnTo>
                              <a:pt x="198" y="110"/>
                            </a:lnTo>
                            <a:lnTo>
                              <a:pt x="151" y="108"/>
                            </a:lnTo>
                            <a:lnTo>
                              <a:pt x="131" y="128"/>
                            </a:lnTo>
                            <a:lnTo>
                              <a:pt x="130" y="130"/>
                            </a:lnTo>
                            <a:lnTo>
                              <a:pt x="129" y="128"/>
                            </a:lnTo>
                            <a:lnTo>
                              <a:pt x="108" y="109"/>
                            </a:lnTo>
                            <a:lnTo>
                              <a:pt x="94" y="121"/>
                            </a:lnTo>
                            <a:lnTo>
                              <a:pt x="93" y="122"/>
                            </a:lnTo>
                            <a:lnTo>
                              <a:pt x="91" y="121"/>
                            </a:lnTo>
                            <a:lnTo>
                              <a:pt x="65" y="100"/>
                            </a:lnTo>
                            <a:lnTo>
                              <a:pt x="32" y="113"/>
                            </a:lnTo>
                            <a:lnTo>
                              <a:pt x="0" y="134"/>
                            </a:lnTo>
                            <a:lnTo>
                              <a:pt x="41" y="161"/>
                            </a:lnTo>
                            <a:lnTo>
                              <a:pt x="42" y="162"/>
                            </a:lnTo>
                            <a:lnTo>
                              <a:pt x="41" y="164"/>
                            </a:lnTo>
                            <a:lnTo>
                              <a:pt x="29" y="180"/>
                            </a:lnTo>
                            <a:lnTo>
                              <a:pt x="48" y="199"/>
                            </a:lnTo>
                            <a:lnTo>
                              <a:pt x="81" y="180"/>
                            </a:lnTo>
                            <a:lnTo>
                              <a:pt x="83" y="180"/>
                            </a:lnTo>
                            <a:lnTo>
                              <a:pt x="84" y="181"/>
                            </a:lnTo>
                            <a:lnTo>
                              <a:pt x="100" y="209"/>
                            </a:lnTo>
                            <a:lnTo>
                              <a:pt x="126" y="204"/>
                            </a:lnTo>
                            <a:lnTo>
                              <a:pt x="128" y="203"/>
                            </a:lnTo>
                            <a:lnTo>
                              <a:pt x="128" y="205"/>
                            </a:lnTo>
                            <a:lnTo>
                              <a:pt x="132" y="256"/>
                            </a:lnTo>
                            <a:lnTo>
                              <a:pt x="158" y="271"/>
                            </a:lnTo>
                            <a:lnTo>
                              <a:pt x="160" y="272"/>
                            </a:lnTo>
                            <a:lnTo>
                              <a:pt x="159" y="273"/>
                            </a:lnTo>
                            <a:lnTo>
                              <a:pt x="144" y="294"/>
                            </a:lnTo>
                            <a:lnTo>
                              <a:pt x="186" y="357"/>
                            </a:lnTo>
                            <a:lnTo>
                              <a:pt x="186" y="357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02" name="Google Shape;102;p2"/>
                      <p:cNvSpPr/>
                      <p:nvPr/>
                    </p:nvSpPr>
                    <p:spPr>
                      <a:xfrm>
                        <a:off x="5304536" y="2073592"/>
                        <a:ext cx="446320" cy="60124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35" h="586" extrusionOk="0">
                            <a:moveTo>
                              <a:pt x="85" y="207"/>
                            </a:moveTo>
                            <a:lnTo>
                              <a:pt x="83" y="204"/>
                            </a:lnTo>
                            <a:lnTo>
                              <a:pt x="141" y="235"/>
                            </a:lnTo>
                            <a:lnTo>
                              <a:pt x="160" y="285"/>
                            </a:lnTo>
                            <a:lnTo>
                              <a:pt x="189" y="321"/>
                            </a:lnTo>
                            <a:lnTo>
                              <a:pt x="224" y="376"/>
                            </a:lnTo>
                            <a:lnTo>
                              <a:pt x="248" y="417"/>
                            </a:lnTo>
                            <a:lnTo>
                              <a:pt x="277" y="439"/>
                            </a:lnTo>
                            <a:lnTo>
                              <a:pt x="286" y="465"/>
                            </a:lnTo>
                            <a:lnTo>
                              <a:pt x="294" y="487"/>
                            </a:lnTo>
                            <a:lnTo>
                              <a:pt x="329" y="504"/>
                            </a:lnTo>
                            <a:lnTo>
                              <a:pt x="334" y="539"/>
                            </a:lnTo>
                            <a:lnTo>
                              <a:pt x="371" y="586"/>
                            </a:lnTo>
                            <a:lnTo>
                              <a:pt x="373" y="545"/>
                            </a:lnTo>
                            <a:lnTo>
                              <a:pt x="368" y="515"/>
                            </a:lnTo>
                            <a:lnTo>
                              <a:pt x="397" y="513"/>
                            </a:lnTo>
                            <a:lnTo>
                              <a:pt x="408" y="508"/>
                            </a:lnTo>
                            <a:lnTo>
                              <a:pt x="435" y="522"/>
                            </a:lnTo>
                            <a:lnTo>
                              <a:pt x="413" y="476"/>
                            </a:lnTo>
                            <a:lnTo>
                              <a:pt x="382" y="476"/>
                            </a:lnTo>
                            <a:lnTo>
                              <a:pt x="348" y="461"/>
                            </a:lnTo>
                            <a:lnTo>
                              <a:pt x="309" y="434"/>
                            </a:lnTo>
                            <a:lnTo>
                              <a:pt x="284" y="371"/>
                            </a:lnTo>
                            <a:lnTo>
                              <a:pt x="271" y="330"/>
                            </a:lnTo>
                            <a:lnTo>
                              <a:pt x="300" y="313"/>
                            </a:lnTo>
                            <a:lnTo>
                              <a:pt x="356" y="311"/>
                            </a:lnTo>
                            <a:lnTo>
                              <a:pt x="231" y="227"/>
                            </a:lnTo>
                            <a:lnTo>
                              <a:pt x="143" y="148"/>
                            </a:lnTo>
                            <a:lnTo>
                              <a:pt x="103" y="71"/>
                            </a:lnTo>
                            <a:lnTo>
                              <a:pt x="47" y="33"/>
                            </a:lnTo>
                            <a:lnTo>
                              <a:pt x="22" y="0"/>
                            </a:lnTo>
                            <a:lnTo>
                              <a:pt x="4" y="8"/>
                            </a:lnTo>
                            <a:lnTo>
                              <a:pt x="0" y="27"/>
                            </a:lnTo>
                            <a:lnTo>
                              <a:pt x="33" y="50"/>
                            </a:lnTo>
                            <a:lnTo>
                              <a:pt x="51" y="76"/>
                            </a:lnTo>
                            <a:lnTo>
                              <a:pt x="41" y="89"/>
                            </a:lnTo>
                            <a:lnTo>
                              <a:pt x="25" y="85"/>
                            </a:lnTo>
                            <a:lnTo>
                              <a:pt x="20" y="108"/>
                            </a:lnTo>
                            <a:lnTo>
                              <a:pt x="52" y="132"/>
                            </a:lnTo>
                            <a:lnTo>
                              <a:pt x="83" y="204"/>
                            </a:lnTo>
                            <a:lnTo>
                              <a:pt x="81" y="203"/>
                            </a:lnTo>
                            <a:lnTo>
                              <a:pt x="85" y="207"/>
                            </a:lnTo>
                            <a:lnTo>
                              <a:pt x="85" y="207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03" name="Google Shape;103;p2"/>
                      <p:cNvSpPr/>
                      <p:nvPr/>
                    </p:nvSpPr>
                    <p:spPr>
                      <a:xfrm>
                        <a:off x="456580" y="1633428"/>
                        <a:ext cx="145695" cy="2011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2" h="196" extrusionOk="0">
                            <a:moveTo>
                              <a:pt x="21" y="0"/>
                            </a:moveTo>
                            <a:lnTo>
                              <a:pt x="6" y="18"/>
                            </a:lnTo>
                            <a:lnTo>
                              <a:pt x="0" y="28"/>
                            </a:lnTo>
                            <a:lnTo>
                              <a:pt x="3" y="43"/>
                            </a:lnTo>
                            <a:lnTo>
                              <a:pt x="17" y="50"/>
                            </a:lnTo>
                            <a:lnTo>
                              <a:pt x="15" y="73"/>
                            </a:lnTo>
                            <a:lnTo>
                              <a:pt x="53" y="97"/>
                            </a:lnTo>
                            <a:lnTo>
                              <a:pt x="54" y="140"/>
                            </a:lnTo>
                            <a:lnTo>
                              <a:pt x="84" y="196"/>
                            </a:lnTo>
                            <a:lnTo>
                              <a:pt x="124" y="155"/>
                            </a:lnTo>
                            <a:lnTo>
                              <a:pt x="121" y="136"/>
                            </a:lnTo>
                            <a:lnTo>
                              <a:pt x="120" y="136"/>
                            </a:lnTo>
                            <a:lnTo>
                              <a:pt x="121" y="135"/>
                            </a:lnTo>
                            <a:lnTo>
                              <a:pt x="127" y="124"/>
                            </a:lnTo>
                            <a:lnTo>
                              <a:pt x="128" y="123"/>
                            </a:lnTo>
                            <a:lnTo>
                              <a:pt x="129" y="123"/>
                            </a:lnTo>
                            <a:lnTo>
                              <a:pt x="142" y="124"/>
                            </a:lnTo>
                            <a:lnTo>
                              <a:pt x="141" y="116"/>
                            </a:lnTo>
                            <a:lnTo>
                              <a:pt x="134" y="111"/>
                            </a:lnTo>
                            <a:lnTo>
                              <a:pt x="133" y="110"/>
                            </a:lnTo>
                            <a:lnTo>
                              <a:pt x="133" y="109"/>
                            </a:lnTo>
                            <a:lnTo>
                              <a:pt x="142" y="98"/>
                            </a:lnTo>
                            <a:lnTo>
                              <a:pt x="142" y="77"/>
                            </a:lnTo>
                            <a:lnTo>
                              <a:pt x="114" y="49"/>
                            </a:lnTo>
                            <a:lnTo>
                              <a:pt x="88" y="44"/>
                            </a:lnTo>
                            <a:lnTo>
                              <a:pt x="87" y="43"/>
                            </a:lnTo>
                            <a:lnTo>
                              <a:pt x="87" y="43"/>
                            </a:lnTo>
                            <a:lnTo>
                              <a:pt x="68" y="31"/>
                            </a:lnTo>
                            <a:lnTo>
                              <a:pt x="67" y="30"/>
                            </a:lnTo>
                            <a:lnTo>
                              <a:pt x="67" y="30"/>
                            </a:lnTo>
                            <a:lnTo>
                              <a:pt x="62" y="13"/>
                            </a:lnTo>
                            <a:lnTo>
                              <a:pt x="52" y="12"/>
                            </a:lnTo>
                            <a:lnTo>
                              <a:pt x="43" y="17"/>
                            </a:lnTo>
                            <a:lnTo>
                              <a:pt x="42" y="18"/>
                            </a:lnTo>
                            <a:lnTo>
                              <a:pt x="40" y="17"/>
                            </a:lnTo>
                            <a:lnTo>
                              <a:pt x="21" y="0"/>
                            </a:lnTo>
                            <a:lnTo>
                              <a:pt x="21" y="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04" name="Google Shape;104;p2"/>
                      <p:cNvSpPr/>
                      <p:nvPr/>
                    </p:nvSpPr>
                    <p:spPr>
                      <a:xfrm>
                        <a:off x="466841" y="1534930"/>
                        <a:ext cx="176476" cy="17442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72" h="170" extrusionOk="0">
                            <a:moveTo>
                              <a:pt x="36" y="0"/>
                            </a:moveTo>
                            <a:lnTo>
                              <a:pt x="20" y="7"/>
                            </a:lnTo>
                            <a:lnTo>
                              <a:pt x="12" y="23"/>
                            </a:lnTo>
                            <a:lnTo>
                              <a:pt x="0" y="26"/>
                            </a:lnTo>
                            <a:lnTo>
                              <a:pt x="0" y="45"/>
                            </a:lnTo>
                            <a:lnTo>
                              <a:pt x="16" y="55"/>
                            </a:lnTo>
                            <a:lnTo>
                              <a:pt x="12" y="92"/>
                            </a:lnTo>
                            <a:lnTo>
                              <a:pt x="32" y="109"/>
                            </a:lnTo>
                            <a:lnTo>
                              <a:pt x="41" y="104"/>
                            </a:lnTo>
                            <a:lnTo>
                              <a:pt x="42" y="104"/>
                            </a:lnTo>
                            <a:lnTo>
                              <a:pt x="42" y="104"/>
                            </a:lnTo>
                            <a:lnTo>
                              <a:pt x="54" y="106"/>
                            </a:lnTo>
                            <a:lnTo>
                              <a:pt x="55" y="106"/>
                            </a:lnTo>
                            <a:lnTo>
                              <a:pt x="55" y="107"/>
                            </a:lnTo>
                            <a:lnTo>
                              <a:pt x="60" y="124"/>
                            </a:lnTo>
                            <a:lnTo>
                              <a:pt x="79" y="136"/>
                            </a:lnTo>
                            <a:lnTo>
                              <a:pt x="106" y="142"/>
                            </a:lnTo>
                            <a:lnTo>
                              <a:pt x="106" y="142"/>
                            </a:lnTo>
                            <a:lnTo>
                              <a:pt x="107" y="143"/>
                            </a:lnTo>
                            <a:lnTo>
                              <a:pt x="133" y="170"/>
                            </a:lnTo>
                            <a:lnTo>
                              <a:pt x="146" y="159"/>
                            </a:lnTo>
                            <a:lnTo>
                              <a:pt x="146" y="158"/>
                            </a:lnTo>
                            <a:lnTo>
                              <a:pt x="147" y="158"/>
                            </a:lnTo>
                            <a:lnTo>
                              <a:pt x="157" y="158"/>
                            </a:lnTo>
                            <a:lnTo>
                              <a:pt x="158" y="158"/>
                            </a:lnTo>
                            <a:lnTo>
                              <a:pt x="158" y="159"/>
                            </a:lnTo>
                            <a:lnTo>
                              <a:pt x="163" y="165"/>
                            </a:lnTo>
                            <a:lnTo>
                              <a:pt x="168" y="164"/>
                            </a:lnTo>
                            <a:lnTo>
                              <a:pt x="172" y="157"/>
                            </a:lnTo>
                            <a:lnTo>
                              <a:pt x="159" y="141"/>
                            </a:lnTo>
                            <a:lnTo>
                              <a:pt x="159" y="140"/>
                            </a:lnTo>
                            <a:lnTo>
                              <a:pt x="159" y="140"/>
                            </a:lnTo>
                            <a:lnTo>
                              <a:pt x="158" y="124"/>
                            </a:lnTo>
                            <a:lnTo>
                              <a:pt x="145" y="120"/>
                            </a:lnTo>
                            <a:lnTo>
                              <a:pt x="144" y="119"/>
                            </a:lnTo>
                            <a:lnTo>
                              <a:pt x="144" y="119"/>
                            </a:lnTo>
                            <a:lnTo>
                              <a:pt x="140" y="110"/>
                            </a:lnTo>
                            <a:lnTo>
                              <a:pt x="140" y="110"/>
                            </a:lnTo>
                            <a:lnTo>
                              <a:pt x="140" y="110"/>
                            </a:lnTo>
                            <a:lnTo>
                              <a:pt x="140" y="96"/>
                            </a:lnTo>
                            <a:lnTo>
                              <a:pt x="134" y="89"/>
                            </a:lnTo>
                            <a:lnTo>
                              <a:pt x="133" y="88"/>
                            </a:lnTo>
                            <a:lnTo>
                              <a:pt x="133" y="87"/>
                            </a:lnTo>
                            <a:lnTo>
                              <a:pt x="133" y="59"/>
                            </a:lnTo>
                            <a:lnTo>
                              <a:pt x="90" y="2"/>
                            </a:lnTo>
                            <a:lnTo>
                              <a:pt x="36" y="0"/>
                            </a:lnTo>
                            <a:lnTo>
                              <a:pt x="36" y="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05" name="Google Shape;105;p2"/>
                      <p:cNvSpPr/>
                      <p:nvPr/>
                    </p:nvSpPr>
                    <p:spPr>
                      <a:xfrm>
                        <a:off x="450424" y="1355376"/>
                        <a:ext cx="185710" cy="17750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81" h="173" extrusionOk="0">
                            <a:moveTo>
                              <a:pt x="114" y="43"/>
                            </a:moveTo>
                            <a:lnTo>
                              <a:pt x="86" y="41"/>
                            </a:lnTo>
                            <a:lnTo>
                              <a:pt x="67" y="22"/>
                            </a:lnTo>
                            <a:lnTo>
                              <a:pt x="69" y="4"/>
                            </a:lnTo>
                            <a:lnTo>
                              <a:pt x="50" y="0"/>
                            </a:lnTo>
                            <a:lnTo>
                              <a:pt x="39" y="27"/>
                            </a:lnTo>
                            <a:lnTo>
                              <a:pt x="0" y="61"/>
                            </a:lnTo>
                            <a:lnTo>
                              <a:pt x="3" y="82"/>
                            </a:lnTo>
                            <a:lnTo>
                              <a:pt x="23" y="81"/>
                            </a:lnTo>
                            <a:lnTo>
                              <a:pt x="39" y="94"/>
                            </a:lnTo>
                            <a:lnTo>
                              <a:pt x="45" y="122"/>
                            </a:lnTo>
                            <a:lnTo>
                              <a:pt x="63" y="120"/>
                            </a:lnTo>
                            <a:lnTo>
                              <a:pt x="84" y="124"/>
                            </a:lnTo>
                            <a:lnTo>
                              <a:pt x="84" y="137"/>
                            </a:lnTo>
                            <a:lnTo>
                              <a:pt x="58" y="171"/>
                            </a:lnTo>
                            <a:lnTo>
                              <a:pt x="107" y="173"/>
                            </a:lnTo>
                            <a:lnTo>
                              <a:pt x="168" y="129"/>
                            </a:lnTo>
                            <a:lnTo>
                              <a:pt x="163" y="121"/>
                            </a:lnTo>
                            <a:lnTo>
                              <a:pt x="163" y="121"/>
                            </a:lnTo>
                            <a:lnTo>
                              <a:pt x="163" y="120"/>
                            </a:lnTo>
                            <a:lnTo>
                              <a:pt x="163" y="110"/>
                            </a:lnTo>
                            <a:lnTo>
                              <a:pt x="163" y="109"/>
                            </a:lnTo>
                            <a:lnTo>
                              <a:pt x="163" y="109"/>
                            </a:lnTo>
                            <a:lnTo>
                              <a:pt x="170" y="102"/>
                            </a:lnTo>
                            <a:lnTo>
                              <a:pt x="170" y="102"/>
                            </a:lnTo>
                            <a:lnTo>
                              <a:pt x="171" y="101"/>
                            </a:lnTo>
                            <a:lnTo>
                              <a:pt x="181" y="95"/>
                            </a:lnTo>
                            <a:lnTo>
                              <a:pt x="180" y="87"/>
                            </a:lnTo>
                            <a:lnTo>
                              <a:pt x="168" y="86"/>
                            </a:lnTo>
                            <a:lnTo>
                              <a:pt x="161" y="92"/>
                            </a:lnTo>
                            <a:lnTo>
                              <a:pt x="160" y="92"/>
                            </a:lnTo>
                            <a:lnTo>
                              <a:pt x="159" y="92"/>
                            </a:lnTo>
                            <a:lnTo>
                              <a:pt x="148" y="85"/>
                            </a:lnTo>
                            <a:lnTo>
                              <a:pt x="147" y="85"/>
                            </a:lnTo>
                            <a:lnTo>
                              <a:pt x="147" y="85"/>
                            </a:lnTo>
                            <a:lnTo>
                              <a:pt x="140" y="72"/>
                            </a:lnTo>
                            <a:lnTo>
                              <a:pt x="140" y="71"/>
                            </a:lnTo>
                            <a:lnTo>
                              <a:pt x="140" y="71"/>
                            </a:lnTo>
                            <a:lnTo>
                              <a:pt x="140" y="59"/>
                            </a:lnTo>
                            <a:lnTo>
                              <a:pt x="139" y="58"/>
                            </a:lnTo>
                            <a:lnTo>
                              <a:pt x="140" y="58"/>
                            </a:lnTo>
                            <a:lnTo>
                              <a:pt x="146" y="47"/>
                            </a:lnTo>
                            <a:lnTo>
                              <a:pt x="117" y="45"/>
                            </a:lnTo>
                            <a:lnTo>
                              <a:pt x="117" y="45"/>
                            </a:lnTo>
                            <a:lnTo>
                              <a:pt x="116" y="45"/>
                            </a:lnTo>
                            <a:lnTo>
                              <a:pt x="114" y="43"/>
                            </a:lnTo>
                            <a:lnTo>
                              <a:pt x="114" y="43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06" name="Google Shape;106;p2"/>
                      <p:cNvSpPr/>
                      <p:nvPr/>
                    </p:nvSpPr>
                    <p:spPr>
                      <a:xfrm>
                        <a:off x="570469" y="1224045"/>
                        <a:ext cx="227777" cy="19494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22" h="190" extrusionOk="0">
                            <a:moveTo>
                              <a:pt x="82" y="4"/>
                            </a:moveTo>
                            <a:lnTo>
                              <a:pt x="78" y="12"/>
                            </a:lnTo>
                            <a:lnTo>
                              <a:pt x="46" y="31"/>
                            </a:lnTo>
                            <a:lnTo>
                              <a:pt x="29" y="57"/>
                            </a:lnTo>
                            <a:lnTo>
                              <a:pt x="11" y="94"/>
                            </a:lnTo>
                            <a:lnTo>
                              <a:pt x="9" y="123"/>
                            </a:lnTo>
                            <a:lnTo>
                              <a:pt x="14" y="141"/>
                            </a:lnTo>
                            <a:lnTo>
                              <a:pt x="1" y="157"/>
                            </a:lnTo>
                            <a:lnTo>
                              <a:pt x="0" y="169"/>
                            </a:lnTo>
                            <a:lnTo>
                              <a:pt x="1" y="170"/>
                            </a:lnTo>
                            <a:lnTo>
                              <a:pt x="32" y="171"/>
                            </a:lnTo>
                            <a:lnTo>
                              <a:pt x="45" y="166"/>
                            </a:lnTo>
                            <a:lnTo>
                              <a:pt x="45" y="166"/>
                            </a:lnTo>
                            <a:lnTo>
                              <a:pt x="45" y="166"/>
                            </a:lnTo>
                            <a:lnTo>
                              <a:pt x="70" y="166"/>
                            </a:lnTo>
                            <a:lnTo>
                              <a:pt x="83" y="154"/>
                            </a:lnTo>
                            <a:lnTo>
                              <a:pt x="84" y="153"/>
                            </a:lnTo>
                            <a:lnTo>
                              <a:pt x="85" y="153"/>
                            </a:lnTo>
                            <a:lnTo>
                              <a:pt x="103" y="155"/>
                            </a:lnTo>
                            <a:lnTo>
                              <a:pt x="104" y="155"/>
                            </a:lnTo>
                            <a:lnTo>
                              <a:pt x="105" y="156"/>
                            </a:lnTo>
                            <a:lnTo>
                              <a:pt x="112" y="182"/>
                            </a:lnTo>
                            <a:lnTo>
                              <a:pt x="119" y="178"/>
                            </a:lnTo>
                            <a:lnTo>
                              <a:pt x="120" y="178"/>
                            </a:lnTo>
                            <a:lnTo>
                              <a:pt x="120" y="178"/>
                            </a:lnTo>
                            <a:lnTo>
                              <a:pt x="134" y="180"/>
                            </a:lnTo>
                            <a:lnTo>
                              <a:pt x="134" y="180"/>
                            </a:lnTo>
                            <a:lnTo>
                              <a:pt x="135" y="181"/>
                            </a:lnTo>
                            <a:lnTo>
                              <a:pt x="141" y="190"/>
                            </a:lnTo>
                            <a:lnTo>
                              <a:pt x="177" y="186"/>
                            </a:lnTo>
                            <a:lnTo>
                              <a:pt x="198" y="173"/>
                            </a:lnTo>
                            <a:lnTo>
                              <a:pt x="221" y="140"/>
                            </a:lnTo>
                            <a:lnTo>
                              <a:pt x="222" y="131"/>
                            </a:lnTo>
                            <a:lnTo>
                              <a:pt x="206" y="112"/>
                            </a:lnTo>
                            <a:lnTo>
                              <a:pt x="205" y="112"/>
                            </a:lnTo>
                            <a:lnTo>
                              <a:pt x="205" y="111"/>
                            </a:lnTo>
                            <a:lnTo>
                              <a:pt x="203" y="93"/>
                            </a:lnTo>
                            <a:lnTo>
                              <a:pt x="164" y="86"/>
                            </a:lnTo>
                            <a:lnTo>
                              <a:pt x="163" y="86"/>
                            </a:lnTo>
                            <a:lnTo>
                              <a:pt x="163" y="86"/>
                            </a:lnTo>
                            <a:lnTo>
                              <a:pt x="144" y="72"/>
                            </a:lnTo>
                            <a:lnTo>
                              <a:pt x="143" y="72"/>
                            </a:lnTo>
                            <a:lnTo>
                              <a:pt x="143" y="71"/>
                            </a:lnTo>
                            <a:lnTo>
                              <a:pt x="118" y="23"/>
                            </a:lnTo>
                            <a:lnTo>
                              <a:pt x="118" y="23"/>
                            </a:lnTo>
                            <a:lnTo>
                              <a:pt x="118" y="23"/>
                            </a:lnTo>
                            <a:lnTo>
                              <a:pt x="110" y="4"/>
                            </a:lnTo>
                            <a:lnTo>
                              <a:pt x="102" y="0"/>
                            </a:lnTo>
                            <a:lnTo>
                              <a:pt x="86" y="4"/>
                            </a:lnTo>
                            <a:lnTo>
                              <a:pt x="86" y="4"/>
                            </a:lnTo>
                            <a:lnTo>
                              <a:pt x="86" y="4"/>
                            </a:lnTo>
                            <a:lnTo>
                              <a:pt x="82" y="4"/>
                            </a:lnTo>
                            <a:lnTo>
                              <a:pt x="82" y="4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07" name="Google Shape;107;p2"/>
                      <p:cNvSpPr/>
                      <p:nvPr/>
                    </p:nvSpPr>
                    <p:spPr>
                      <a:xfrm>
                        <a:off x="563287" y="1489785"/>
                        <a:ext cx="137487" cy="17032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34" h="166" extrusionOk="0">
                            <a:moveTo>
                              <a:pt x="0" y="45"/>
                            </a:moveTo>
                            <a:lnTo>
                              <a:pt x="43" y="101"/>
                            </a:lnTo>
                            <a:lnTo>
                              <a:pt x="43" y="101"/>
                            </a:lnTo>
                            <a:lnTo>
                              <a:pt x="43" y="131"/>
                            </a:lnTo>
                            <a:lnTo>
                              <a:pt x="49" y="138"/>
                            </a:lnTo>
                            <a:lnTo>
                              <a:pt x="49" y="139"/>
                            </a:lnTo>
                            <a:lnTo>
                              <a:pt x="49" y="139"/>
                            </a:lnTo>
                            <a:lnTo>
                              <a:pt x="49" y="153"/>
                            </a:lnTo>
                            <a:lnTo>
                              <a:pt x="53" y="161"/>
                            </a:lnTo>
                            <a:lnTo>
                              <a:pt x="66" y="165"/>
                            </a:lnTo>
                            <a:lnTo>
                              <a:pt x="86" y="166"/>
                            </a:lnTo>
                            <a:lnTo>
                              <a:pt x="92" y="155"/>
                            </a:lnTo>
                            <a:lnTo>
                              <a:pt x="92" y="154"/>
                            </a:lnTo>
                            <a:lnTo>
                              <a:pt x="93" y="154"/>
                            </a:lnTo>
                            <a:lnTo>
                              <a:pt x="130" y="123"/>
                            </a:lnTo>
                            <a:lnTo>
                              <a:pt x="134" y="93"/>
                            </a:lnTo>
                            <a:lnTo>
                              <a:pt x="118" y="78"/>
                            </a:lnTo>
                            <a:lnTo>
                              <a:pt x="118" y="78"/>
                            </a:lnTo>
                            <a:lnTo>
                              <a:pt x="118" y="77"/>
                            </a:lnTo>
                            <a:lnTo>
                              <a:pt x="109" y="59"/>
                            </a:lnTo>
                            <a:lnTo>
                              <a:pt x="109" y="59"/>
                            </a:lnTo>
                            <a:lnTo>
                              <a:pt x="109" y="58"/>
                            </a:lnTo>
                            <a:lnTo>
                              <a:pt x="110" y="27"/>
                            </a:lnTo>
                            <a:lnTo>
                              <a:pt x="60" y="0"/>
                            </a:lnTo>
                            <a:lnTo>
                              <a:pt x="0" y="45"/>
                            </a:lnTo>
                            <a:lnTo>
                              <a:pt x="0" y="45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08" name="Google Shape;108;p2"/>
                      <p:cNvSpPr/>
                      <p:nvPr/>
                    </p:nvSpPr>
                    <p:spPr>
                      <a:xfrm>
                        <a:off x="633056" y="1620090"/>
                        <a:ext cx="158007" cy="15287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54" h="149" extrusionOk="0">
                            <a:moveTo>
                              <a:pt x="64" y="0"/>
                            </a:moveTo>
                            <a:lnTo>
                              <a:pt x="27" y="30"/>
                            </a:lnTo>
                            <a:lnTo>
                              <a:pt x="20" y="41"/>
                            </a:lnTo>
                            <a:lnTo>
                              <a:pt x="20" y="42"/>
                            </a:lnTo>
                            <a:lnTo>
                              <a:pt x="19" y="42"/>
                            </a:lnTo>
                            <a:lnTo>
                              <a:pt x="0" y="41"/>
                            </a:lnTo>
                            <a:lnTo>
                              <a:pt x="1" y="56"/>
                            </a:lnTo>
                            <a:lnTo>
                              <a:pt x="13" y="72"/>
                            </a:lnTo>
                            <a:lnTo>
                              <a:pt x="33" y="74"/>
                            </a:lnTo>
                            <a:lnTo>
                              <a:pt x="34" y="74"/>
                            </a:lnTo>
                            <a:lnTo>
                              <a:pt x="35" y="75"/>
                            </a:lnTo>
                            <a:lnTo>
                              <a:pt x="40" y="85"/>
                            </a:lnTo>
                            <a:lnTo>
                              <a:pt x="40" y="85"/>
                            </a:lnTo>
                            <a:lnTo>
                              <a:pt x="40" y="85"/>
                            </a:lnTo>
                            <a:lnTo>
                              <a:pt x="40" y="97"/>
                            </a:lnTo>
                            <a:lnTo>
                              <a:pt x="53" y="103"/>
                            </a:lnTo>
                            <a:lnTo>
                              <a:pt x="54" y="104"/>
                            </a:lnTo>
                            <a:lnTo>
                              <a:pt x="54" y="105"/>
                            </a:lnTo>
                            <a:lnTo>
                              <a:pt x="57" y="124"/>
                            </a:lnTo>
                            <a:lnTo>
                              <a:pt x="89" y="149"/>
                            </a:lnTo>
                            <a:lnTo>
                              <a:pt x="105" y="142"/>
                            </a:lnTo>
                            <a:lnTo>
                              <a:pt x="109" y="133"/>
                            </a:lnTo>
                            <a:lnTo>
                              <a:pt x="107" y="117"/>
                            </a:lnTo>
                            <a:lnTo>
                              <a:pt x="102" y="107"/>
                            </a:lnTo>
                            <a:lnTo>
                              <a:pt x="102" y="106"/>
                            </a:lnTo>
                            <a:lnTo>
                              <a:pt x="102" y="105"/>
                            </a:lnTo>
                            <a:lnTo>
                              <a:pt x="109" y="94"/>
                            </a:lnTo>
                            <a:lnTo>
                              <a:pt x="109" y="93"/>
                            </a:lnTo>
                            <a:lnTo>
                              <a:pt x="110" y="93"/>
                            </a:lnTo>
                            <a:lnTo>
                              <a:pt x="138" y="80"/>
                            </a:lnTo>
                            <a:lnTo>
                              <a:pt x="154" y="65"/>
                            </a:lnTo>
                            <a:lnTo>
                              <a:pt x="154" y="47"/>
                            </a:lnTo>
                            <a:lnTo>
                              <a:pt x="150" y="35"/>
                            </a:lnTo>
                            <a:lnTo>
                              <a:pt x="136" y="23"/>
                            </a:lnTo>
                            <a:lnTo>
                              <a:pt x="135" y="23"/>
                            </a:lnTo>
                            <a:lnTo>
                              <a:pt x="135" y="22"/>
                            </a:lnTo>
                            <a:lnTo>
                              <a:pt x="130" y="10"/>
                            </a:lnTo>
                            <a:lnTo>
                              <a:pt x="117" y="8"/>
                            </a:lnTo>
                            <a:lnTo>
                              <a:pt x="95" y="18"/>
                            </a:lnTo>
                            <a:lnTo>
                              <a:pt x="94" y="19"/>
                            </a:lnTo>
                            <a:lnTo>
                              <a:pt x="94" y="19"/>
                            </a:lnTo>
                            <a:lnTo>
                              <a:pt x="78" y="17"/>
                            </a:lnTo>
                            <a:lnTo>
                              <a:pt x="78" y="17"/>
                            </a:lnTo>
                            <a:lnTo>
                              <a:pt x="77" y="16"/>
                            </a:lnTo>
                            <a:lnTo>
                              <a:pt x="64" y="0"/>
                            </a:lnTo>
                            <a:lnTo>
                              <a:pt x="64" y="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09" name="Google Shape;109;p2"/>
                      <p:cNvSpPr/>
                      <p:nvPr/>
                    </p:nvSpPr>
                    <p:spPr>
                      <a:xfrm>
                        <a:off x="724372" y="1684729"/>
                        <a:ext cx="155955" cy="17750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52" h="173" extrusionOk="0">
                            <a:moveTo>
                              <a:pt x="69" y="0"/>
                            </a:moveTo>
                            <a:lnTo>
                              <a:pt x="69" y="3"/>
                            </a:lnTo>
                            <a:lnTo>
                              <a:pt x="69" y="4"/>
                            </a:lnTo>
                            <a:lnTo>
                              <a:pt x="68" y="4"/>
                            </a:lnTo>
                            <a:lnTo>
                              <a:pt x="51" y="20"/>
                            </a:lnTo>
                            <a:lnTo>
                              <a:pt x="50" y="20"/>
                            </a:lnTo>
                            <a:lnTo>
                              <a:pt x="50" y="20"/>
                            </a:lnTo>
                            <a:lnTo>
                              <a:pt x="23" y="33"/>
                            </a:lnTo>
                            <a:lnTo>
                              <a:pt x="17" y="43"/>
                            </a:lnTo>
                            <a:lnTo>
                              <a:pt x="21" y="52"/>
                            </a:lnTo>
                            <a:lnTo>
                              <a:pt x="21" y="52"/>
                            </a:lnTo>
                            <a:lnTo>
                              <a:pt x="21" y="53"/>
                            </a:lnTo>
                            <a:lnTo>
                              <a:pt x="24" y="69"/>
                            </a:lnTo>
                            <a:lnTo>
                              <a:pt x="24" y="70"/>
                            </a:lnTo>
                            <a:lnTo>
                              <a:pt x="24" y="71"/>
                            </a:lnTo>
                            <a:lnTo>
                              <a:pt x="19" y="81"/>
                            </a:lnTo>
                            <a:lnTo>
                              <a:pt x="19" y="82"/>
                            </a:lnTo>
                            <a:lnTo>
                              <a:pt x="18" y="82"/>
                            </a:lnTo>
                            <a:lnTo>
                              <a:pt x="2" y="90"/>
                            </a:lnTo>
                            <a:lnTo>
                              <a:pt x="0" y="118"/>
                            </a:lnTo>
                            <a:lnTo>
                              <a:pt x="16" y="130"/>
                            </a:lnTo>
                            <a:lnTo>
                              <a:pt x="16" y="130"/>
                            </a:lnTo>
                            <a:lnTo>
                              <a:pt x="16" y="130"/>
                            </a:lnTo>
                            <a:lnTo>
                              <a:pt x="28" y="140"/>
                            </a:lnTo>
                            <a:lnTo>
                              <a:pt x="28" y="141"/>
                            </a:lnTo>
                            <a:lnTo>
                              <a:pt x="28" y="142"/>
                            </a:lnTo>
                            <a:lnTo>
                              <a:pt x="30" y="160"/>
                            </a:lnTo>
                            <a:lnTo>
                              <a:pt x="46" y="173"/>
                            </a:lnTo>
                            <a:lnTo>
                              <a:pt x="70" y="169"/>
                            </a:lnTo>
                            <a:lnTo>
                              <a:pt x="119" y="144"/>
                            </a:lnTo>
                            <a:lnTo>
                              <a:pt x="125" y="135"/>
                            </a:lnTo>
                            <a:lnTo>
                              <a:pt x="125" y="95"/>
                            </a:lnTo>
                            <a:lnTo>
                              <a:pt x="125" y="95"/>
                            </a:lnTo>
                            <a:lnTo>
                              <a:pt x="125" y="95"/>
                            </a:lnTo>
                            <a:lnTo>
                              <a:pt x="130" y="67"/>
                            </a:lnTo>
                            <a:lnTo>
                              <a:pt x="130" y="67"/>
                            </a:lnTo>
                            <a:lnTo>
                              <a:pt x="130" y="66"/>
                            </a:lnTo>
                            <a:lnTo>
                              <a:pt x="152" y="41"/>
                            </a:lnTo>
                            <a:lnTo>
                              <a:pt x="135" y="22"/>
                            </a:lnTo>
                            <a:lnTo>
                              <a:pt x="124" y="29"/>
                            </a:lnTo>
                            <a:lnTo>
                              <a:pt x="124" y="29"/>
                            </a:lnTo>
                            <a:lnTo>
                              <a:pt x="124" y="29"/>
                            </a:lnTo>
                            <a:lnTo>
                              <a:pt x="115" y="32"/>
                            </a:lnTo>
                            <a:lnTo>
                              <a:pt x="114" y="32"/>
                            </a:lnTo>
                            <a:lnTo>
                              <a:pt x="114" y="32"/>
                            </a:lnTo>
                            <a:lnTo>
                              <a:pt x="100" y="24"/>
                            </a:lnTo>
                            <a:lnTo>
                              <a:pt x="100" y="23"/>
                            </a:lnTo>
                            <a:lnTo>
                              <a:pt x="100" y="23"/>
                            </a:lnTo>
                            <a:lnTo>
                              <a:pt x="88" y="1"/>
                            </a:lnTo>
                            <a:lnTo>
                              <a:pt x="69" y="0"/>
                            </a:lnTo>
                            <a:lnTo>
                              <a:pt x="69" y="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10" name="Google Shape;110;p2"/>
                      <p:cNvSpPr/>
                      <p:nvPr/>
                    </p:nvSpPr>
                    <p:spPr>
                      <a:xfrm>
                        <a:off x="679227" y="1499019"/>
                        <a:ext cx="132357" cy="13646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29" h="133" extrusionOk="0">
                            <a:moveTo>
                              <a:pt x="0" y="18"/>
                            </a:moveTo>
                            <a:lnTo>
                              <a:pt x="0" y="49"/>
                            </a:lnTo>
                            <a:lnTo>
                              <a:pt x="8" y="66"/>
                            </a:lnTo>
                            <a:lnTo>
                              <a:pt x="25" y="81"/>
                            </a:lnTo>
                            <a:lnTo>
                              <a:pt x="25" y="82"/>
                            </a:lnTo>
                            <a:lnTo>
                              <a:pt x="25" y="83"/>
                            </a:lnTo>
                            <a:lnTo>
                              <a:pt x="21" y="115"/>
                            </a:lnTo>
                            <a:lnTo>
                              <a:pt x="34" y="131"/>
                            </a:lnTo>
                            <a:lnTo>
                              <a:pt x="49" y="133"/>
                            </a:lnTo>
                            <a:lnTo>
                              <a:pt x="70" y="123"/>
                            </a:lnTo>
                            <a:lnTo>
                              <a:pt x="71" y="123"/>
                            </a:lnTo>
                            <a:lnTo>
                              <a:pt x="71" y="123"/>
                            </a:lnTo>
                            <a:lnTo>
                              <a:pt x="85" y="124"/>
                            </a:lnTo>
                            <a:lnTo>
                              <a:pt x="87" y="116"/>
                            </a:lnTo>
                            <a:lnTo>
                              <a:pt x="87" y="115"/>
                            </a:lnTo>
                            <a:lnTo>
                              <a:pt x="87" y="115"/>
                            </a:lnTo>
                            <a:lnTo>
                              <a:pt x="97" y="101"/>
                            </a:lnTo>
                            <a:lnTo>
                              <a:pt x="97" y="101"/>
                            </a:lnTo>
                            <a:lnTo>
                              <a:pt x="97" y="101"/>
                            </a:lnTo>
                            <a:lnTo>
                              <a:pt x="117" y="80"/>
                            </a:lnTo>
                            <a:lnTo>
                              <a:pt x="117" y="67"/>
                            </a:lnTo>
                            <a:lnTo>
                              <a:pt x="117" y="66"/>
                            </a:lnTo>
                            <a:lnTo>
                              <a:pt x="117" y="65"/>
                            </a:lnTo>
                            <a:lnTo>
                              <a:pt x="129" y="54"/>
                            </a:lnTo>
                            <a:lnTo>
                              <a:pt x="127" y="30"/>
                            </a:lnTo>
                            <a:lnTo>
                              <a:pt x="112" y="21"/>
                            </a:lnTo>
                            <a:lnTo>
                              <a:pt x="112" y="21"/>
                            </a:lnTo>
                            <a:lnTo>
                              <a:pt x="112" y="20"/>
                            </a:lnTo>
                            <a:lnTo>
                              <a:pt x="105" y="7"/>
                            </a:lnTo>
                            <a:lnTo>
                              <a:pt x="75" y="9"/>
                            </a:lnTo>
                            <a:lnTo>
                              <a:pt x="68" y="17"/>
                            </a:lnTo>
                            <a:lnTo>
                              <a:pt x="67" y="19"/>
                            </a:lnTo>
                            <a:lnTo>
                              <a:pt x="66" y="18"/>
                            </a:lnTo>
                            <a:lnTo>
                              <a:pt x="39" y="2"/>
                            </a:lnTo>
                            <a:lnTo>
                              <a:pt x="32" y="0"/>
                            </a:lnTo>
                            <a:lnTo>
                              <a:pt x="0" y="18"/>
                            </a:lnTo>
                            <a:lnTo>
                              <a:pt x="0" y="18"/>
                            </a:lnTo>
                            <a:close/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rgbClr val="F2F2F2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11" name="Google Shape;111;p2"/>
                      <p:cNvSpPr/>
                      <p:nvPr/>
                    </p:nvSpPr>
                    <p:spPr>
                      <a:xfrm>
                        <a:off x="770543" y="1571867"/>
                        <a:ext cx="196996" cy="158007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2" h="154" extrusionOk="0">
                            <a:moveTo>
                              <a:pt x="30" y="12"/>
                            </a:moveTo>
                            <a:lnTo>
                              <a:pt x="11" y="33"/>
                            </a:lnTo>
                            <a:lnTo>
                              <a:pt x="1" y="46"/>
                            </a:lnTo>
                            <a:lnTo>
                              <a:pt x="0" y="55"/>
                            </a:lnTo>
                            <a:lnTo>
                              <a:pt x="5" y="68"/>
                            </a:lnTo>
                            <a:lnTo>
                              <a:pt x="19" y="79"/>
                            </a:lnTo>
                            <a:lnTo>
                              <a:pt x="19" y="80"/>
                            </a:lnTo>
                            <a:lnTo>
                              <a:pt x="20" y="80"/>
                            </a:lnTo>
                            <a:lnTo>
                              <a:pt x="24" y="93"/>
                            </a:lnTo>
                            <a:lnTo>
                              <a:pt x="24" y="93"/>
                            </a:lnTo>
                            <a:lnTo>
                              <a:pt x="24" y="94"/>
                            </a:lnTo>
                            <a:lnTo>
                              <a:pt x="24" y="107"/>
                            </a:lnTo>
                            <a:lnTo>
                              <a:pt x="44" y="107"/>
                            </a:lnTo>
                            <a:lnTo>
                              <a:pt x="45" y="107"/>
                            </a:lnTo>
                            <a:lnTo>
                              <a:pt x="45" y="108"/>
                            </a:lnTo>
                            <a:lnTo>
                              <a:pt x="58" y="131"/>
                            </a:lnTo>
                            <a:lnTo>
                              <a:pt x="70" y="138"/>
                            </a:lnTo>
                            <a:lnTo>
                              <a:pt x="78" y="136"/>
                            </a:lnTo>
                            <a:lnTo>
                              <a:pt x="89" y="128"/>
                            </a:lnTo>
                            <a:lnTo>
                              <a:pt x="90" y="127"/>
                            </a:lnTo>
                            <a:lnTo>
                              <a:pt x="91" y="129"/>
                            </a:lnTo>
                            <a:lnTo>
                              <a:pt x="110" y="150"/>
                            </a:lnTo>
                            <a:lnTo>
                              <a:pt x="123" y="154"/>
                            </a:lnTo>
                            <a:lnTo>
                              <a:pt x="134" y="153"/>
                            </a:lnTo>
                            <a:lnTo>
                              <a:pt x="172" y="120"/>
                            </a:lnTo>
                            <a:lnTo>
                              <a:pt x="172" y="120"/>
                            </a:lnTo>
                            <a:lnTo>
                              <a:pt x="172" y="120"/>
                            </a:lnTo>
                            <a:lnTo>
                              <a:pt x="192" y="106"/>
                            </a:lnTo>
                            <a:lnTo>
                              <a:pt x="188" y="93"/>
                            </a:lnTo>
                            <a:lnTo>
                              <a:pt x="188" y="93"/>
                            </a:lnTo>
                            <a:lnTo>
                              <a:pt x="180" y="72"/>
                            </a:lnTo>
                            <a:lnTo>
                              <a:pt x="141" y="6"/>
                            </a:lnTo>
                            <a:lnTo>
                              <a:pt x="118" y="5"/>
                            </a:lnTo>
                            <a:lnTo>
                              <a:pt x="109" y="13"/>
                            </a:lnTo>
                            <a:lnTo>
                              <a:pt x="108" y="14"/>
                            </a:lnTo>
                            <a:lnTo>
                              <a:pt x="107" y="13"/>
                            </a:lnTo>
                            <a:lnTo>
                              <a:pt x="98" y="7"/>
                            </a:lnTo>
                            <a:lnTo>
                              <a:pt x="98" y="7"/>
                            </a:lnTo>
                            <a:lnTo>
                              <a:pt x="88" y="0"/>
                            </a:lnTo>
                            <a:lnTo>
                              <a:pt x="84" y="4"/>
                            </a:lnTo>
                            <a:lnTo>
                              <a:pt x="83" y="4"/>
                            </a:lnTo>
                            <a:lnTo>
                              <a:pt x="83" y="4"/>
                            </a:lnTo>
                            <a:lnTo>
                              <a:pt x="67" y="9"/>
                            </a:lnTo>
                            <a:lnTo>
                              <a:pt x="66" y="9"/>
                            </a:lnTo>
                            <a:lnTo>
                              <a:pt x="65" y="9"/>
                            </a:lnTo>
                            <a:lnTo>
                              <a:pt x="56" y="4"/>
                            </a:lnTo>
                            <a:lnTo>
                              <a:pt x="50" y="10"/>
                            </a:lnTo>
                            <a:lnTo>
                              <a:pt x="49" y="11"/>
                            </a:lnTo>
                            <a:lnTo>
                              <a:pt x="49" y="11"/>
                            </a:lnTo>
                            <a:lnTo>
                              <a:pt x="30" y="12"/>
                            </a:lnTo>
                            <a:lnTo>
                              <a:pt x="30" y="12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12" name="Google Shape;112;p2"/>
                      <p:cNvSpPr/>
                      <p:nvPr/>
                    </p:nvSpPr>
                    <p:spPr>
                      <a:xfrm>
                        <a:off x="598172" y="1385131"/>
                        <a:ext cx="204179" cy="12927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9" h="126" extrusionOk="0">
                            <a:moveTo>
                              <a:pt x="185" y="114"/>
                            </a:moveTo>
                            <a:lnTo>
                              <a:pt x="190" y="107"/>
                            </a:lnTo>
                            <a:lnTo>
                              <a:pt x="199" y="94"/>
                            </a:lnTo>
                            <a:lnTo>
                              <a:pt x="199" y="64"/>
                            </a:lnTo>
                            <a:lnTo>
                              <a:pt x="185" y="56"/>
                            </a:lnTo>
                            <a:lnTo>
                              <a:pt x="185" y="56"/>
                            </a:lnTo>
                            <a:lnTo>
                              <a:pt x="184" y="56"/>
                            </a:lnTo>
                            <a:lnTo>
                              <a:pt x="173" y="38"/>
                            </a:lnTo>
                            <a:lnTo>
                              <a:pt x="173" y="38"/>
                            </a:lnTo>
                            <a:lnTo>
                              <a:pt x="173" y="38"/>
                            </a:lnTo>
                            <a:lnTo>
                              <a:pt x="171" y="20"/>
                            </a:lnTo>
                            <a:lnTo>
                              <a:pt x="151" y="33"/>
                            </a:lnTo>
                            <a:lnTo>
                              <a:pt x="151" y="33"/>
                            </a:lnTo>
                            <a:lnTo>
                              <a:pt x="150" y="33"/>
                            </a:lnTo>
                            <a:lnTo>
                              <a:pt x="113" y="37"/>
                            </a:lnTo>
                            <a:lnTo>
                              <a:pt x="113" y="37"/>
                            </a:lnTo>
                            <a:lnTo>
                              <a:pt x="112" y="36"/>
                            </a:lnTo>
                            <a:lnTo>
                              <a:pt x="105" y="26"/>
                            </a:lnTo>
                            <a:lnTo>
                              <a:pt x="93" y="24"/>
                            </a:lnTo>
                            <a:lnTo>
                              <a:pt x="85" y="29"/>
                            </a:lnTo>
                            <a:lnTo>
                              <a:pt x="83" y="30"/>
                            </a:lnTo>
                            <a:lnTo>
                              <a:pt x="82" y="28"/>
                            </a:lnTo>
                            <a:lnTo>
                              <a:pt x="74" y="1"/>
                            </a:lnTo>
                            <a:lnTo>
                              <a:pt x="58" y="0"/>
                            </a:lnTo>
                            <a:lnTo>
                              <a:pt x="45" y="13"/>
                            </a:lnTo>
                            <a:lnTo>
                              <a:pt x="44" y="13"/>
                            </a:lnTo>
                            <a:lnTo>
                              <a:pt x="44" y="13"/>
                            </a:lnTo>
                            <a:lnTo>
                              <a:pt x="19" y="13"/>
                            </a:lnTo>
                            <a:lnTo>
                              <a:pt x="6" y="18"/>
                            </a:lnTo>
                            <a:lnTo>
                              <a:pt x="0" y="30"/>
                            </a:lnTo>
                            <a:lnTo>
                              <a:pt x="0" y="41"/>
                            </a:lnTo>
                            <a:lnTo>
                              <a:pt x="6" y="53"/>
                            </a:lnTo>
                            <a:lnTo>
                              <a:pt x="15" y="58"/>
                            </a:lnTo>
                            <a:lnTo>
                              <a:pt x="22" y="54"/>
                            </a:lnTo>
                            <a:lnTo>
                              <a:pt x="22" y="53"/>
                            </a:lnTo>
                            <a:lnTo>
                              <a:pt x="23" y="53"/>
                            </a:lnTo>
                            <a:lnTo>
                              <a:pt x="38" y="54"/>
                            </a:lnTo>
                            <a:lnTo>
                              <a:pt x="39" y="54"/>
                            </a:lnTo>
                            <a:lnTo>
                              <a:pt x="39" y="56"/>
                            </a:lnTo>
                            <a:lnTo>
                              <a:pt x="41" y="67"/>
                            </a:lnTo>
                            <a:lnTo>
                              <a:pt x="41" y="68"/>
                            </a:lnTo>
                            <a:lnTo>
                              <a:pt x="40" y="69"/>
                            </a:lnTo>
                            <a:lnTo>
                              <a:pt x="29" y="75"/>
                            </a:lnTo>
                            <a:lnTo>
                              <a:pt x="22" y="82"/>
                            </a:lnTo>
                            <a:lnTo>
                              <a:pt x="22" y="90"/>
                            </a:lnTo>
                            <a:lnTo>
                              <a:pt x="27" y="99"/>
                            </a:lnTo>
                            <a:lnTo>
                              <a:pt x="78" y="126"/>
                            </a:lnTo>
                            <a:lnTo>
                              <a:pt x="110" y="107"/>
                            </a:lnTo>
                            <a:lnTo>
                              <a:pt x="111" y="107"/>
                            </a:lnTo>
                            <a:lnTo>
                              <a:pt x="112" y="107"/>
                            </a:lnTo>
                            <a:lnTo>
                              <a:pt x="120" y="109"/>
                            </a:lnTo>
                            <a:lnTo>
                              <a:pt x="120" y="109"/>
                            </a:lnTo>
                            <a:lnTo>
                              <a:pt x="120" y="110"/>
                            </a:lnTo>
                            <a:lnTo>
                              <a:pt x="145" y="125"/>
                            </a:lnTo>
                            <a:lnTo>
                              <a:pt x="152" y="117"/>
                            </a:lnTo>
                            <a:lnTo>
                              <a:pt x="153" y="116"/>
                            </a:lnTo>
                            <a:lnTo>
                              <a:pt x="153" y="116"/>
                            </a:lnTo>
                            <a:lnTo>
                              <a:pt x="185" y="114"/>
                            </a:lnTo>
                            <a:lnTo>
                              <a:pt x="185" y="114"/>
                            </a:lnTo>
                            <a:close/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13" name="Google Shape;113;p2"/>
                      <p:cNvSpPr/>
                      <p:nvPr/>
                    </p:nvSpPr>
                    <p:spPr>
                      <a:xfrm>
                        <a:off x="776699" y="1354350"/>
                        <a:ext cx="171346" cy="22675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67" h="221" extrusionOk="0">
                            <a:moveTo>
                              <a:pt x="0" y="48"/>
                            </a:moveTo>
                            <a:lnTo>
                              <a:pt x="3" y="67"/>
                            </a:lnTo>
                            <a:lnTo>
                              <a:pt x="13" y="83"/>
                            </a:lnTo>
                            <a:lnTo>
                              <a:pt x="28" y="91"/>
                            </a:lnTo>
                            <a:lnTo>
                              <a:pt x="29" y="92"/>
                            </a:lnTo>
                            <a:lnTo>
                              <a:pt x="29" y="93"/>
                            </a:lnTo>
                            <a:lnTo>
                              <a:pt x="29" y="125"/>
                            </a:lnTo>
                            <a:lnTo>
                              <a:pt x="29" y="126"/>
                            </a:lnTo>
                            <a:lnTo>
                              <a:pt x="28" y="126"/>
                            </a:lnTo>
                            <a:lnTo>
                              <a:pt x="19" y="140"/>
                            </a:lnTo>
                            <a:lnTo>
                              <a:pt x="19" y="140"/>
                            </a:lnTo>
                            <a:lnTo>
                              <a:pt x="13" y="147"/>
                            </a:lnTo>
                            <a:lnTo>
                              <a:pt x="20" y="159"/>
                            </a:lnTo>
                            <a:lnTo>
                              <a:pt x="34" y="168"/>
                            </a:lnTo>
                            <a:lnTo>
                              <a:pt x="35" y="168"/>
                            </a:lnTo>
                            <a:lnTo>
                              <a:pt x="35" y="169"/>
                            </a:lnTo>
                            <a:lnTo>
                              <a:pt x="38" y="195"/>
                            </a:lnTo>
                            <a:lnTo>
                              <a:pt x="38" y="196"/>
                            </a:lnTo>
                            <a:lnTo>
                              <a:pt x="37" y="197"/>
                            </a:lnTo>
                            <a:lnTo>
                              <a:pt x="25" y="209"/>
                            </a:lnTo>
                            <a:lnTo>
                              <a:pt x="25" y="220"/>
                            </a:lnTo>
                            <a:lnTo>
                              <a:pt x="42" y="219"/>
                            </a:lnTo>
                            <a:lnTo>
                              <a:pt x="48" y="213"/>
                            </a:lnTo>
                            <a:lnTo>
                              <a:pt x="49" y="212"/>
                            </a:lnTo>
                            <a:lnTo>
                              <a:pt x="51" y="212"/>
                            </a:lnTo>
                            <a:lnTo>
                              <a:pt x="60" y="217"/>
                            </a:lnTo>
                            <a:lnTo>
                              <a:pt x="76" y="213"/>
                            </a:lnTo>
                            <a:lnTo>
                              <a:pt x="81" y="209"/>
                            </a:lnTo>
                            <a:lnTo>
                              <a:pt x="82" y="208"/>
                            </a:lnTo>
                            <a:lnTo>
                              <a:pt x="83" y="208"/>
                            </a:lnTo>
                            <a:lnTo>
                              <a:pt x="94" y="216"/>
                            </a:lnTo>
                            <a:lnTo>
                              <a:pt x="94" y="216"/>
                            </a:lnTo>
                            <a:lnTo>
                              <a:pt x="102" y="221"/>
                            </a:lnTo>
                            <a:lnTo>
                              <a:pt x="110" y="214"/>
                            </a:lnTo>
                            <a:lnTo>
                              <a:pt x="110" y="214"/>
                            </a:lnTo>
                            <a:lnTo>
                              <a:pt x="111" y="214"/>
                            </a:lnTo>
                            <a:lnTo>
                              <a:pt x="135" y="215"/>
                            </a:lnTo>
                            <a:lnTo>
                              <a:pt x="145" y="201"/>
                            </a:lnTo>
                            <a:lnTo>
                              <a:pt x="151" y="183"/>
                            </a:lnTo>
                            <a:lnTo>
                              <a:pt x="145" y="178"/>
                            </a:lnTo>
                            <a:lnTo>
                              <a:pt x="145" y="177"/>
                            </a:lnTo>
                            <a:lnTo>
                              <a:pt x="145" y="177"/>
                            </a:lnTo>
                            <a:lnTo>
                              <a:pt x="134" y="163"/>
                            </a:lnTo>
                            <a:lnTo>
                              <a:pt x="134" y="163"/>
                            </a:lnTo>
                            <a:lnTo>
                              <a:pt x="133" y="163"/>
                            </a:lnTo>
                            <a:lnTo>
                              <a:pt x="125" y="136"/>
                            </a:lnTo>
                            <a:lnTo>
                              <a:pt x="125" y="135"/>
                            </a:lnTo>
                            <a:lnTo>
                              <a:pt x="125" y="135"/>
                            </a:lnTo>
                            <a:lnTo>
                              <a:pt x="131" y="116"/>
                            </a:lnTo>
                            <a:lnTo>
                              <a:pt x="131" y="115"/>
                            </a:lnTo>
                            <a:lnTo>
                              <a:pt x="131" y="115"/>
                            </a:lnTo>
                            <a:lnTo>
                              <a:pt x="151" y="92"/>
                            </a:lnTo>
                            <a:lnTo>
                              <a:pt x="151" y="92"/>
                            </a:lnTo>
                            <a:lnTo>
                              <a:pt x="151" y="92"/>
                            </a:lnTo>
                            <a:lnTo>
                              <a:pt x="164" y="80"/>
                            </a:lnTo>
                            <a:lnTo>
                              <a:pt x="167" y="66"/>
                            </a:lnTo>
                            <a:lnTo>
                              <a:pt x="151" y="47"/>
                            </a:lnTo>
                            <a:lnTo>
                              <a:pt x="113" y="48"/>
                            </a:lnTo>
                            <a:lnTo>
                              <a:pt x="112" y="48"/>
                            </a:lnTo>
                            <a:lnTo>
                              <a:pt x="112" y="48"/>
                            </a:lnTo>
                            <a:lnTo>
                              <a:pt x="70" y="20"/>
                            </a:lnTo>
                            <a:lnTo>
                              <a:pt x="69" y="20"/>
                            </a:lnTo>
                            <a:lnTo>
                              <a:pt x="69" y="19"/>
                            </a:lnTo>
                            <a:lnTo>
                              <a:pt x="70" y="3"/>
                            </a:lnTo>
                            <a:lnTo>
                              <a:pt x="65" y="0"/>
                            </a:lnTo>
                            <a:lnTo>
                              <a:pt x="61" y="4"/>
                            </a:lnTo>
                            <a:lnTo>
                              <a:pt x="61" y="5"/>
                            </a:lnTo>
                            <a:lnTo>
                              <a:pt x="60" y="5"/>
                            </a:lnTo>
                            <a:lnTo>
                              <a:pt x="24" y="10"/>
                            </a:lnTo>
                            <a:lnTo>
                              <a:pt x="23" y="14"/>
                            </a:lnTo>
                            <a:lnTo>
                              <a:pt x="23" y="14"/>
                            </a:lnTo>
                            <a:lnTo>
                              <a:pt x="23" y="14"/>
                            </a:lnTo>
                            <a:lnTo>
                              <a:pt x="0" y="48"/>
                            </a:lnTo>
                            <a:lnTo>
                              <a:pt x="0" y="48"/>
                            </a:lnTo>
                            <a:close/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14" name="Google Shape;114;p2"/>
                      <p:cNvSpPr/>
                      <p:nvPr/>
                    </p:nvSpPr>
                    <p:spPr>
                      <a:xfrm>
                        <a:off x="908030" y="1441562"/>
                        <a:ext cx="149799" cy="20007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6" h="195" extrusionOk="0">
                            <a:moveTo>
                              <a:pt x="36" y="0"/>
                            </a:moveTo>
                            <a:lnTo>
                              <a:pt x="26" y="9"/>
                            </a:lnTo>
                            <a:lnTo>
                              <a:pt x="6" y="32"/>
                            </a:lnTo>
                            <a:lnTo>
                              <a:pt x="0" y="50"/>
                            </a:lnTo>
                            <a:lnTo>
                              <a:pt x="9" y="77"/>
                            </a:lnTo>
                            <a:lnTo>
                              <a:pt x="19" y="90"/>
                            </a:lnTo>
                            <a:lnTo>
                              <a:pt x="26" y="96"/>
                            </a:lnTo>
                            <a:lnTo>
                              <a:pt x="27" y="97"/>
                            </a:lnTo>
                            <a:lnTo>
                              <a:pt x="27" y="98"/>
                            </a:lnTo>
                            <a:lnTo>
                              <a:pt x="20" y="117"/>
                            </a:lnTo>
                            <a:lnTo>
                              <a:pt x="20" y="117"/>
                            </a:lnTo>
                            <a:lnTo>
                              <a:pt x="20" y="118"/>
                            </a:lnTo>
                            <a:lnTo>
                              <a:pt x="10" y="132"/>
                            </a:lnTo>
                            <a:lnTo>
                              <a:pt x="48" y="195"/>
                            </a:lnTo>
                            <a:lnTo>
                              <a:pt x="75" y="180"/>
                            </a:lnTo>
                            <a:lnTo>
                              <a:pt x="75" y="180"/>
                            </a:lnTo>
                            <a:lnTo>
                              <a:pt x="76" y="180"/>
                            </a:lnTo>
                            <a:lnTo>
                              <a:pt x="109" y="178"/>
                            </a:lnTo>
                            <a:lnTo>
                              <a:pt x="146" y="156"/>
                            </a:lnTo>
                            <a:lnTo>
                              <a:pt x="138" y="135"/>
                            </a:lnTo>
                            <a:lnTo>
                              <a:pt x="102" y="88"/>
                            </a:lnTo>
                            <a:lnTo>
                              <a:pt x="84" y="81"/>
                            </a:lnTo>
                            <a:lnTo>
                              <a:pt x="84" y="81"/>
                            </a:lnTo>
                            <a:lnTo>
                              <a:pt x="84" y="80"/>
                            </a:lnTo>
                            <a:lnTo>
                              <a:pt x="70" y="66"/>
                            </a:lnTo>
                            <a:lnTo>
                              <a:pt x="69" y="64"/>
                            </a:lnTo>
                            <a:lnTo>
                              <a:pt x="70" y="63"/>
                            </a:lnTo>
                            <a:lnTo>
                              <a:pt x="80" y="50"/>
                            </a:lnTo>
                            <a:lnTo>
                              <a:pt x="84" y="33"/>
                            </a:lnTo>
                            <a:lnTo>
                              <a:pt x="76" y="24"/>
                            </a:lnTo>
                            <a:lnTo>
                              <a:pt x="58" y="39"/>
                            </a:lnTo>
                            <a:lnTo>
                              <a:pt x="56" y="41"/>
                            </a:lnTo>
                            <a:lnTo>
                              <a:pt x="55" y="39"/>
                            </a:lnTo>
                            <a:lnTo>
                              <a:pt x="38" y="21"/>
                            </a:lnTo>
                            <a:lnTo>
                              <a:pt x="38" y="21"/>
                            </a:lnTo>
                            <a:lnTo>
                              <a:pt x="38" y="20"/>
                            </a:lnTo>
                            <a:lnTo>
                              <a:pt x="36" y="0"/>
                            </a:lnTo>
                            <a:lnTo>
                              <a:pt x="36" y="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15" name="Google Shape;115;p2"/>
                      <p:cNvSpPr/>
                      <p:nvPr/>
                    </p:nvSpPr>
                    <p:spPr>
                      <a:xfrm>
                        <a:off x="983956" y="1467213"/>
                        <a:ext cx="150826" cy="13338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47" h="130" extrusionOk="0">
                            <a:moveTo>
                              <a:pt x="11" y="3"/>
                            </a:moveTo>
                            <a:lnTo>
                              <a:pt x="14" y="6"/>
                            </a:lnTo>
                            <a:lnTo>
                              <a:pt x="14" y="7"/>
                            </a:lnTo>
                            <a:lnTo>
                              <a:pt x="14" y="8"/>
                            </a:lnTo>
                            <a:lnTo>
                              <a:pt x="9" y="26"/>
                            </a:lnTo>
                            <a:lnTo>
                              <a:pt x="9" y="26"/>
                            </a:lnTo>
                            <a:lnTo>
                              <a:pt x="9" y="27"/>
                            </a:lnTo>
                            <a:lnTo>
                              <a:pt x="0" y="39"/>
                            </a:lnTo>
                            <a:lnTo>
                              <a:pt x="12" y="52"/>
                            </a:lnTo>
                            <a:lnTo>
                              <a:pt x="30" y="60"/>
                            </a:lnTo>
                            <a:lnTo>
                              <a:pt x="30" y="61"/>
                            </a:lnTo>
                            <a:lnTo>
                              <a:pt x="31" y="61"/>
                            </a:lnTo>
                            <a:lnTo>
                              <a:pt x="67" y="107"/>
                            </a:lnTo>
                            <a:lnTo>
                              <a:pt x="68" y="108"/>
                            </a:lnTo>
                            <a:lnTo>
                              <a:pt x="68" y="108"/>
                            </a:lnTo>
                            <a:lnTo>
                              <a:pt x="75" y="130"/>
                            </a:lnTo>
                            <a:lnTo>
                              <a:pt x="87" y="127"/>
                            </a:lnTo>
                            <a:lnTo>
                              <a:pt x="96" y="115"/>
                            </a:lnTo>
                            <a:lnTo>
                              <a:pt x="96" y="114"/>
                            </a:lnTo>
                            <a:lnTo>
                              <a:pt x="97" y="114"/>
                            </a:lnTo>
                            <a:lnTo>
                              <a:pt x="119" y="112"/>
                            </a:lnTo>
                            <a:lnTo>
                              <a:pt x="120" y="112"/>
                            </a:lnTo>
                            <a:lnTo>
                              <a:pt x="121" y="113"/>
                            </a:lnTo>
                            <a:lnTo>
                              <a:pt x="129" y="121"/>
                            </a:lnTo>
                            <a:lnTo>
                              <a:pt x="143" y="113"/>
                            </a:lnTo>
                            <a:lnTo>
                              <a:pt x="147" y="65"/>
                            </a:lnTo>
                            <a:lnTo>
                              <a:pt x="125" y="53"/>
                            </a:lnTo>
                            <a:lnTo>
                              <a:pt x="124" y="53"/>
                            </a:lnTo>
                            <a:lnTo>
                              <a:pt x="124" y="52"/>
                            </a:lnTo>
                            <a:lnTo>
                              <a:pt x="123" y="32"/>
                            </a:lnTo>
                            <a:lnTo>
                              <a:pt x="113" y="23"/>
                            </a:lnTo>
                            <a:lnTo>
                              <a:pt x="97" y="28"/>
                            </a:lnTo>
                            <a:lnTo>
                              <a:pt x="96" y="29"/>
                            </a:lnTo>
                            <a:lnTo>
                              <a:pt x="96" y="28"/>
                            </a:lnTo>
                            <a:lnTo>
                              <a:pt x="43" y="0"/>
                            </a:lnTo>
                            <a:lnTo>
                              <a:pt x="11" y="3"/>
                            </a:lnTo>
                            <a:lnTo>
                              <a:pt x="11" y="3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16" name="Google Shape;116;p2"/>
                      <p:cNvSpPr/>
                      <p:nvPr/>
                    </p:nvSpPr>
                    <p:spPr>
                      <a:xfrm>
                        <a:off x="1050647" y="1426172"/>
                        <a:ext cx="323197" cy="19391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15" h="189" extrusionOk="0">
                            <a:moveTo>
                              <a:pt x="0" y="48"/>
                            </a:moveTo>
                            <a:lnTo>
                              <a:pt x="32" y="65"/>
                            </a:lnTo>
                            <a:lnTo>
                              <a:pt x="48" y="59"/>
                            </a:lnTo>
                            <a:lnTo>
                              <a:pt x="49" y="59"/>
                            </a:lnTo>
                            <a:lnTo>
                              <a:pt x="50" y="60"/>
                            </a:lnTo>
                            <a:lnTo>
                              <a:pt x="61" y="70"/>
                            </a:lnTo>
                            <a:lnTo>
                              <a:pt x="62" y="70"/>
                            </a:lnTo>
                            <a:lnTo>
                              <a:pt x="62" y="71"/>
                            </a:lnTo>
                            <a:lnTo>
                              <a:pt x="63" y="91"/>
                            </a:lnTo>
                            <a:lnTo>
                              <a:pt x="85" y="102"/>
                            </a:lnTo>
                            <a:lnTo>
                              <a:pt x="86" y="103"/>
                            </a:lnTo>
                            <a:lnTo>
                              <a:pt x="86" y="104"/>
                            </a:lnTo>
                            <a:lnTo>
                              <a:pt x="82" y="152"/>
                            </a:lnTo>
                            <a:lnTo>
                              <a:pt x="147" y="153"/>
                            </a:lnTo>
                            <a:lnTo>
                              <a:pt x="155" y="148"/>
                            </a:lnTo>
                            <a:lnTo>
                              <a:pt x="156" y="147"/>
                            </a:lnTo>
                            <a:lnTo>
                              <a:pt x="156" y="147"/>
                            </a:lnTo>
                            <a:lnTo>
                              <a:pt x="178" y="148"/>
                            </a:lnTo>
                            <a:lnTo>
                              <a:pt x="179" y="148"/>
                            </a:lnTo>
                            <a:lnTo>
                              <a:pt x="180" y="149"/>
                            </a:lnTo>
                            <a:lnTo>
                              <a:pt x="185" y="166"/>
                            </a:lnTo>
                            <a:lnTo>
                              <a:pt x="203" y="174"/>
                            </a:lnTo>
                            <a:lnTo>
                              <a:pt x="203" y="174"/>
                            </a:lnTo>
                            <a:lnTo>
                              <a:pt x="203" y="174"/>
                            </a:lnTo>
                            <a:lnTo>
                              <a:pt x="218" y="189"/>
                            </a:lnTo>
                            <a:lnTo>
                              <a:pt x="242" y="165"/>
                            </a:lnTo>
                            <a:lnTo>
                              <a:pt x="243" y="164"/>
                            </a:lnTo>
                            <a:lnTo>
                              <a:pt x="244" y="164"/>
                            </a:lnTo>
                            <a:lnTo>
                              <a:pt x="302" y="165"/>
                            </a:lnTo>
                            <a:lnTo>
                              <a:pt x="303" y="128"/>
                            </a:lnTo>
                            <a:lnTo>
                              <a:pt x="303" y="127"/>
                            </a:lnTo>
                            <a:lnTo>
                              <a:pt x="304" y="127"/>
                            </a:lnTo>
                            <a:lnTo>
                              <a:pt x="315" y="115"/>
                            </a:lnTo>
                            <a:lnTo>
                              <a:pt x="302" y="102"/>
                            </a:lnTo>
                            <a:lnTo>
                              <a:pt x="271" y="109"/>
                            </a:lnTo>
                            <a:lnTo>
                              <a:pt x="271" y="110"/>
                            </a:lnTo>
                            <a:lnTo>
                              <a:pt x="270" y="109"/>
                            </a:lnTo>
                            <a:lnTo>
                              <a:pt x="223" y="82"/>
                            </a:lnTo>
                            <a:lnTo>
                              <a:pt x="223" y="82"/>
                            </a:lnTo>
                            <a:lnTo>
                              <a:pt x="223" y="81"/>
                            </a:lnTo>
                            <a:lnTo>
                              <a:pt x="194" y="29"/>
                            </a:lnTo>
                            <a:lnTo>
                              <a:pt x="152" y="3"/>
                            </a:lnTo>
                            <a:lnTo>
                              <a:pt x="87" y="0"/>
                            </a:lnTo>
                            <a:lnTo>
                              <a:pt x="64" y="16"/>
                            </a:lnTo>
                            <a:lnTo>
                              <a:pt x="64" y="16"/>
                            </a:lnTo>
                            <a:lnTo>
                              <a:pt x="63" y="16"/>
                            </a:lnTo>
                            <a:lnTo>
                              <a:pt x="38" y="17"/>
                            </a:lnTo>
                            <a:lnTo>
                              <a:pt x="31" y="29"/>
                            </a:lnTo>
                            <a:lnTo>
                              <a:pt x="31" y="29"/>
                            </a:lnTo>
                            <a:lnTo>
                              <a:pt x="30" y="29"/>
                            </a:lnTo>
                            <a:lnTo>
                              <a:pt x="0" y="48"/>
                            </a:lnTo>
                            <a:lnTo>
                              <a:pt x="0" y="48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17" name="Google Shape;117;p2"/>
                      <p:cNvSpPr/>
                      <p:nvPr/>
                    </p:nvSpPr>
                    <p:spPr>
                      <a:xfrm>
                        <a:off x="687435" y="1161458"/>
                        <a:ext cx="355004" cy="25753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46" h="251" extrusionOk="0">
                            <a:moveTo>
                              <a:pt x="256" y="251"/>
                            </a:moveTo>
                            <a:lnTo>
                              <a:pt x="284" y="239"/>
                            </a:lnTo>
                            <a:lnTo>
                              <a:pt x="281" y="226"/>
                            </a:lnTo>
                            <a:lnTo>
                              <a:pt x="280" y="225"/>
                            </a:lnTo>
                            <a:lnTo>
                              <a:pt x="280" y="225"/>
                            </a:lnTo>
                            <a:lnTo>
                              <a:pt x="289" y="178"/>
                            </a:lnTo>
                            <a:lnTo>
                              <a:pt x="289" y="176"/>
                            </a:lnTo>
                            <a:lnTo>
                              <a:pt x="291" y="176"/>
                            </a:lnTo>
                            <a:lnTo>
                              <a:pt x="315" y="178"/>
                            </a:lnTo>
                            <a:lnTo>
                              <a:pt x="346" y="148"/>
                            </a:lnTo>
                            <a:lnTo>
                              <a:pt x="342" y="113"/>
                            </a:lnTo>
                            <a:lnTo>
                              <a:pt x="312" y="113"/>
                            </a:lnTo>
                            <a:lnTo>
                              <a:pt x="312" y="114"/>
                            </a:lnTo>
                            <a:lnTo>
                              <a:pt x="309" y="112"/>
                            </a:lnTo>
                            <a:lnTo>
                              <a:pt x="276" y="83"/>
                            </a:lnTo>
                            <a:lnTo>
                              <a:pt x="256" y="84"/>
                            </a:lnTo>
                            <a:lnTo>
                              <a:pt x="256" y="84"/>
                            </a:lnTo>
                            <a:lnTo>
                              <a:pt x="255" y="84"/>
                            </a:lnTo>
                            <a:lnTo>
                              <a:pt x="231" y="64"/>
                            </a:lnTo>
                            <a:lnTo>
                              <a:pt x="231" y="64"/>
                            </a:lnTo>
                            <a:lnTo>
                              <a:pt x="231" y="64"/>
                            </a:lnTo>
                            <a:lnTo>
                              <a:pt x="227" y="46"/>
                            </a:lnTo>
                            <a:lnTo>
                              <a:pt x="209" y="34"/>
                            </a:lnTo>
                            <a:lnTo>
                              <a:pt x="203" y="39"/>
                            </a:lnTo>
                            <a:lnTo>
                              <a:pt x="199" y="55"/>
                            </a:lnTo>
                            <a:lnTo>
                              <a:pt x="199" y="56"/>
                            </a:lnTo>
                            <a:lnTo>
                              <a:pt x="198" y="56"/>
                            </a:lnTo>
                            <a:lnTo>
                              <a:pt x="154" y="52"/>
                            </a:lnTo>
                            <a:lnTo>
                              <a:pt x="154" y="52"/>
                            </a:lnTo>
                            <a:lnTo>
                              <a:pt x="153" y="52"/>
                            </a:lnTo>
                            <a:lnTo>
                              <a:pt x="139" y="39"/>
                            </a:lnTo>
                            <a:lnTo>
                              <a:pt x="96" y="28"/>
                            </a:lnTo>
                            <a:lnTo>
                              <a:pt x="96" y="28"/>
                            </a:lnTo>
                            <a:lnTo>
                              <a:pt x="95" y="28"/>
                            </a:lnTo>
                            <a:lnTo>
                              <a:pt x="73" y="11"/>
                            </a:lnTo>
                            <a:lnTo>
                              <a:pt x="73" y="11"/>
                            </a:lnTo>
                            <a:lnTo>
                              <a:pt x="73" y="11"/>
                            </a:lnTo>
                            <a:lnTo>
                              <a:pt x="61" y="0"/>
                            </a:lnTo>
                            <a:lnTo>
                              <a:pt x="50" y="11"/>
                            </a:lnTo>
                            <a:lnTo>
                              <a:pt x="43" y="39"/>
                            </a:lnTo>
                            <a:lnTo>
                              <a:pt x="43" y="39"/>
                            </a:lnTo>
                            <a:lnTo>
                              <a:pt x="43" y="40"/>
                            </a:lnTo>
                            <a:lnTo>
                              <a:pt x="30" y="59"/>
                            </a:lnTo>
                            <a:lnTo>
                              <a:pt x="30" y="59"/>
                            </a:lnTo>
                            <a:lnTo>
                              <a:pt x="29" y="59"/>
                            </a:lnTo>
                            <a:lnTo>
                              <a:pt x="0" y="65"/>
                            </a:lnTo>
                            <a:lnTo>
                              <a:pt x="7" y="83"/>
                            </a:lnTo>
                            <a:lnTo>
                              <a:pt x="32" y="130"/>
                            </a:lnTo>
                            <a:lnTo>
                              <a:pt x="51" y="143"/>
                            </a:lnTo>
                            <a:lnTo>
                              <a:pt x="91" y="151"/>
                            </a:lnTo>
                            <a:lnTo>
                              <a:pt x="92" y="151"/>
                            </a:lnTo>
                            <a:lnTo>
                              <a:pt x="93" y="152"/>
                            </a:lnTo>
                            <a:lnTo>
                              <a:pt x="95" y="171"/>
                            </a:lnTo>
                            <a:lnTo>
                              <a:pt x="111" y="191"/>
                            </a:lnTo>
                            <a:lnTo>
                              <a:pt x="112" y="191"/>
                            </a:lnTo>
                            <a:lnTo>
                              <a:pt x="112" y="192"/>
                            </a:lnTo>
                            <a:lnTo>
                              <a:pt x="111" y="194"/>
                            </a:lnTo>
                            <a:lnTo>
                              <a:pt x="146" y="190"/>
                            </a:lnTo>
                            <a:lnTo>
                              <a:pt x="150" y="185"/>
                            </a:lnTo>
                            <a:lnTo>
                              <a:pt x="151" y="184"/>
                            </a:lnTo>
                            <a:lnTo>
                              <a:pt x="153" y="185"/>
                            </a:lnTo>
                            <a:lnTo>
                              <a:pt x="160" y="188"/>
                            </a:lnTo>
                            <a:lnTo>
                              <a:pt x="161" y="189"/>
                            </a:lnTo>
                            <a:lnTo>
                              <a:pt x="161" y="190"/>
                            </a:lnTo>
                            <a:lnTo>
                              <a:pt x="160" y="206"/>
                            </a:lnTo>
                            <a:lnTo>
                              <a:pt x="200" y="232"/>
                            </a:lnTo>
                            <a:lnTo>
                              <a:pt x="239" y="232"/>
                            </a:lnTo>
                            <a:lnTo>
                              <a:pt x="240" y="232"/>
                            </a:lnTo>
                            <a:lnTo>
                              <a:pt x="240" y="232"/>
                            </a:lnTo>
                            <a:lnTo>
                              <a:pt x="256" y="251"/>
                            </a:lnTo>
                            <a:lnTo>
                              <a:pt x="256" y="251"/>
                            </a:lnTo>
                            <a:close/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18" name="Google Shape;118;p2"/>
                      <p:cNvSpPr/>
                      <p:nvPr/>
                    </p:nvSpPr>
                    <p:spPr>
                      <a:xfrm>
                        <a:off x="949071" y="1316387"/>
                        <a:ext cx="186736" cy="16108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82" h="157" extrusionOk="0">
                            <a:moveTo>
                              <a:pt x="182" y="105"/>
                            </a:moveTo>
                            <a:lnTo>
                              <a:pt x="158" y="82"/>
                            </a:lnTo>
                            <a:lnTo>
                              <a:pt x="158" y="81"/>
                            </a:lnTo>
                            <a:lnTo>
                              <a:pt x="158" y="81"/>
                            </a:lnTo>
                            <a:lnTo>
                              <a:pt x="167" y="47"/>
                            </a:lnTo>
                            <a:lnTo>
                              <a:pt x="150" y="25"/>
                            </a:lnTo>
                            <a:lnTo>
                              <a:pt x="134" y="26"/>
                            </a:lnTo>
                            <a:lnTo>
                              <a:pt x="133" y="26"/>
                            </a:lnTo>
                            <a:lnTo>
                              <a:pt x="133" y="26"/>
                            </a:lnTo>
                            <a:lnTo>
                              <a:pt x="93" y="0"/>
                            </a:lnTo>
                            <a:lnTo>
                              <a:pt x="62" y="30"/>
                            </a:lnTo>
                            <a:lnTo>
                              <a:pt x="62" y="30"/>
                            </a:lnTo>
                            <a:lnTo>
                              <a:pt x="61" y="30"/>
                            </a:lnTo>
                            <a:lnTo>
                              <a:pt x="38" y="29"/>
                            </a:lnTo>
                            <a:lnTo>
                              <a:pt x="29" y="74"/>
                            </a:lnTo>
                            <a:lnTo>
                              <a:pt x="33" y="88"/>
                            </a:lnTo>
                            <a:lnTo>
                              <a:pt x="34" y="90"/>
                            </a:lnTo>
                            <a:lnTo>
                              <a:pt x="33" y="91"/>
                            </a:lnTo>
                            <a:lnTo>
                              <a:pt x="3" y="104"/>
                            </a:lnTo>
                            <a:lnTo>
                              <a:pt x="0" y="118"/>
                            </a:lnTo>
                            <a:lnTo>
                              <a:pt x="1" y="141"/>
                            </a:lnTo>
                            <a:lnTo>
                              <a:pt x="17" y="157"/>
                            </a:lnTo>
                            <a:lnTo>
                              <a:pt x="35" y="143"/>
                            </a:lnTo>
                            <a:lnTo>
                              <a:pt x="36" y="141"/>
                            </a:lnTo>
                            <a:lnTo>
                              <a:pt x="37" y="143"/>
                            </a:lnTo>
                            <a:lnTo>
                              <a:pt x="42" y="147"/>
                            </a:lnTo>
                            <a:lnTo>
                              <a:pt x="77" y="143"/>
                            </a:lnTo>
                            <a:lnTo>
                              <a:pt x="77" y="143"/>
                            </a:lnTo>
                            <a:lnTo>
                              <a:pt x="78" y="144"/>
                            </a:lnTo>
                            <a:lnTo>
                              <a:pt x="95" y="153"/>
                            </a:lnTo>
                            <a:lnTo>
                              <a:pt x="127" y="134"/>
                            </a:lnTo>
                            <a:lnTo>
                              <a:pt x="135" y="121"/>
                            </a:lnTo>
                            <a:lnTo>
                              <a:pt x="135" y="120"/>
                            </a:lnTo>
                            <a:lnTo>
                              <a:pt x="136" y="120"/>
                            </a:lnTo>
                            <a:lnTo>
                              <a:pt x="162" y="120"/>
                            </a:lnTo>
                            <a:lnTo>
                              <a:pt x="182" y="105"/>
                            </a:lnTo>
                            <a:lnTo>
                              <a:pt x="182" y="105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19" name="Google Shape;119;p2"/>
                      <p:cNvSpPr/>
                      <p:nvPr/>
                    </p:nvSpPr>
                    <p:spPr>
                      <a:xfrm>
                        <a:off x="1089636" y="2021265"/>
                        <a:ext cx="429904" cy="50685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19" h="494" extrusionOk="0">
                            <a:moveTo>
                              <a:pt x="1" y="125"/>
                            </a:moveTo>
                            <a:lnTo>
                              <a:pt x="0" y="147"/>
                            </a:lnTo>
                            <a:lnTo>
                              <a:pt x="12" y="176"/>
                            </a:lnTo>
                            <a:lnTo>
                              <a:pt x="25" y="173"/>
                            </a:lnTo>
                            <a:lnTo>
                              <a:pt x="35" y="164"/>
                            </a:lnTo>
                            <a:lnTo>
                              <a:pt x="56" y="174"/>
                            </a:lnTo>
                            <a:lnTo>
                              <a:pt x="55" y="188"/>
                            </a:lnTo>
                            <a:lnTo>
                              <a:pt x="49" y="201"/>
                            </a:lnTo>
                            <a:lnTo>
                              <a:pt x="56" y="208"/>
                            </a:lnTo>
                            <a:lnTo>
                              <a:pt x="76" y="215"/>
                            </a:lnTo>
                            <a:lnTo>
                              <a:pt x="84" y="243"/>
                            </a:lnTo>
                            <a:lnTo>
                              <a:pt x="92" y="278"/>
                            </a:lnTo>
                            <a:lnTo>
                              <a:pt x="83" y="299"/>
                            </a:lnTo>
                            <a:lnTo>
                              <a:pt x="92" y="317"/>
                            </a:lnTo>
                            <a:lnTo>
                              <a:pt x="114" y="303"/>
                            </a:lnTo>
                            <a:lnTo>
                              <a:pt x="124" y="306"/>
                            </a:lnTo>
                            <a:lnTo>
                              <a:pt x="131" y="321"/>
                            </a:lnTo>
                            <a:lnTo>
                              <a:pt x="136" y="347"/>
                            </a:lnTo>
                            <a:lnTo>
                              <a:pt x="151" y="358"/>
                            </a:lnTo>
                            <a:lnTo>
                              <a:pt x="169" y="346"/>
                            </a:lnTo>
                            <a:lnTo>
                              <a:pt x="186" y="347"/>
                            </a:lnTo>
                            <a:lnTo>
                              <a:pt x="217" y="360"/>
                            </a:lnTo>
                            <a:lnTo>
                              <a:pt x="216" y="375"/>
                            </a:lnTo>
                            <a:lnTo>
                              <a:pt x="223" y="387"/>
                            </a:lnTo>
                            <a:lnTo>
                              <a:pt x="239" y="390"/>
                            </a:lnTo>
                            <a:lnTo>
                              <a:pt x="251" y="376"/>
                            </a:lnTo>
                            <a:lnTo>
                              <a:pt x="265" y="390"/>
                            </a:lnTo>
                            <a:lnTo>
                              <a:pt x="283" y="401"/>
                            </a:lnTo>
                            <a:lnTo>
                              <a:pt x="279" y="428"/>
                            </a:lnTo>
                            <a:lnTo>
                              <a:pt x="283" y="444"/>
                            </a:lnTo>
                            <a:lnTo>
                              <a:pt x="301" y="464"/>
                            </a:lnTo>
                            <a:lnTo>
                              <a:pt x="316" y="469"/>
                            </a:lnTo>
                            <a:lnTo>
                              <a:pt x="331" y="460"/>
                            </a:lnTo>
                            <a:lnTo>
                              <a:pt x="343" y="464"/>
                            </a:lnTo>
                            <a:lnTo>
                              <a:pt x="351" y="482"/>
                            </a:lnTo>
                            <a:lnTo>
                              <a:pt x="388" y="494"/>
                            </a:lnTo>
                            <a:lnTo>
                              <a:pt x="404" y="482"/>
                            </a:lnTo>
                            <a:lnTo>
                              <a:pt x="419" y="459"/>
                            </a:lnTo>
                            <a:lnTo>
                              <a:pt x="392" y="398"/>
                            </a:lnTo>
                            <a:lnTo>
                              <a:pt x="389" y="396"/>
                            </a:lnTo>
                            <a:lnTo>
                              <a:pt x="389" y="396"/>
                            </a:lnTo>
                            <a:lnTo>
                              <a:pt x="389" y="395"/>
                            </a:lnTo>
                            <a:lnTo>
                              <a:pt x="382" y="377"/>
                            </a:lnTo>
                            <a:lnTo>
                              <a:pt x="382" y="376"/>
                            </a:lnTo>
                            <a:lnTo>
                              <a:pt x="383" y="375"/>
                            </a:lnTo>
                            <a:lnTo>
                              <a:pt x="398" y="363"/>
                            </a:lnTo>
                            <a:lnTo>
                              <a:pt x="402" y="352"/>
                            </a:lnTo>
                            <a:lnTo>
                              <a:pt x="394" y="336"/>
                            </a:lnTo>
                            <a:lnTo>
                              <a:pt x="355" y="324"/>
                            </a:lnTo>
                            <a:lnTo>
                              <a:pt x="337" y="329"/>
                            </a:lnTo>
                            <a:lnTo>
                              <a:pt x="327" y="351"/>
                            </a:lnTo>
                            <a:lnTo>
                              <a:pt x="327" y="352"/>
                            </a:lnTo>
                            <a:lnTo>
                              <a:pt x="325" y="352"/>
                            </a:lnTo>
                            <a:lnTo>
                              <a:pt x="302" y="350"/>
                            </a:lnTo>
                            <a:lnTo>
                              <a:pt x="301" y="350"/>
                            </a:lnTo>
                            <a:lnTo>
                              <a:pt x="301" y="349"/>
                            </a:lnTo>
                            <a:lnTo>
                              <a:pt x="279" y="328"/>
                            </a:lnTo>
                            <a:lnTo>
                              <a:pt x="240" y="319"/>
                            </a:lnTo>
                            <a:lnTo>
                              <a:pt x="239" y="319"/>
                            </a:lnTo>
                            <a:lnTo>
                              <a:pt x="238" y="318"/>
                            </a:lnTo>
                            <a:lnTo>
                              <a:pt x="230" y="301"/>
                            </a:lnTo>
                            <a:lnTo>
                              <a:pt x="229" y="300"/>
                            </a:lnTo>
                            <a:lnTo>
                              <a:pt x="230" y="299"/>
                            </a:lnTo>
                            <a:lnTo>
                              <a:pt x="246" y="282"/>
                            </a:lnTo>
                            <a:lnTo>
                              <a:pt x="236" y="272"/>
                            </a:lnTo>
                            <a:lnTo>
                              <a:pt x="235" y="271"/>
                            </a:lnTo>
                            <a:lnTo>
                              <a:pt x="235" y="271"/>
                            </a:lnTo>
                            <a:lnTo>
                              <a:pt x="236" y="260"/>
                            </a:lnTo>
                            <a:lnTo>
                              <a:pt x="236" y="259"/>
                            </a:lnTo>
                            <a:lnTo>
                              <a:pt x="237" y="259"/>
                            </a:lnTo>
                            <a:lnTo>
                              <a:pt x="251" y="255"/>
                            </a:lnTo>
                            <a:lnTo>
                              <a:pt x="253" y="230"/>
                            </a:lnTo>
                            <a:lnTo>
                              <a:pt x="232" y="231"/>
                            </a:lnTo>
                            <a:lnTo>
                              <a:pt x="222" y="238"/>
                            </a:lnTo>
                            <a:lnTo>
                              <a:pt x="220" y="240"/>
                            </a:lnTo>
                            <a:lnTo>
                              <a:pt x="220" y="236"/>
                            </a:lnTo>
                            <a:lnTo>
                              <a:pt x="216" y="208"/>
                            </a:lnTo>
                            <a:lnTo>
                              <a:pt x="216" y="206"/>
                            </a:lnTo>
                            <a:lnTo>
                              <a:pt x="217" y="206"/>
                            </a:lnTo>
                            <a:lnTo>
                              <a:pt x="226" y="202"/>
                            </a:lnTo>
                            <a:lnTo>
                              <a:pt x="228" y="185"/>
                            </a:lnTo>
                            <a:lnTo>
                              <a:pt x="218" y="175"/>
                            </a:lnTo>
                            <a:lnTo>
                              <a:pt x="218" y="174"/>
                            </a:lnTo>
                            <a:lnTo>
                              <a:pt x="218" y="173"/>
                            </a:lnTo>
                            <a:lnTo>
                              <a:pt x="219" y="133"/>
                            </a:lnTo>
                            <a:lnTo>
                              <a:pt x="208" y="117"/>
                            </a:lnTo>
                            <a:lnTo>
                              <a:pt x="207" y="117"/>
                            </a:lnTo>
                            <a:lnTo>
                              <a:pt x="207" y="117"/>
                            </a:lnTo>
                            <a:lnTo>
                              <a:pt x="207" y="63"/>
                            </a:lnTo>
                            <a:lnTo>
                              <a:pt x="196" y="39"/>
                            </a:lnTo>
                            <a:lnTo>
                              <a:pt x="196" y="38"/>
                            </a:lnTo>
                            <a:lnTo>
                              <a:pt x="196" y="38"/>
                            </a:lnTo>
                            <a:lnTo>
                              <a:pt x="201" y="16"/>
                            </a:lnTo>
                            <a:lnTo>
                              <a:pt x="187" y="0"/>
                            </a:lnTo>
                            <a:lnTo>
                              <a:pt x="187" y="3"/>
                            </a:lnTo>
                            <a:lnTo>
                              <a:pt x="187" y="3"/>
                            </a:lnTo>
                            <a:lnTo>
                              <a:pt x="179" y="27"/>
                            </a:lnTo>
                            <a:lnTo>
                              <a:pt x="179" y="27"/>
                            </a:lnTo>
                            <a:lnTo>
                              <a:pt x="179" y="27"/>
                            </a:lnTo>
                            <a:lnTo>
                              <a:pt x="173" y="38"/>
                            </a:lnTo>
                            <a:lnTo>
                              <a:pt x="173" y="39"/>
                            </a:lnTo>
                            <a:lnTo>
                              <a:pt x="173" y="39"/>
                            </a:lnTo>
                            <a:lnTo>
                              <a:pt x="131" y="62"/>
                            </a:lnTo>
                            <a:lnTo>
                              <a:pt x="120" y="82"/>
                            </a:lnTo>
                            <a:lnTo>
                              <a:pt x="120" y="82"/>
                            </a:lnTo>
                            <a:lnTo>
                              <a:pt x="119" y="83"/>
                            </a:lnTo>
                            <a:lnTo>
                              <a:pt x="90" y="92"/>
                            </a:lnTo>
                            <a:lnTo>
                              <a:pt x="90" y="92"/>
                            </a:lnTo>
                            <a:lnTo>
                              <a:pt x="90" y="92"/>
                            </a:lnTo>
                            <a:lnTo>
                              <a:pt x="75" y="94"/>
                            </a:lnTo>
                            <a:lnTo>
                              <a:pt x="46" y="119"/>
                            </a:lnTo>
                            <a:lnTo>
                              <a:pt x="45" y="120"/>
                            </a:lnTo>
                            <a:lnTo>
                              <a:pt x="45" y="120"/>
                            </a:lnTo>
                            <a:lnTo>
                              <a:pt x="2" y="123"/>
                            </a:lnTo>
                            <a:lnTo>
                              <a:pt x="1" y="125"/>
                            </a:lnTo>
                            <a:lnTo>
                              <a:pt x="1" y="125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20" name="Google Shape;120;p2"/>
                      <p:cNvSpPr/>
                      <p:nvPr/>
                    </p:nvSpPr>
                    <p:spPr>
                      <a:xfrm>
                        <a:off x="763361" y="1839659"/>
                        <a:ext cx="326275" cy="36731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18" h="358" extrusionOk="0">
                            <a:moveTo>
                              <a:pt x="111" y="284"/>
                            </a:moveTo>
                            <a:lnTo>
                              <a:pt x="130" y="303"/>
                            </a:lnTo>
                            <a:lnTo>
                              <a:pt x="128" y="322"/>
                            </a:lnTo>
                            <a:lnTo>
                              <a:pt x="123" y="338"/>
                            </a:lnTo>
                            <a:lnTo>
                              <a:pt x="134" y="358"/>
                            </a:lnTo>
                            <a:lnTo>
                              <a:pt x="156" y="348"/>
                            </a:lnTo>
                            <a:lnTo>
                              <a:pt x="167" y="326"/>
                            </a:lnTo>
                            <a:lnTo>
                              <a:pt x="179" y="312"/>
                            </a:lnTo>
                            <a:lnTo>
                              <a:pt x="210" y="318"/>
                            </a:lnTo>
                            <a:lnTo>
                              <a:pt x="227" y="304"/>
                            </a:lnTo>
                            <a:lnTo>
                              <a:pt x="239" y="304"/>
                            </a:lnTo>
                            <a:lnTo>
                              <a:pt x="248" y="310"/>
                            </a:lnTo>
                            <a:lnTo>
                              <a:pt x="278" y="309"/>
                            </a:lnTo>
                            <a:lnTo>
                              <a:pt x="301" y="303"/>
                            </a:lnTo>
                            <a:lnTo>
                              <a:pt x="316" y="299"/>
                            </a:lnTo>
                            <a:lnTo>
                              <a:pt x="317" y="298"/>
                            </a:lnTo>
                            <a:lnTo>
                              <a:pt x="318" y="284"/>
                            </a:lnTo>
                            <a:lnTo>
                              <a:pt x="316" y="273"/>
                            </a:lnTo>
                            <a:lnTo>
                              <a:pt x="301" y="251"/>
                            </a:lnTo>
                            <a:lnTo>
                              <a:pt x="301" y="251"/>
                            </a:lnTo>
                            <a:lnTo>
                              <a:pt x="301" y="250"/>
                            </a:lnTo>
                            <a:lnTo>
                              <a:pt x="303" y="224"/>
                            </a:lnTo>
                            <a:lnTo>
                              <a:pt x="286" y="202"/>
                            </a:lnTo>
                            <a:lnTo>
                              <a:pt x="286" y="202"/>
                            </a:lnTo>
                            <a:lnTo>
                              <a:pt x="286" y="201"/>
                            </a:lnTo>
                            <a:lnTo>
                              <a:pt x="279" y="177"/>
                            </a:lnTo>
                            <a:lnTo>
                              <a:pt x="279" y="177"/>
                            </a:lnTo>
                            <a:lnTo>
                              <a:pt x="279" y="177"/>
                            </a:lnTo>
                            <a:lnTo>
                              <a:pt x="278" y="163"/>
                            </a:lnTo>
                            <a:lnTo>
                              <a:pt x="264" y="158"/>
                            </a:lnTo>
                            <a:lnTo>
                              <a:pt x="264" y="158"/>
                            </a:lnTo>
                            <a:lnTo>
                              <a:pt x="264" y="158"/>
                            </a:lnTo>
                            <a:lnTo>
                              <a:pt x="222" y="136"/>
                            </a:lnTo>
                            <a:lnTo>
                              <a:pt x="221" y="135"/>
                            </a:lnTo>
                            <a:lnTo>
                              <a:pt x="221" y="134"/>
                            </a:lnTo>
                            <a:lnTo>
                              <a:pt x="220" y="111"/>
                            </a:lnTo>
                            <a:lnTo>
                              <a:pt x="179" y="104"/>
                            </a:lnTo>
                            <a:lnTo>
                              <a:pt x="179" y="104"/>
                            </a:lnTo>
                            <a:lnTo>
                              <a:pt x="179" y="104"/>
                            </a:lnTo>
                            <a:lnTo>
                              <a:pt x="135" y="78"/>
                            </a:lnTo>
                            <a:lnTo>
                              <a:pt x="135" y="78"/>
                            </a:lnTo>
                            <a:lnTo>
                              <a:pt x="135" y="77"/>
                            </a:lnTo>
                            <a:lnTo>
                              <a:pt x="135" y="63"/>
                            </a:lnTo>
                            <a:lnTo>
                              <a:pt x="128" y="52"/>
                            </a:lnTo>
                            <a:lnTo>
                              <a:pt x="107" y="50"/>
                            </a:lnTo>
                            <a:lnTo>
                              <a:pt x="106" y="49"/>
                            </a:lnTo>
                            <a:lnTo>
                              <a:pt x="106" y="49"/>
                            </a:lnTo>
                            <a:lnTo>
                              <a:pt x="75" y="0"/>
                            </a:lnTo>
                            <a:lnTo>
                              <a:pt x="34" y="21"/>
                            </a:lnTo>
                            <a:lnTo>
                              <a:pt x="33" y="21"/>
                            </a:lnTo>
                            <a:lnTo>
                              <a:pt x="33" y="21"/>
                            </a:lnTo>
                            <a:lnTo>
                              <a:pt x="9" y="26"/>
                            </a:lnTo>
                            <a:lnTo>
                              <a:pt x="7" y="56"/>
                            </a:lnTo>
                            <a:lnTo>
                              <a:pt x="7" y="56"/>
                            </a:lnTo>
                            <a:lnTo>
                              <a:pt x="7" y="57"/>
                            </a:lnTo>
                            <a:lnTo>
                              <a:pt x="0" y="63"/>
                            </a:lnTo>
                            <a:lnTo>
                              <a:pt x="2" y="87"/>
                            </a:lnTo>
                            <a:lnTo>
                              <a:pt x="15" y="103"/>
                            </a:lnTo>
                            <a:lnTo>
                              <a:pt x="33" y="107"/>
                            </a:lnTo>
                            <a:lnTo>
                              <a:pt x="33" y="107"/>
                            </a:lnTo>
                            <a:lnTo>
                              <a:pt x="34" y="107"/>
                            </a:lnTo>
                            <a:lnTo>
                              <a:pt x="67" y="139"/>
                            </a:lnTo>
                            <a:lnTo>
                              <a:pt x="68" y="140"/>
                            </a:lnTo>
                            <a:lnTo>
                              <a:pt x="68" y="141"/>
                            </a:lnTo>
                            <a:lnTo>
                              <a:pt x="68" y="165"/>
                            </a:lnTo>
                            <a:lnTo>
                              <a:pt x="68" y="166"/>
                            </a:lnTo>
                            <a:lnTo>
                              <a:pt x="67" y="166"/>
                            </a:lnTo>
                            <a:lnTo>
                              <a:pt x="53" y="183"/>
                            </a:lnTo>
                            <a:lnTo>
                              <a:pt x="52" y="199"/>
                            </a:lnTo>
                            <a:lnTo>
                              <a:pt x="64" y="200"/>
                            </a:lnTo>
                            <a:lnTo>
                              <a:pt x="77" y="194"/>
                            </a:lnTo>
                            <a:lnTo>
                              <a:pt x="80" y="192"/>
                            </a:lnTo>
                            <a:lnTo>
                              <a:pt x="80" y="195"/>
                            </a:lnTo>
                            <a:lnTo>
                              <a:pt x="81" y="222"/>
                            </a:lnTo>
                            <a:lnTo>
                              <a:pt x="89" y="234"/>
                            </a:lnTo>
                            <a:lnTo>
                              <a:pt x="109" y="238"/>
                            </a:lnTo>
                            <a:lnTo>
                              <a:pt x="110" y="238"/>
                            </a:lnTo>
                            <a:lnTo>
                              <a:pt x="110" y="240"/>
                            </a:lnTo>
                            <a:lnTo>
                              <a:pt x="111" y="284"/>
                            </a:lnTo>
                            <a:lnTo>
                              <a:pt x="111" y="284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21" name="Google Shape;121;p2"/>
                      <p:cNvSpPr/>
                      <p:nvPr/>
                    </p:nvSpPr>
                    <p:spPr>
                      <a:xfrm>
                        <a:off x="1052699" y="1951495"/>
                        <a:ext cx="227777" cy="191867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22" h="187" extrusionOk="0">
                            <a:moveTo>
                              <a:pt x="0" y="54"/>
                            </a:moveTo>
                            <a:lnTo>
                              <a:pt x="1" y="67"/>
                            </a:lnTo>
                            <a:lnTo>
                              <a:pt x="7" y="92"/>
                            </a:lnTo>
                            <a:lnTo>
                              <a:pt x="24" y="113"/>
                            </a:lnTo>
                            <a:lnTo>
                              <a:pt x="25" y="114"/>
                            </a:lnTo>
                            <a:lnTo>
                              <a:pt x="25" y="114"/>
                            </a:lnTo>
                            <a:lnTo>
                              <a:pt x="22" y="141"/>
                            </a:lnTo>
                            <a:lnTo>
                              <a:pt x="37" y="162"/>
                            </a:lnTo>
                            <a:lnTo>
                              <a:pt x="38" y="163"/>
                            </a:lnTo>
                            <a:lnTo>
                              <a:pt x="38" y="163"/>
                            </a:lnTo>
                            <a:lnTo>
                              <a:pt x="40" y="175"/>
                            </a:lnTo>
                            <a:lnTo>
                              <a:pt x="40" y="175"/>
                            </a:lnTo>
                            <a:lnTo>
                              <a:pt x="40" y="175"/>
                            </a:lnTo>
                            <a:lnTo>
                              <a:pt x="39" y="187"/>
                            </a:lnTo>
                            <a:lnTo>
                              <a:pt x="80" y="184"/>
                            </a:lnTo>
                            <a:lnTo>
                              <a:pt x="109" y="159"/>
                            </a:lnTo>
                            <a:lnTo>
                              <a:pt x="110" y="158"/>
                            </a:lnTo>
                            <a:lnTo>
                              <a:pt x="110" y="158"/>
                            </a:lnTo>
                            <a:lnTo>
                              <a:pt x="125" y="156"/>
                            </a:lnTo>
                            <a:lnTo>
                              <a:pt x="154" y="147"/>
                            </a:lnTo>
                            <a:lnTo>
                              <a:pt x="164" y="128"/>
                            </a:lnTo>
                            <a:lnTo>
                              <a:pt x="164" y="127"/>
                            </a:lnTo>
                            <a:lnTo>
                              <a:pt x="164" y="127"/>
                            </a:lnTo>
                            <a:lnTo>
                              <a:pt x="207" y="104"/>
                            </a:lnTo>
                            <a:lnTo>
                              <a:pt x="212" y="94"/>
                            </a:lnTo>
                            <a:lnTo>
                              <a:pt x="219" y="70"/>
                            </a:lnTo>
                            <a:lnTo>
                              <a:pt x="222" y="58"/>
                            </a:lnTo>
                            <a:lnTo>
                              <a:pt x="201" y="28"/>
                            </a:lnTo>
                            <a:lnTo>
                              <a:pt x="192" y="20"/>
                            </a:lnTo>
                            <a:lnTo>
                              <a:pt x="182" y="27"/>
                            </a:lnTo>
                            <a:lnTo>
                              <a:pt x="182" y="27"/>
                            </a:lnTo>
                            <a:lnTo>
                              <a:pt x="182" y="27"/>
                            </a:lnTo>
                            <a:lnTo>
                              <a:pt x="173" y="29"/>
                            </a:lnTo>
                            <a:lnTo>
                              <a:pt x="172" y="29"/>
                            </a:lnTo>
                            <a:lnTo>
                              <a:pt x="171" y="28"/>
                            </a:lnTo>
                            <a:lnTo>
                              <a:pt x="154" y="3"/>
                            </a:lnTo>
                            <a:lnTo>
                              <a:pt x="149" y="8"/>
                            </a:lnTo>
                            <a:lnTo>
                              <a:pt x="128" y="30"/>
                            </a:lnTo>
                            <a:lnTo>
                              <a:pt x="128" y="30"/>
                            </a:lnTo>
                            <a:lnTo>
                              <a:pt x="127" y="30"/>
                            </a:lnTo>
                            <a:lnTo>
                              <a:pt x="115" y="38"/>
                            </a:lnTo>
                            <a:lnTo>
                              <a:pt x="114" y="38"/>
                            </a:lnTo>
                            <a:lnTo>
                              <a:pt x="114" y="38"/>
                            </a:lnTo>
                            <a:lnTo>
                              <a:pt x="98" y="34"/>
                            </a:lnTo>
                            <a:lnTo>
                              <a:pt x="97" y="34"/>
                            </a:lnTo>
                            <a:lnTo>
                              <a:pt x="97" y="33"/>
                            </a:lnTo>
                            <a:lnTo>
                              <a:pt x="73" y="12"/>
                            </a:lnTo>
                            <a:lnTo>
                              <a:pt x="56" y="0"/>
                            </a:lnTo>
                            <a:lnTo>
                              <a:pt x="41" y="2"/>
                            </a:lnTo>
                            <a:lnTo>
                              <a:pt x="16" y="5"/>
                            </a:lnTo>
                            <a:lnTo>
                              <a:pt x="6" y="19"/>
                            </a:lnTo>
                            <a:lnTo>
                              <a:pt x="6" y="25"/>
                            </a:lnTo>
                            <a:lnTo>
                              <a:pt x="14" y="29"/>
                            </a:lnTo>
                            <a:lnTo>
                              <a:pt x="15" y="30"/>
                            </a:lnTo>
                            <a:lnTo>
                              <a:pt x="15" y="31"/>
                            </a:lnTo>
                            <a:lnTo>
                              <a:pt x="12" y="48"/>
                            </a:lnTo>
                            <a:lnTo>
                              <a:pt x="11" y="49"/>
                            </a:lnTo>
                            <a:lnTo>
                              <a:pt x="11" y="49"/>
                            </a:lnTo>
                            <a:lnTo>
                              <a:pt x="0" y="54"/>
                            </a:lnTo>
                            <a:lnTo>
                              <a:pt x="0" y="54"/>
                            </a:lnTo>
                            <a:close/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22" name="Google Shape;122;p2"/>
                      <p:cNvSpPr/>
                      <p:nvPr/>
                    </p:nvSpPr>
                    <p:spPr>
                      <a:xfrm>
                        <a:off x="993190" y="1821190"/>
                        <a:ext cx="215465" cy="18263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10" h="178" extrusionOk="0">
                            <a:moveTo>
                              <a:pt x="0" y="128"/>
                            </a:moveTo>
                            <a:lnTo>
                              <a:pt x="0" y="151"/>
                            </a:lnTo>
                            <a:lnTo>
                              <a:pt x="41" y="173"/>
                            </a:lnTo>
                            <a:lnTo>
                              <a:pt x="56" y="178"/>
                            </a:lnTo>
                            <a:lnTo>
                              <a:pt x="66" y="173"/>
                            </a:lnTo>
                            <a:lnTo>
                              <a:pt x="69" y="159"/>
                            </a:lnTo>
                            <a:lnTo>
                              <a:pt x="61" y="155"/>
                            </a:lnTo>
                            <a:lnTo>
                              <a:pt x="60" y="155"/>
                            </a:lnTo>
                            <a:lnTo>
                              <a:pt x="60" y="154"/>
                            </a:lnTo>
                            <a:lnTo>
                              <a:pt x="60" y="145"/>
                            </a:lnTo>
                            <a:lnTo>
                              <a:pt x="60" y="145"/>
                            </a:lnTo>
                            <a:lnTo>
                              <a:pt x="61" y="145"/>
                            </a:lnTo>
                            <a:lnTo>
                              <a:pt x="71" y="129"/>
                            </a:lnTo>
                            <a:lnTo>
                              <a:pt x="72" y="129"/>
                            </a:lnTo>
                            <a:lnTo>
                              <a:pt x="73" y="129"/>
                            </a:lnTo>
                            <a:lnTo>
                              <a:pt x="99" y="125"/>
                            </a:lnTo>
                            <a:lnTo>
                              <a:pt x="99" y="125"/>
                            </a:lnTo>
                            <a:lnTo>
                              <a:pt x="115" y="123"/>
                            </a:lnTo>
                            <a:lnTo>
                              <a:pt x="115" y="123"/>
                            </a:lnTo>
                            <a:lnTo>
                              <a:pt x="116" y="124"/>
                            </a:lnTo>
                            <a:lnTo>
                              <a:pt x="133" y="136"/>
                            </a:lnTo>
                            <a:lnTo>
                              <a:pt x="133" y="136"/>
                            </a:lnTo>
                            <a:lnTo>
                              <a:pt x="133" y="136"/>
                            </a:lnTo>
                            <a:lnTo>
                              <a:pt x="157" y="158"/>
                            </a:lnTo>
                            <a:lnTo>
                              <a:pt x="172" y="161"/>
                            </a:lnTo>
                            <a:lnTo>
                              <a:pt x="183" y="155"/>
                            </a:lnTo>
                            <a:lnTo>
                              <a:pt x="205" y="132"/>
                            </a:lnTo>
                            <a:lnTo>
                              <a:pt x="205" y="132"/>
                            </a:lnTo>
                            <a:lnTo>
                              <a:pt x="205" y="132"/>
                            </a:lnTo>
                            <a:lnTo>
                              <a:pt x="210" y="128"/>
                            </a:lnTo>
                            <a:lnTo>
                              <a:pt x="194" y="108"/>
                            </a:lnTo>
                            <a:lnTo>
                              <a:pt x="193" y="107"/>
                            </a:lnTo>
                            <a:lnTo>
                              <a:pt x="194" y="106"/>
                            </a:lnTo>
                            <a:lnTo>
                              <a:pt x="201" y="98"/>
                            </a:lnTo>
                            <a:lnTo>
                              <a:pt x="200" y="81"/>
                            </a:lnTo>
                            <a:lnTo>
                              <a:pt x="168" y="79"/>
                            </a:lnTo>
                            <a:lnTo>
                              <a:pt x="167" y="79"/>
                            </a:lnTo>
                            <a:lnTo>
                              <a:pt x="167" y="78"/>
                            </a:lnTo>
                            <a:lnTo>
                              <a:pt x="148" y="52"/>
                            </a:lnTo>
                            <a:lnTo>
                              <a:pt x="125" y="51"/>
                            </a:lnTo>
                            <a:lnTo>
                              <a:pt x="124" y="51"/>
                            </a:lnTo>
                            <a:lnTo>
                              <a:pt x="124" y="50"/>
                            </a:lnTo>
                            <a:lnTo>
                              <a:pt x="115" y="29"/>
                            </a:lnTo>
                            <a:lnTo>
                              <a:pt x="90" y="0"/>
                            </a:lnTo>
                            <a:lnTo>
                              <a:pt x="87" y="4"/>
                            </a:lnTo>
                            <a:lnTo>
                              <a:pt x="83" y="26"/>
                            </a:lnTo>
                            <a:lnTo>
                              <a:pt x="83" y="27"/>
                            </a:lnTo>
                            <a:lnTo>
                              <a:pt x="83" y="27"/>
                            </a:lnTo>
                            <a:lnTo>
                              <a:pt x="77" y="35"/>
                            </a:lnTo>
                            <a:lnTo>
                              <a:pt x="76" y="37"/>
                            </a:lnTo>
                            <a:lnTo>
                              <a:pt x="74" y="36"/>
                            </a:lnTo>
                            <a:lnTo>
                              <a:pt x="36" y="22"/>
                            </a:lnTo>
                            <a:lnTo>
                              <a:pt x="36" y="62"/>
                            </a:lnTo>
                            <a:lnTo>
                              <a:pt x="36" y="63"/>
                            </a:lnTo>
                            <a:lnTo>
                              <a:pt x="36" y="64"/>
                            </a:lnTo>
                            <a:lnTo>
                              <a:pt x="28" y="73"/>
                            </a:lnTo>
                            <a:lnTo>
                              <a:pt x="35" y="87"/>
                            </a:lnTo>
                            <a:lnTo>
                              <a:pt x="35" y="88"/>
                            </a:lnTo>
                            <a:lnTo>
                              <a:pt x="35" y="89"/>
                            </a:lnTo>
                            <a:lnTo>
                              <a:pt x="32" y="98"/>
                            </a:lnTo>
                            <a:lnTo>
                              <a:pt x="32" y="99"/>
                            </a:lnTo>
                            <a:lnTo>
                              <a:pt x="31" y="99"/>
                            </a:lnTo>
                            <a:lnTo>
                              <a:pt x="0" y="128"/>
                            </a:lnTo>
                            <a:lnTo>
                              <a:pt x="0" y="128"/>
                            </a:lnTo>
                            <a:close/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23" name="Google Shape;123;p2"/>
                      <p:cNvSpPr/>
                      <p:nvPr/>
                    </p:nvSpPr>
                    <p:spPr>
                      <a:xfrm>
                        <a:off x="843391" y="1728848"/>
                        <a:ext cx="183658" cy="2205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79" h="215" extrusionOk="0">
                            <a:moveTo>
                              <a:pt x="63" y="4"/>
                            </a:moveTo>
                            <a:lnTo>
                              <a:pt x="52" y="5"/>
                            </a:lnTo>
                            <a:lnTo>
                              <a:pt x="52" y="5"/>
                            </a:lnTo>
                            <a:lnTo>
                              <a:pt x="51" y="4"/>
                            </a:lnTo>
                            <a:lnTo>
                              <a:pt x="39" y="0"/>
                            </a:lnTo>
                            <a:lnTo>
                              <a:pt x="17" y="25"/>
                            </a:lnTo>
                            <a:lnTo>
                              <a:pt x="13" y="52"/>
                            </a:lnTo>
                            <a:lnTo>
                              <a:pt x="12" y="93"/>
                            </a:lnTo>
                            <a:lnTo>
                              <a:pt x="12" y="93"/>
                            </a:lnTo>
                            <a:lnTo>
                              <a:pt x="12" y="94"/>
                            </a:lnTo>
                            <a:lnTo>
                              <a:pt x="6" y="103"/>
                            </a:lnTo>
                            <a:lnTo>
                              <a:pt x="5" y="104"/>
                            </a:lnTo>
                            <a:lnTo>
                              <a:pt x="5" y="104"/>
                            </a:lnTo>
                            <a:lnTo>
                              <a:pt x="0" y="107"/>
                            </a:lnTo>
                            <a:lnTo>
                              <a:pt x="31" y="154"/>
                            </a:lnTo>
                            <a:lnTo>
                              <a:pt x="52" y="156"/>
                            </a:lnTo>
                            <a:lnTo>
                              <a:pt x="52" y="156"/>
                            </a:lnTo>
                            <a:lnTo>
                              <a:pt x="53" y="157"/>
                            </a:lnTo>
                            <a:lnTo>
                              <a:pt x="60" y="169"/>
                            </a:lnTo>
                            <a:lnTo>
                              <a:pt x="60" y="170"/>
                            </a:lnTo>
                            <a:lnTo>
                              <a:pt x="60" y="170"/>
                            </a:lnTo>
                            <a:lnTo>
                              <a:pt x="60" y="184"/>
                            </a:lnTo>
                            <a:lnTo>
                              <a:pt x="102" y="208"/>
                            </a:lnTo>
                            <a:lnTo>
                              <a:pt x="144" y="215"/>
                            </a:lnTo>
                            <a:lnTo>
                              <a:pt x="175" y="186"/>
                            </a:lnTo>
                            <a:lnTo>
                              <a:pt x="177" y="178"/>
                            </a:lnTo>
                            <a:lnTo>
                              <a:pt x="170" y="163"/>
                            </a:lnTo>
                            <a:lnTo>
                              <a:pt x="169" y="162"/>
                            </a:lnTo>
                            <a:lnTo>
                              <a:pt x="170" y="161"/>
                            </a:lnTo>
                            <a:lnTo>
                              <a:pt x="179" y="152"/>
                            </a:lnTo>
                            <a:lnTo>
                              <a:pt x="179" y="112"/>
                            </a:lnTo>
                            <a:lnTo>
                              <a:pt x="164" y="111"/>
                            </a:lnTo>
                            <a:lnTo>
                              <a:pt x="163" y="111"/>
                            </a:lnTo>
                            <a:lnTo>
                              <a:pt x="162" y="110"/>
                            </a:lnTo>
                            <a:lnTo>
                              <a:pt x="152" y="87"/>
                            </a:lnTo>
                            <a:lnTo>
                              <a:pt x="128" y="83"/>
                            </a:lnTo>
                            <a:lnTo>
                              <a:pt x="121" y="90"/>
                            </a:lnTo>
                            <a:lnTo>
                              <a:pt x="119" y="91"/>
                            </a:lnTo>
                            <a:lnTo>
                              <a:pt x="118" y="89"/>
                            </a:lnTo>
                            <a:lnTo>
                              <a:pt x="103" y="65"/>
                            </a:lnTo>
                            <a:lnTo>
                              <a:pt x="103" y="65"/>
                            </a:lnTo>
                            <a:lnTo>
                              <a:pt x="103" y="64"/>
                            </a:lnTo>
                            <a:lnTo>
                              <a:pt x="101" y="37"/>
                            </a:lnTo>
                            <a:lnTo>
                              <a:pt x="76" y="37"/>
                            </a:lnTo>
                            <a:lnTo>
                              <a:pt x="75" y="37"/>
                            </a:lnTo>
                            <a:lnTo>
                              <a:pt x="74" y="36"/>
                            </a:lnTo>
                            <a:lnTo>
                              <a:pt x="63" y="4"/>
                            </a:lnTo>
                            <a:lnTo>
                              <a:pt x="63" y="4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rgbClr val="F2F2F2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24" name="Google Shape;124;p2"/>
                      <p:cNvSpPr/>
                      <p:nvPr/>
                    </p:nvSpPr>
                    <p:spPr>
                      <a:xfrm>
                        <a:off x="911108" y="1682677"/>
                        <a:ext cx="182632" cy="17134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78" h="167" extrusionOk="0">
                            <a:moveTo>
                              <a:pt x="57" y="0"/>
                            </a:moveTo>
                            <a:lnTo>
                              <a:pt x="38" y="14"/>
                            </a:lnTo>
                            <a:lnTo>
                              <a:pt x="0" y="48"/>
                            </a:lnTo>
                            <a:lnTo>
                              <a:pt x="11" y="78"/>
                            </a:lnTo>
                            <a:lnTo>
                              <a:pt x="36" y="78"/>
                            </a:lnTo>
                            <a:lnTo>
                              <a:pt x="38" y="78"/>
                            </a:lnTo>
                            <a:lnTo>
                              <a:pt x="38" y="80"/>
                            </a:lnTo>
                            <a:lnTo>
                              <a:pt x="40" y="108"/>
                            </a:lnTo>
                            <a:lnTo>
                              <a:pt x="54" y="131"/>
                            </a:lnTo>
                            <a:lnTo>
                              <a:pt x="60" y="125"/>
                            </a:lnTo>
                            <a:lnTo>
                              <a:pt x="61" y="124"/>
                            </a:lnTo>
                            <a:lnTo>
                              <a:pt x="62" y="124"/>
                            </a:lnTo>
                            <a:lnTo>
                              <a:pt x="88" y="129"/>
                            </a:lnTo>
                            <a:lnTo>
                              <a:pt x="89" y="129"/>
                            </a:lnTo>
                            <a:lnTo>
                              <a:pt x="89" y="130"/>
                            </a:lnTo>
                            <a:lnTo>
                              <a:pt x="99" y="152"/>
                            </a:lnTo>
                            <a:lnTo>
                              <a:pt x="113" y="153"/>
                            </a:lnTo>
                            <a:lnTo>
                              <a:pt x="113" y="152"/>
                            </a:lnTo>
                            <a:lnTo>
                              <a:pt x="115" y="153"/>
                            </a:lnTo>
                            <a:lnTo>
                              <a:pt x="154" y="167"/>
                            </a:lnTo>
                            <a:lnTo>
                              <a:pt x="159" y="160"/>
                            </a:lnTo>
                            <a:lnTo>
                              <a:pt x="163" y="137"/>
                            </a:lnTo>
                            <a:lnTo>
                              <a:pt x="163" y="137"/>
                            </a:lnTo>
                            <a:lnTo>
                              <a:pt x="164" y="137"/>
                            </a:lnTo>
                            <a:lnTo>
                              <a:pt x="169" y="131"/>
                            </a:lnTo>
                            <a:lnTo>
                              <a:pt x="177" y="117"/>
                            </a:lnTo>
                            <a:lnTo>
                              <a:pt x="178" y="108"/>
                            </a:lnTo>
                            <a:lnTo>
                              <a:pt x="167" y="101"/>
                            </a:lnTo>
                            <a:lnTo>
                              <a:pt x="166" y="101"/>
                            </a:lnTo>
                            <a:lnTo>
                              <a:pt x="166" y="100"/>
                            </a:lnTo>
                            <a:lnTo>
                              <a:pt x="164" y="88"/>
                            </a:lnTo>
                            <a:lnTo>
                              <a:pt x="158" y="84"/>
                            </a:lnTo>
                            <a:lnTo>
                              <a:pt x="154" y="90"/>
                            </a:lnTo>
                            <a:lnTo>
                              <a:pt x="154" y="91"/>
                            </a:lnTo>
                            <a:lnTo>
                              <a:pt x="153" y="91"/>
                            </a:lnTo>
                            <a:lnTo>
                              <a:pt x="126" y="92"/>
                            </a:lnTo>
                            <a:lnTo>
                              <a:pt x="123" y="100"/>
                            </a:lnTo>
                            <a:lnTo>
                              <a:pt x="123" y="101"/>
                            </a:lnTo>
                            <a:lnTo>
                              <a:pt x="121" y="101"/>
                            </a:lnTo>
                            <a:lnTo>
                              <a:pt x="107" y="98"/>
                            </a:lnTo>
                            <a:lnTo>
                              <a:pt x="106" y="98"/>
                            </a:lnTo>
                            <a:lnTo>
                              <a:pt x="106" y="98"/>
                            </a:lnTo>
                            <a:lnTo>
                              <a:pt x="92" y="71"/>
                            </a:lnTo>
                            <a:lnTo>
                              <a:pt x="92" y="71"/>
                            </a:lnTo>
                            <a:lnTo>
                              <a:pt x="92" y="70"/>
                            </a:lnTo>
                            <a:lnTo>
                              <a:pt x="88" y="31"/>
                            </a:lnTo>
                            <a:lnTo>
                              <a:pt x="57" y="0"/>
                            </a:lnTo>
                            <a:lnTo>
                              <a:pt x="57" y="0"/>
                            </a:lnTo>
                            <a:close/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25" name="Google Shape;125;p2"/>
                      <p:cNvSpPr/>
                      <p:nvPr/>
                    </p:nvSpPr>
                    <p:spPr>
                      <a:xfrm>
                        <a:off x="1088610" y="1736031"/>
                        <a:ext cx="122097" cy="12312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19" h="120" extrusionOk="0">
                            <a:moveTo>
                              <a:pt x="8" y="56"/>
                            </a:moveTo>
                            <a:lnTo>
                              <a:pt x="8" y="66"/>
                            </a:lnTo>
                            <a:lnTo>
                              <a:pt x="8" y="66"/>
                            </a:lnTo>
                            <a:lnTo>
                              <a:pt x="8" y="66"/>
                            </a:lnTo>
                            <a:lnTo>
                              <a:pt x="0" y="80"/>
                            </a:lnTo>
                            <a:lnTo>
                              <a:pt x="25" y="110"/>
                            </a:lnTo>
                            <a:lnTo>
                              <a:pt x="26" y="110"/>
                            </a:lnTo>
                            <a:lnTo>
                              <a:pt x="26" y="111"/>
                            </a:lnTo>
                            <a:lnTo>
                              <a:pt x="30" y="120"/>
                            </a:lnTo>
                            <a:lnTo>
                              <a:pt x="49" y="114"/>
                            </a:lnTo>
                            <a:lnTo>
                              <a:pt x="49" y="114"/>
                            </a:lnTo>
                            <a:lnTo>
                              <a:pt x="49" y="114"/>
                            </a:lnTo>
                            <a:lnTo>
                              <a:pt x="74" y="111"/>
                            </a:lnTo>
                            <a:lnTo>
                              <a:pt x="77" y="91"/>
                            </a:lnTo>
                            <a:lnTo>
                              <a:pt x="77" y="90"/>
                            </a:lnTo>
                            <a:lnTo>
                              <a:pt x="78" y="90"/>
                            </a:lnTo>
                            <a:lnTo>
                              <a:pt x="90" y="83"/>
                            </a:lnTo>
                            <a:lnTo>
                              <a:pt x="91" y="83"/>
                            </a:lnTo>
                            <a:lnTo>
                              <a:pt x="91" y="83"/>
                            </a:lnTo>
                            <a:lnTo>
                              <a:pt x="117" y="76"/>
                            </a:lnTo>
                            <a:lnTo>
                              <a:pt x="119" y="55"/>
                            </a:lnTo>
                            <a:lnTo>
                              <a:pt x="113" y="16"/>
                            </a:lnTo>
                            <a:lnTo>
                              <a:pt x="63" y="0"/>
                            </a:lnTo>
                            <a:lnTo>
                              <a:pt x="35" y="8"/>
                            </a:lnTo>
                            <a:lnTo>
                              <a:pt x="32" y="37"/>
                            </a:lnTo>
                            <a:lnTo>
                              <a:pt x="32" y="38"/>
                            </a:lnTo>
                            <a:lnTo>
                              <a:pt x="31" y="39"/>
                            </a:lnTo>
                            <a:lnTo>
                              <a:pt x="8" y="56"/>
                            </a:lnTo>
                            <a:lnTo>
                              <a:pt x="8" y="56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26" name="Google Shape;126;p2"/>
                      <p:cNvSpPr/>
                      <p:nvPr/>
                    </p:nvSpPr>
                    <p:spPr>
                      <a:xfrm>
                        <a:off x="959331" y="1581101"/>
                        <a:ext cx="346796" cy="20828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8" h="203" extrusionOk="0">
                            <a:moveTo>
                              <a:pt x="0" y="63"/>
                            </a:moveTo>
                            <a:lnTo>
                              <a:pt x="7" y="83"/>
                            </a:lnTo>
                            <a:lnTo>
                              <a:pt x="7" y="83"/>
                            </a:lnTo>
                            <a:lnTo>
                              <a:pt x="12" y="96"/>
                            </a:lnTo>
                            <a:lnTo>
                              <a:pt x="44" y="128"/>
                            </a:lnTo>
                            <a:lnTo>
                              <a:pt x="44" y="129"/>
                            </a:lnTo>
                            <a:lnTo>
                              <a:pt x="44" y="129"/>
                            </a:lnTo>
                            <a:lnTo>
                              <a:pt x="48" y="168"/>
                            </a:lnTo>
                            <a:lnTo>
                              <a:pt x="62" y="194"/>
                            </a:lnTo>
                            <a:lnTo>
                              <a:pt x="73" y="196"/>
                            </a:lnTo>
                            <a:lnTo>
                              <a:pt x="76" y="189"/>
                            </a:lnTo>
                            <a:lnTo>
                              <a:pt x="77" y="188"/>
                            </a:lnTo>
                            <a:lnTo>
                              <a:pt x="77" y="188"/>
                            </a:lnTo>
                            <a:lnTo>
                              <a:pt x="104" y="187"/>
                            </a:lnTo>
                            <a:lnTo>
                              <a:pt x="108" y="180"/>
                            </a:lnTo>
                            <a:lnTo>
                              <a:pt x="109" y="178"/>
                            </a:lnTo>
                            <a:lnTo>
                              <a:pt x="111" y="179"/>
                            </a:lnTo>
                            <a:lnTo>
                              <a:pt x="120" y="185"/>
                            </a:lnTo>
                            <a:lnTo>
                              <a:pt x="121" y="185"/>
                            </a:lnTo>
                            <a:lnTo>
                              <a:pt x="121" y="186"/>
                            </a:lnTo>
                            <a:lnTo>
                              <a:pt x="122" y="197"/>
                            </a:lnTo>
                            <a:lnTo>
                              <a:pt x="132" y="203"/>
                            </a:lnTo>
                            <a:lnTo>
                              <a:pt x="155" y="187"/>
                            </a:lnTo>
                            <a:lnTo>
                              <a:pt x="157" y="157"/>
                            </a:lnTo>
                            <a:lnTo>
                              <a:pt x="157" y="157"/>
                            </a:lnTo>
                            <a:lnTo>
                              <a:pt x="159" y="156"/>
                            </a:lnTo>
                            <a:lnTo>
                              <a:pt x="187" y="148"/>
                            </a:lnTo>
                            <a:lnTo>
                              <a:pt x="189" y="105"/>
                            </a:lnTo>
                            <a:lnTo>
                              <a:pt x="189" y="103"/>
                            </a:lnTo>
                            <a:lnTo>
                              <a:pt x="190" y="103"/>
                            </a:lnTo>
                            <a:lnTo>
                              <a:pt x="216" y="102"/>
                            </a:lnTo>
                            <a:lnTo>
                              <a:pt x="230" y="91"/>
                            </a:lnTo>
                            <a:lnTo>
                              <a:pt x="231" y="90"/>
                            </a:lnTo>
                            <a:lnTo>
                              <a:pt x="232" y="91"/>
                            </a:lnTo>
                            <a:lnTo>
                              <a:pt x="260" y="108"/>
                            </a:lnTo>
                            <a:lnTo>
                              <a:pt x="282" y="78"/>
                            </a:lnTo>
                            <a:lnTo>
                              <a:pt x="284" y="76"/>
                            </a:lnTo>
                            <a:lnTo>
                              <a:pt x="285" y="77"/>
                            </a:lnTo>
                            <a:lnTo>
                              <a:pt x="311" y="96"/>
                            </a:lnTo>
                            <a:lnTo>
                              <a:pt x="329" y="88"/>
                            </a:lnTo>
                            <a:lnTo>
                              <a:pt x="338" y="79"/>
                            </a:lnTo>
                            <a:lnTo>
                              <a:pt x="322" y="59"/>
                            </a:lnTo>
                            <a:lnTo>
                              <a:pt x="290" y="26"/>
                            </a:lnTo>
                            <a:lnTo>
                              <a:pt x="272" y="18"/>
                            </a:lnTo>
                            <a:lnTo>
                              <a:pt x="271" y="18"/>
                            </a:lnTo>
                            <a:lnTo>
                              <a:pt x="271" y="17"/>
                            </a:lnTo>
                            <a:lnTo>
                              <a:pt x="265" y="0"/>
                            </a:lnTo>
                            <a:lnTo>
                              <a:pt x="246" y="0"/>
                            </a:lnTo>
                            <a:lnTo>
                              <a:pt x="238" y="5"/>
                            </a:lnTo>
                            <a:lnTo>
                              <a:pt x="237" y="6"/>
                            </a:lnTo>
                            <a:lnTo>
                              <a:pt x="237" y="6"/>
                            </a:lnTo>
                            <a:lnTo>
                              <a:pt x="169" y="5"/>
                            </a:lnTo>
                            <a:lnTo>
                              <a:pt x="154" y="14"/>
                            </a:lnTo>
                            <a:lnTo>
                              <a:pt x="153" y="15"/>
                            </a:lnTo>
                            <a:lnTo>
                              <a:pt x="151" y="14"/>
                            </a:lnTo>
                            <a:lnTo>
                              <a:pt x="143" y="5"/>
                            </a:lnTo>
                            <a:lnTo>
                              <a:pt x="122" y="7"/>
                            </a:lnTo>
                            <a:lnTo>
                              <a:pt x="114" y="19"/>
                            </a:lnTo>
                            <a:lnTo>
                              <a:pt x="113" y="20"/>
                            </a:lnTo>
                            <a:lnTo>
                              <a:pt x="112" y="20"/>
                            </a:lnTo>
                            <a:lnTo>
                              <a:pt x="99" y="23"/>
                            </a:lnTo>
                            <a:lnTo>
                              <a:pt x="61" y="46"/>
                            </a:lnTo>
                            <a:lnTo>
                              <a:pt x="60" y="46"/>
                            </a:lnTo>
                            <a:lnTo>
                              <a:pt x="60" y="46"/>
                            </a:lnTo>
                            <a:lnTo>
                              <a:pt x="26" y="47"/>
                            </a:lnTo>
                            <a:lnTo>
                              <a:pt x="0" y="63"/>
                            </a:lnTo>
                            <a:lnTo>
                              <a:pt x="0" y="63"/>
                            </a:lnTo>
                            <a:close/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27" name="Google Shape;127;p2"/>
                      <p:cNvSpPr/>
                      <p:nvPr/>
                    </p:nvSpPr>
                    <p:spPr>
                      <a:xfrm>
                        <a:off x="1155301" y="1678573"/>
                        <a:ext cx="171346" cy="14877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67" h="145" extrusionOk="0">
                            <a:moveTo>
                              <a:pt x="68" y="17"/>
                            </a:moveTo>
                            <a:lnTo>
                              <a:pt x="40" y="0"/>
                            </a:lnTo>
                            <a:lnTo>
                              <a:pt x="27" y="10"/>
                            </a:lnTo>
                            <a:lnTo>
                              <a:pt x="27" y="11"/>
                            </a:lnTo>
                            <a:lnTo>
                              <a:pt x="26" y="11"/>
                            </a:lnTo>
                            <a:lnTo>
                              <a:pt x="1" y="12"/>
                            </a:lnTo>
                            <a:lnTo>
                              <a:pt x="0" y="53"/>
                            </a:lnTo>
                            <a:lnTo>
                              <a:pt x="49" y="69"/>
                            </a:lnTo>
                            <a:lnTo>
                              <a:pt x="51" y="69"/>
                            </a:lnTo>
                            <a:lnTo>
                              <a:pt x="51" y="70"/>
                            </a:lnTo>
                            <a:lnTo>
                              <a:pt x="58" y="110"/>
                            </a:lnTo>
                            <a:lnTo>
                              <a:pt x="58" y="110"/>
                            </a:lnTo>
                            <a:lnTo>
                              <a:pt x="58" y="111"/>
                            </a:lnTo>
                            <a:lnTo>
                              <a:pt x="56" y="131"/>
                            </a:lnTo>
                            <a:lnTo>
                              <a:pt x="69" y="126"/>
                            </a:lnTo>
                            <a:lnTo>
                              <a:pt x="69" y="125"/>
                            </a:lnTo>
                            <a:lnTo>
                              <a:pt x="69" y="125"/>
                            </a:lnTo>
                            <a:lnTo>
                              <a:pt x="111" y="120"/>
                            </a:lnTo>
                            <a:lnTo>
                              <a:pt x="112" y="120"/>
                            </a:lnTo>
                            <a:lnTo>
                              <a:pt x="112" y="120"/>
                            </a:lnTo>
                            <a:lnTo>
                              <a:pt x="141" y="129"/>
                            </a:lnTo>
                            <a:lnTo>
                              <a:pt x="142" y="129"/>
                            </a:lnTo>
                            <a:lnTo>
                              <a:pt x="142" y="130"/>
                            </a:lnTo>
                            <a:lnTo>
                              <a:pt x="152" y="145"/>
                            </a:lnTo>
                            <a:lnTo>
                              <a:pt x="167" y="131"/>
                            </a:lnTo>
                            <a:lnTo>
                              <a:pt x="165" y="98"/>
                            </a:lnTo>
                            <a:lnTo>
                              <a:pt x="159" y="82"/>
                            </a:lnTo>
                            <a:lnTo>
                              <a:pt x="138" y="60"/>
                            </a:lnTo>
                            <a:lnTo>
                              <a:pt x="87" y="51"/>
                            </a:lnTo>
                            <a:lnTo>
                              <a:pt x="86" y="51"/>
                            </a:lnTo>
                            <a:lnTo>
                              <a:pt x="86" y="50"/>
                            </a:lnTo>
                            <a:lnTo>
                              <a:pt x="74" y="40"/>
                            </a:lnTo>
                            <a:lnTo>
                              <a:pt x="73" y="40"/>
                            </a:lnTo>
                            <a:lnTo>
                              <a:pt x="73" y="39"/>
                            </a:lnTo>
                            <a:lnTo>
                              <a:pt x="68" y="17"/>
                            </a:lnTo>
                            <a:lnTo>
                              <a:pt x="68" y="17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28" name="Google Shape;128;p2"/>
                      <p:cNvSpPr/>
                      <p:nvPr/>
                    </p:nvSpPr>
                    <p:spPr>
                      <a:xfrm>
                        <a:off x="1120417" y="1804774"/>
                        <a:ext cx="298573" cy="27805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91" h="271" extrusionOk="0">
                            <a:moveTo>
                              <a:pt x="201" y="13"/>
                            </a:moveTo>
                            <a:lnTo>
                              <a:pt x="186" y="26"/>
                            </a:lnTo>
                            <a:lnTo>
                              <a:pt x="185" y="28"/>
                            </a:lnTo>
                            <a:lnTo>
                              <a:pt x="183" y="26"/>
                            </a:lnTo>
                            <a:lnTo>
                              <a:pt x="173" y="9"/>
                            </a:lnTo>
                            <a:lnTo>
                              <a:pt x="145" y="0"/>
                            </a:lnTo>
                            <a:lnTo>
                              <a:pt x="104" y="6"/>
                            </a:lnTo>
                            <a:lnTo>
                              <a:pt x="89" y="12"/>
                            </a:lnTo>
                            <a:lnTo>
                              <a:pt x="89" y="12"/>
                            </a:lnTo>
                            <a:lnTo>
                              <a:pt x="88" y="12"/>
                            </a:lnTo>
                            <a:lnTo>
                              <a:pt x="61" y="19"/>
                            </a:lnTo>
                            <a:lnTo>
                              <a:pt x="49" y="26"/>
                            </a:lnTo>
                            <a:lnTo>
                              <a:pt x="46" y="46"/>
                            </a:lnTo>
                            <a:lnTo>
                              <a:pt x="46" y="47"/>
                            </a:lnTo>
                            <a:lnTo>
                              <a:pt x="45" y="48"/>
                            </a:lnTo>
                            <a:lnTo>
                              <a:pt x="19" y="51"/>
                            </a:lnTo>
                            <a:lnTo>
                              <a:pt x="0" y="56"/>
                            </a:lnTo>
                            <a:lnTo>
                              <a:pt x="3" y="64"/>
                            </a:lnTo>
                            <a:lnTo>
                              <a:pt x="25" y="65"/>
                            </a:lnTo>
                            <a:lnTo>
                              <a:pt x="26" y="65"/>
                            </a:lnTo>
                            <a:lnTo>
                              <a:pt x="27" y="66"/>
                            </a:lnTo>
                            <a:lnTo>
                              <a:pt x="45" y="92"/>
                            </a:lnTo>
                            <a:lnTo>
                              <a:pt x="78" y="93"/>
                            </a:lnTo>
                            <a:lnTo>
                              <a:pt x="79" y="94"/>
                            </a:lnTo>
                            <a:lnTo>
                              <a:pt x="79" y="95"/>
                            </a:lnTo>
                            <a:lnTo>
                              <a:pt x="81" y="115"/>
                            </a:lnTo>
                            <a:lnTo>
                              <a:pt x="81" y="115"/>
                            </a:lnTo>
                            <a:lnTo>
                              <a:pt x="81" y="116"/>
                            </a:lnTo>
                            <a:lnTo>
                              <a:pt x="74" y="123"/>
                            </a:lnTo>
                            <a:lnTo>
                              <a:pt x="89" y="141"/>
                            </a:lnTo>
                            <a:lnTo>
                              <a:pt x="89" y="141"/>
                            </a:lnTo>
                            <a:lnTo>
                              <a:pt x="90" y="143"/>
                            </a:lnTo>
                            <a:lnTo>
                              <a:pt x="107" y="168"/>
                            </a:lnTo>
                            <a:lnTo>
                              <a:pt x="115" y="166"/>
                            </a:lnTo>
                            <a:lnTo>
                              <a:pt x="125" y="160"/>
                            </a:lnTo>
                            <a:lnTo>
                              <a:pt x="126" y="159"/>
                            </a:lnTo>
                            <a:lnTo>
                              <a:pt x="127" y="160"/>
                            </a:lnTo>
                            <a:lnTo>
                              <a:pt x="137" y="169"/>
                            </a:lnTo>
                            <a:lnTo>
                              <a:pt x="137" y="169"/>
                            </a:lnTo>
                            <a:lnTo>
                              <a:pt x="138" y="169"/>
                            </a:lnTo>
                            <a:lnTo>
                              <a:pt x="159" y="200"/>
                            </a:lnTo>
                            <a:lnTo>
                              <a:pt x="160" y="201"/>
                            </a:lnTo>
                            <a:lnTo>
                              <a:pt x="160" y="202"/>
                            </a:lnTo>
                            <a:lnTo>
                              <a:pt x="158" y="207"/>
                            </a:lnTo>
                            <a:lnTo>
                              <a:pt x="175" y="225"/>
                            </a:lnTo>
                            <a:lnTo>
                              <a:pt x="176" y="226"/>
                            </a:lnTo>
                            <a:lnTo>
                              <a:pt x="175" y="227"/>
                            </a:lnTo>
                            <a:lnTo>
                              <a:pt x="170" y="249"/>
                            </a:lnTo>
                            <a:lnTo>
                              <a:pt x="181" y="271"/>
                            </a:lnTo>
                            <a:lnTo>
                              <a:pt x="185" y="271"/>
                            </a:lnTo>
                            <a:lnTo>
                              <a:pt x="191" y="257"/>
                            </a:lnTo>
                            <a:lnTo>
                              <a:pt x="191" y="257"/>
                            </a:lnTo>
                            <a:lnTo>
                              <a:pt x="200" y="239"/>
                            </a:lnTo>
                            <a:lnTo>
                              <a:pt x="200" y="238"/>
                            </a:lnTo>
                            <a:lnTo>
                              <a:pt x="201" y="238"/>
                            </a:lnTo>
                            <a:lnTo>
                              <a:pt x="215" y="239"/>
                            </a:lnTo>
                            <a:lnTo>
                              <a:pt x="216" y="239"/>
                            </a:lnTo>
                            <a:lnTo>
                              <a:pt x="216" y="239"/>
                            </a:lnTo>
                            <a:lnTo>
                              <a:pt x="234" y="250"/>
                            </a:lnTo>
                            <a:lnTo>
                              <a:pt x="239" y="244"/>
                            </a:lnTo>
                            <a:lnTo>
                              <a:pt x="235" y="224"/>
                            </a:lnTo>
                            <a:lnTo>
                              <a:pt x="222" y="211"/>
                            </a:lnTo>
                            <a:lnTo>
                              <a:pt x="222" y="210"/>
                            </a:lnTo>
                            <a:lnTo>
                              <a:pt x="222" y="210"/>
                            </a:lnTo>
                            <a:lnTo>
                              <a:pt x="225" y="190"/>
                            </a:lnTo>
                            <a:lnTo>
                              <a:pt x="225" y="188"/>
                            </a:lnTo>
                            <a:lnTo>
                              <a:pt x="227" y="188"/>
                            </a:lnTo>
                            <a:lnTo>
                              <a:pt x="260" y="192"/>
                            </a:lnTo>
                            <a:lnTo>
                              <a:pt x="288" y="183"/>
                            </a:lnTo>
                            <a:lnTo>
                              <a:pt x="291" y="161"/>
                            </a:lnTo>
                            <a:lnTo>
                              <a:pt x="282" y="159"/>
                            </a:lnTo>
                            <a:lnTo>
                              <a:pt x="281" y="159"/>
                            </a:lnTo>
                            <a:lnTo>
                              <a:pt x="280" y="159"/>
                            </a:lnTo>
                            <a:lnTo>
                              <a:pt x="274" y="151"/>
                            </a:lnTo>
                            <a:lnTo>
                              <a:pt x="273" y="150"/>
                            </a:lnTo>
                            <a:lnTo>
                              <a:pt x="275" y="148"/>
                            </a:lnTo>
                            <a:lnTo>
                              <a:pt x="289" y="138"/>
                            </a:lnTo>
                            <a:lnTo>
                              <a:pt x="290" y="133"/>
                            </a:lnTo>
                            <a:lnTo>
                              <a:pt x="277" y="131"/>
                            </a:lnTo>
                            <a:lnTo>
                              <a:pt x="276" y="131"/>
                            </a:lnTo>
                            <a:lnTo>
                              <a:pt x="275" y="130"/>
                            </a:lnTo>
                            <a:lnTo>
                              <a:pt x="274" y="122"/>
                            </a:lnTo>
                            <a:lnTo>
                              <a:pt x="274" y="122"/>
                            </a:lnTo>
                            <a:lnTo>
                              <a:pt x="274" y="121"/>
                            </a:lnTo>
                            <a:lnTo>
                              <a:pt x="281" y="108"/>
                            </a:lnTo>
                            <a:lnTo>
                              <a:pt x="276" y="104"/>
                            </a:lnTo>
                            <a:lnTo>
                              <a:pt x="252" y="117"/>
                            </a:lnTo>
                            <a:lnTo>
                              <a:pt x="252" y="118"/>
                            </a:lnTo>
                            <a:lnTo>
                              <a:pt x="251" y="118"/>
                            </a:lnTo>
                            <a:lnTo>
                              <a:pt x="222" y="112"/>
                            </a:lnTo>
                            <a:lnTo>
                              <a:pt x="221" y="112"/>
                            </a:lnTo>
                            <a:lnTo>
                              <a:pt x="221" y="111"/>
                            </a:lnTo>
                            <a:lnTo>
                              <a:pt x="209" y="92"/>
                            </a:lnTo>
                            <a:lnTo>
                              <a:pt x="209" y="91"/>
                            </a:lnTo>
                            <a:lnTo>
                              <a:pt x="209" y="91"/>
                            </a:lnTo>
                            <a:lnTo>
                              <a:pt x="201" y="67"/>
                            </a:lnTo>
                            <a:lnTo>
                              <a:pt x="201" y="67"/>
                            </a:lnTo>
                            <a:lnTo>
                              <a:pt x="201" y="67"/>
                            </a:lnTo>
                            <a:lnTo>
                              <a:pt x="201" y="13"/>
                            </a:lnTo>
                            <a:lnTo>
                              <a:pt x="201" y="13"/>
                            </a:lnTo>
                            <a:close/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29" name="Google Shape;129;p2"/>
                      <p:cNvSpPr/>
                      <p:nvPr/>
                    </p:nvSpPr>
                    <p:spPr>
                      <a:xfrm>
                        <a:off x="1334856" y="1758603"/>
                        <a:ext cx="204179" cy="207257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9" h="202" extrusionOk="0">
                            <a:moveTo>
                              <a:pt x="0" y="124"/>
                            </a:moveTo>
                            <a:lnTo>
                              <a:pt x="3" y="135"/>
                            </a:lnTo>
                            <a:lnTo>
                              <a:pt x="15" y="153"/>
                            </a:lnTo>
                            <a:lnTo>
                              <a:pt x="42" y="159"/>
                            </a:lnTo>
                            <a:lnTo>
                              <a:pt x="67" y="146"/>
                            </a:lnTo>
                            <a:lnTo>
                              <a:pt x="68" y="145"/>
                            </a:lnTo>
                            <a:lnTo>
                              <a:pt x="69" y="146"/>
                            </a:lnTo>
                            <a:lnTo>
                              <a:pt x="76" y="151"/>
                            </a:lnTo>
                            <a:lnTo>
                              <a:pt x="77" y="152"/>
                            </a:lnTo>
                            <a:lnTo>
                              <a:pt x="76" y="153"/>
                            </a:lnTo>
                            <a:lnTo>
                              <a:pt x="69" y="167"/>
                            </a:lnTo>
                            <a:lnTo>
                              <a:pt x="70" y="173"/>
                            </a:lnTo>
                            <a:lnTo>
                              <a:pt x="83" y="175"/>
                            </a:lnTo>
                            <a:lnTo>
                              <a:pt x="85" y="175"/>
                            </a:lnTo>
                            <a:lnTo>
                              <a:pt x="85" y="177"/>
                            </a:lnTo>
                            <a:lnTo>
                              <a:pt x="83" y="184"/>
                            </a:lnTo>
                            <a:lnTo>
                              <a:pt x="83" y="185"/>
                            </a:lnTo>
                            <a:lnTo>
                              <a:pt x="83" y="186"/>
                            </a:lnTo>
                            <a:lnTo>
                              <a:pt x="69" y="195"/>
                            </a:lnTo>
                            <a:lnTo>
                              <a:pt x="74" y="201"/>
                            </a:lnTo>
                            <a:lnTo>
                              <a:pt x="85" y="202"/>
                            </a:lnTo>
                            <a:lnTo>
                              <a:pt x="101" y="202"/>
                            </a:lnTo>
                            <a:lnTo>
                              <a:pt x="119" y="186"/>
                            </a:lnTo>
                            <a:lnTo>
                              <a:pt x="120" y="147"/>
                            </a:lnTo>
                            <a:lnTo>
                              <a:pt x="120" y="145"/>
                            </a:lnTo>
                            <a:lnTo>
                              <a:pt x="121" y="145"/>
                            </a:lnTo>
                            <a:lnTo>
                              <a:pt x="137" y="147"/>
                            </a:lnTo>
                            <a:lnTo>
                              <a:pt x="154" y="128"/>
                            </a:lnTo>
                            <a:lnTo>
                              <a:pt x="164" y="102"/>
                            </a:lnTo>
                            <a:lnTo>
                              <a:pt x="164" y="101"/>
                            </a:lnTo>
                            <a:lnTo>
                              <a:pt x="165" y="101"/>
                            </a:lnTo>
                            <a:lnTo>
                              <a:pt x="180" y="84"/>
                            </a:lnTo>
                            <a:lnTo>
                              <a:pt x="199" y="37"/>
                            </a:lnTo>
                            <a:lnTo>
                              <a:pt x="189" y="29"/>
                            </a:lnTo>
                            <a:lnTo>
                              <a:pt x="189" y="29"/>
                            </a:lnTo>
                            <a:lnTo>
                              <a:pt x="189" y="29"/>
                            </a:lnTo>
                            <a:lnTo>
                              <a:pt x="178" y="17"/>
                            </a:lnTo>
                            <a:lnTo>
                              <a:pt x="164" y="19"/>
                            </a:lnTo>
                            <a:lnTo>
                              <a:pt x="163" y="19"/>
                            </a:lnTo>
                            <a:lnTo>
                              <a:pt x="162" y="19"/>
                            </a:lnTo>
                            <a:lnTo>
                              <a:pt x="143" y="1"/>
                            </a:lnTo>
                            <a:lnTo>
                              <a:pt x="113" y="0"/>
                            </a:lnTo>
                            <a:lnTo>
                              <a:pt x="113" y="10"/>
                            </a:lnTo>
                            <a:lnTo>
                              <a:pt x="113" y="10"/>
                            </a:lnTo>
                            <a:lnTo>
                              <a:pt x="111" y="24"/>
                            </a:lnTo>
                            <a:lnTo>
                              <a:pt x="111" y="25"/>
                            </a:lnTo>
                            <a:lnTo>
                              <a:pt x="110" y="26"/>
                            </a:lnTo>
                            <a:lnTo>
                              <a:pt x="89" y="44"/>
                            </a:lnTo>
                            <a:lnTo>
                              <a:pt x="88" y="44"/>
                            </a:lnTo>
                            <a:lnTo>
                              <a:pt x="87" y="44"/>
                            </a:lnTo>
                            <a:lnTo>
                              <a:pt x="70" y="36"/>
                            </a:lnTo>
                            <a:lnTo>
                              <a:pt x="57" y="35"/>
                            </a:lnTo>
                            <a:lnTo>
                              <a:pt x="44" y="83"/>
                            </a:lnTo>
                            <a:lnTo>
                              <a:pt x="43" y="85"/>
                            </a:lnTo>
                            <a:lnTo>
                              <a:pt x="42" y="85"/>
                            </a:lnTo>
                            <a:lnTo>
                              <a:pt x="13" y="89"/>
                            </a:lnTo>
                            <a:lnTo>
                              <a:pt x="0" y="124"/>
                            </a:lnTo>
                            <a:lnTo>
                              <a:pt x="0" y="124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30" name="Google Shape;130;p2"/>
                      <p:cNvSpPr/>
                      <p:nvPr/>
                    </p:nvSpPr>
                    <p:spPr>
                      <a:xfrm>
                        <a:off x="1306127" y="1952521"/>
                        <a:ext cx="322171" cy="42682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14" h="416" extrusionOk="0">
                            <a:moveTo>
                              <a:pt x="149" y="0"/>
                            </a:moveTo>
                            <a:lnTo>
                              <a:pt x="132" y="17"/>
                            </a:lnTo>
                            <a:lnTo>
                              <a:pt x="131" y="17"/>
                            </a:lnTo>
                            <a:lnTo>
                              <a:pt x="114" y="17"/>
                            </a:lnTo>
                            <a:lnTo>
                              <a:pt x="110" y="41"/>
                            </a:lnTo>
                            <a:lnTo>
                              <a:pt x="110" y="42"/>
                            </a:lnTo>
                            <a:lnTo>
                              <a:pt x="109" y="42"/>
                            </a:lnTo>
                            <a:lnTo>
                              <a:pt x="80" y="51"/>
                            </a:lnTo>
                            <a:lnTo>
                              <a:pt x="80" y="51"/>
                            </a:lnTo>
                            <a:lnTo>
                              <a:pt x="79" y="51"/>
                            </a:lnTo>
                            <a:lnTo>
                              <a:pt x="47" y="48"/>
                            </a:lnTo>
                            <a:lnTo>
                              <a:pt x="45" y="65"/>
                            </a:lnTo>
                            <a:lnTo>
                              <a:pt x="57" y="78"/>
                            </a:lnTo>
                            <a:lnTo>
                              <a:pt x="58" y="78"/>
                            </a:lnTo>
                            <a:lnTo>
                              <a:pt x="58" y="79"/>
                            </a:lnTo>
                            <a:lnTo>
                              <a:pt x="61" y="100"/>
                            </a:lnTo>
                            <a:lnTo>
                              <a:pt x="61" y="101"/>
                            </a:lnTo>
                            <a:lnTo>
                              <a:pt x="61" y="101"/>
                            </a:lnTo>
                            <a:lnTo>
                              <a:pt x="55" y="110"/>
                            </a:lnTo>
                            <a:lnTo>
                              <a:pt x="54" y="111"/>
                            </a:lnTo>
                            <a:lnTo>
                              <a:pt x="53" y="110"/>
                            </a:lnTo>
                            <a:lnTo>
                              <a:pt x="34" y="98"/>
                            </a:lnTo>
                            <a:lnTo>
                              <a:pt x="21" y="98"/>
                            </a:lnTo>
                            <a:lnTo>
                              <a:pt x="14" y="115"/>
                            </a:lnTo>
                            <a:lnTo>
                              <a:pt x="14" y="115"/>
                            </a:lnTo>
                            <a:lnTo>
                              <a:pt x="7" y="130"/>
                            </a:lnTo>
                            <a:lnTo>
                              <a:pt x="6" y="131"/>
                            </a:lnTo>
                            <a:lnTo>
                              <a:pt x="5" y="131"/>
                            </a:lnTo>
                            <a:lnTo>
                              <a:pt x="0" y="131"/>
                            </a:lnTo>
                            <a:lnTo>
                              <a:pt x="0" y="183"/>
                            </a:lnTo>
                            <a:lnTo>
                              <a:pt x="11" y="199"/>
                            </a:lnTo>
                            <a:lnTo>
                              <a:pt x="12" y="199"/>
                            </a:lnTo>
                            <a:lnTo>
                              <a:pt x="12" y="199"/>
                            </a:lnTo>
                            <a:lnTo>
                              <a:pt x="10" y="240"/>
                            </a:lnTo>
                            <a:lnTo>
                              <a:pt x="20" y="250"/>
                            </a:lnTo>
                            <a:lnTo>
                              <a:pt x="20" y="251"/>
                            </a:lnTo>
                            <a:lnTo>
                              <a:pt x="20" y="252"/>
                            </a:lnTo>
                            <a:lnTo>
                              <a:pt x="19" y="270"/>
                            </a:lnTo>
                            <a:lnTo>
                              <a:pt x="19" y="272"/>
                            </a:lnTo>
                            <a:lnTo>
                              <a:pt x="18" y="272"/>
                            </a:lnTo>
                            <a:lnTo>
                              <a:pt x="9" y="276"/>
                            </a:lnTo>
                            <a:lnTo>
                              <a:pt x="12" y="300"/>
                            </a:lnTo>
                            <a:lnTo>
                              <a:pt x="20" y="295"/>
                            </a:lnTo>
                            <a:lnTo>
                              <a:pt x="20" y="294"/>
                            </a:lnTo>
                            <a:lnTo>
                              <a:pt x="21" y="294"/>
                            </a:lnTo>
                            <a:lnTo>
                              <a:pt x="44" y="293"/>
                            </a:lnTo>
                            <a:lnTo>
                              <a:pt x="46" y="293"/>
                            </a:lnTo>
                            <a:lnTo>
                              <a:pt x="46" y="295"/>
                            </a:lnTo>
                            <a:lnTo>
                              <a:pt x="44" y="323"/>
                            </a:lnTo>
                            <a:lnTo>
                              <a:pt x="44" y="324"/>
                            </a:lnTo>
                            <a:lnTo>
                              <a:pt x="43" y="325"/>
                            </a:lnTo>
                            <a:lnTo>
                              <a:pt x="28" y="329"/>
                            </a:lnTo>
                            <a:lnTo>
                              <a:pt x="28" y="337"/>
                            </a:lnTo>
                            <a:lnTo>
                              <a:pt x="38" y="348"/>
                            </a:lnTo>
                            <a:lnTo>
                              <a:pt x="40" y="349"/>
                            </a:lnTo>
                            <a:lnTo>
                              <a:pt x="38" y="351"/>
                            </a:lnTo>
                            <a:lnTo>
                              <a:pt x="22" y="367"/>
                            </a:lnTo>
                            <a:lnTo>
                              <a:pt x="30" y="382"/>
                            </a:lnTo>
                            <a:lnTo>
                              <a:pt x="69" y="391"/>
                            </a:lnTo>
                            <a:lnTo>
                              <a:pt x="70" y="391"/>
                            </a:lnTo>
                            <a:lnTo>
                              <a:pt x="70" y="392"/>
                            </a:lnTo>
                            <a:lnTo>
                              <a:pt x="92" y="413"/>
                            </a:lnTo>
                            <a:lnTo>
                              <a:pt x="114" y="416"/>
                            </a:lnTo>
                            <a:lnTo>
                              <a:pt x="123" y="394"/>
                            </a:lnTo>
                            <a:lnTo>
                              <a:pt x="123" y="393"/>
                            </a:lnTo>
                            <a:lnTo>
                              <a:pt x="124" y="392"/>
                            </a:lnTo>
                            <a:lnTo>
                              <a:pt x="143" y="387"/>
                            </a:lnTo>
                            <a:lnTo>
                              <a:pt x="145" y="371"/>
                            </a:lnTo>
                            <a:lnTo>
                              <a:pt x="148" y="354"/>
                            </a:lnTo>
                            <a:lnTo>
                              <a:pt x="148" y="352"/>
                            </a:lnTo>
                            <a:lnTo>
                              <a:pt x="149" y="352"/>
                            </a:lnTo>
                            <a:lnTo>
                              <a:pt x="173" y="347"/>
                            </a:lnTo>
                            <a:lnTo>
                              <a:pt x="175" y="328"/>
                            </a:lnTo>
                            <a:lnTo>
                              <a:pt x="175" y="327"/>
                            </a:lnTo>
                            <a:lnTo>
                              <a:pt x="175" y="327"/>
                            </a:lnTo>
                            <a:lnTo>
                              <a:pt x="195" y="293"/>
                            </a:lnTo>
                            <a:lnTo>
                              <a:pt x="195" y="293"/>
                            </a:lnTo>
                            <a:lnTo>
                              <a:pt x="196" y="293"/>
                            </a:lnTo>
                            <a:lnTo>
                              <a:pt x="228" y="274"/>
                            </a:lnTo>
                            <a:lnTo>
                              <a:pt x="229" y="274"/>
                            </a:lnTo>
                            <a:lnTo>
                              <a:pt x="230" y="274"/>
                            </a:lnTo>
                            <a:lnTo>
                              <a:pt x="247" y="283"/>
                            </a:lnTo>
                            <a:lnTo>
                              <a:pt x="255" y="283"/>
                            </a:lnTo>
                            <a:lnTo>
                              <a:pt x="261" y="262"/>
                            </a:lnTo>
                            <a:lnTo>
                              <a:pt x="261" y="261"/>
                            </a:lnTo>
                            <a:lnTo>
                              <a:pt x="262" y="261"/>
                            </a:lnTo>
                            <a:lnTo>
                              <a:pt x="278" y="255"/>
                            </a:lnTo>
                            <a:lnTo>
                              <a:pt x="287" y="248"/>
                            </a:lnTo>
                            <a:lnTo>
                              <a:pt x="275" y="235"/>
                            </a:lnTo>
                            <a:lnTo>
                              <a:pt x="267" y="238"/>
                            </a:lnTo>
                            <a:lnTo>
                              <a:pt x="255" y="245"/>
                            </a:lnTo>
                            <a:lnTo>
                              <a:pt x="254" y="245"/>
                            </a:lnTo>
                            <a:lnTo>
                              <a:pt x="254" y="245"/>
                            </a:lnTo>
                            <a:lnTo>
                              <a:pt x="201" y="228"/>
                            </a:lnTo>
                            <a:lnTo>
                              <a:pt x="201" y="228"/>
                            </a:lnTo>
                            <a:lnTo>
                              <a:pt x="201" y="228"/>
                            </a:lnTo>
                            <a:lnTo>
                              <a:pt x="188" y="218"/>
                            </a:lnTo>
                            <a:lnTo>
                              <a:pt x="188" y="217"/>
                            </a:lnTo>
                            <a:lnTo>
                              <a:pt x="188" y="217"/>
                            </a:lnTo>
                            <a:lnTo>
                              <a:pt x="174" y="186"/>
                            </a:lnTo>
                            <a:lnTo>
                              <a:pt x="174" y="185"/>
                            </a:lnTo>
                            <a:lnTo>
                              <a:pt x="174" y="184"/>
                            </a:lnTo>
                            <a:lnTo>
                              <a:pt x="180" y="166"/>
                            </a:lnTo>
                            <a:lnTo>
                              <a:pt x="181" y="165"/>
                            </a:lnTo>
                            <a:lnTo>
                              <a:pt x="181" y="165"/>
                            </a:lnTo>
                            <a:lnTo>
                              <a:pt x="206" y="150"/>
                            </a:lnTo>
                            <a:lnTo>
                              <a:pt x="207" y="150"/>
                            </a:lnTo>
                            <a:lnTo>
                              <a:pt x="207" y="150"/>
                            </a:lnTo>
                            <a:lnTo>
                              <a:pt x="221" y="151"/>
                            </a:lnTo>
                            <a:lnTo>
                              <a:pt x="222" y="151"/>
                            </a:lnTo>
                            <a:lnTo>
                              <a:pt x="222" y="152"/>
                            </a:lnTo>
                            <a:lnTo>
                              <a:pt x="233" y="166"/>
                            </a:lnTo>
                            <a:lnTo>
                              <a:pt x="233" y="167"/>
                            </a:lnTo>
                            <a:lnTo>
                              <a:pt x="233" y="167"/>
                            </a:lnTo>
                            <a:lnTo>
                              <a:pt x="234" y="191"/>
                            </a:lnTo>
                            <a:lnTo>
                              <a:pt x="244" y="199"/>
                            </a:lnTo>
                            <a:lnTo>
                              <a:pt x="257" y="193"/>
                            </a:lnTo>
                            <a:lnTo>
                              <a:pt x="257" y="193"/>
                            </a:lnTo>
                            <a:lnTo>
                              <a:pt x="258" y="193"/>
                            </a:lnTo>
                            <a:lnTo>
                              <a:pt x="270" y="194"/>
                            </a:lnTo>
                            <a:lnTo>
                              <a:pt x="271" y="194"/>
                            </a:lnTo>
                            <a:lnTo>
                              <a:pt x="271" y="194"/>
                            </a:lnTo>
                            <a:lnTo>
                              <a:pt x="279" y="200"/>
                            </a:lnTo>
                            <a:lnTo>
                              <a:pt x="279" y="200"/>
                            </a:lnTo>
                            <a:lnTo>
                              <a:pt x="279" y="200"/>
                            </a:lnTo>
                            <a:lnTo>
                              <a:pt x="298" y="219"/>
                            </a:lnTo>
                            <a:lnTo>
                              <a:pt x="306" y="214"/>
                            </a:lnTo>
                            <a:lnTo>
                              <a:pt x="312" y="201"/>
                            </a:lnTo>
                            <a:lnTo>
                              <a:pt x="301" y="186"/>
                            </a:lnTo>
                            <a:lnTo>
                              <a:pt x="301" y="186"/>
                            </a:lnTo>
                            <a:lnTo>
                              <a:pt x="301" y="185"/>
                            </a:lnTo>
                            <a:lnTo>
                              <a:pt x="299" y="173"/>
                            </a:lnTo>
                            <a:lnTo>
                              <a:pt x="299" y="173"/>
                            </a:lnTo>
                            <a:lnTo>
                              <a:pt x="299" y="172"/>
                            </a:lnTo>
                            <a:lnTo>
                              <a:pt x="311" y="150"/>
                            </a:lnTo>
                            <a:lnTo>
                              <a:pt x="314" y="132"/>
                            </a:lnTo>
                            <a:lnTo>
                              <a:pt x="304" y="130"/>
                            </a:lnTo>
                            <a:lnTo>
                              <a:pt x="304" y="130"/>
                            </a:lnTo>
                            <a:lnTo>
                              <a:pt x="304" y="130"/>
                            </a:lnTo>
                            <a:lnTo>
                              <a:pt x="270" y="115"/>
                            </a:lnTo>
                            <a:lnTo>
                              <a:pt x="269" y="115"/>
                            </a:lnTo>
                            <a:lnTo>
                              <a:pt x="269" y="115"/>
                            </a:lnTo>
                            <a:lnTo>
                              <a:pt x="255" y="104"/>
                            </a:lnTo>
                            <a:lnTo>
                              <a:pt x="254" y="103"/>
                            </a:lnTo>
                            <a:lnTo>
                              <a:pt x="254" y="103"/>
                            </a:lnTo>
                            <a:lnTo>
                              <a:pt x="249" y="86"/>
                            </a:lnTo>
                            <a:lnTo>
                              <a:pt x="235" y="90"/>
                            </a:lnTo>
                            <a:lnTo>
                              <a:pt x="234" y="91"/>
                            </a:lnTo>
                            <a:lnTo>
                              <a:pt x="233" y="89"/>
                            </a:lnTo>
                            <a:lnTo>
                              <a:pt x="227" y="81"/>
                            </a:lnTo>
                            <a:lnTo>
                              <a:pt x="227" y="81"/>
                            </a:lnTo>
                            <a:lnTo>
                              <a:pt x="227" y="80"/>
                            </a:lnTo>
                            <a:lnTo>
                              <a:pt x="224" y="65"/>
                            </a:lnTo>
                            <a:lnTo>
                              <a:pt x="224" y="65"/>
                            </a:lnTo>
                            <a:lnTo>
                              <a:pt x="222" y="56"/>
                            </a:lnTo>
                            <a:lnTo>
                              <a:pt x="207" y="52"/>
                            </a:lnTo>
                            <a:lnTo>
                              <a:pt x="205" y="52"/>
                            </a:lnTo>
                            <a:lnTo>
                              <a:pt x="205" y="51"/>
                            </a:lnTo>
                            <a:lnTo>
                              <a:pt x="203" y="30"/>
                            </a:lnTo>
                            <a:lnTo>
                              <a:pt x="167" y="28"/>
                            </a:lnTo>
                            <a:lnTo>
                              <a:pt x="165" y="28"/>
                            </a:lnTo>
                            <a:lnTo>
                              <a:pt x="165" y="27"/>
                            </a:lnTo>
                            <a:lnTo>
                              <a:pt x="165" y="0"/>
                            </a:lnTo>
                            <a:lnTo>
                              <a:pt x="149" y="0"/>
                            </a:lnTo>
                            <a:lnTo>
                              <a:pt x="149" y="0"/>
                            </a:lnTo>
                            <a:close/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31" name="Google Shape;131;p2"/>
                      <p:cNvSpPr/>
                      <p:nvPr/>
                    </p:nvSpPr>
                    <p:spPr>
                      <a:xfrm>
                        <a:off x="1229175" y="1463109"/>
                        <a:ext cx="378603" cy="41656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69" h="406" extrusionOk="0">
                            <a:moveTo>
                              <a:pt x="337" y="165"/>
                            </a:moveTo>
                            <a:lnTo>
                              <a:pt x="312" y="176"/>
                            </a:lnTo>
                            <a:lnTo>
                              <a:pt x="312" y="176"/>
                            </a:lnTo>
                            <a:lnTo>
                              <a:pt x="311" y="176"/>
                            </a:lnTo>
                            <a:lnTo>
                              <a:pt x="242" y="149"/>
                            </a:lnTo>
                            <a:lnTo>
                              <a:pt x="218" y="175"/>
                            </a:lnTo>
                            <a:lnTo>
                              <a:pt x="217" y="177"/>
                            </a:lnTo>
                            <a:lnTo>
                              <a:pt x="216" y="176"/>
                            </a:lnTo>
                            <a:lnTo>
                              <a:pt x="205" y="167"/>
                            </a:lnTo>
                            <a:lnTo>
                              <a:pt x="204" y="166"/>
                            </a:lnTo>
                            <a:lnTo>
                              <a:pt x="204" y="165"/>
                            </a:lnTo>
                            <a:lnTo>
                              <a:pt x="204" y="124"/>
                            </a:lnTo>
                            <a:lnTo>
                              <a:pt x="199" y="110"/>
                            </a:lnTo>
                            <a:lnTo>
                              <a:pt x="198" y="110"/>
                            </a:lnTo>
                            <a:lnTo>
                              <a:pt x="199" y="109"/>
                            </a:lnTo>
                            <a:lnTo>
                              <a:pt x="254" y="46"/>
                            </a:lnTo>
                            <a:lnTo>
                              <a:pt x="252" y="20"/>
                            </a:lnTo>
                            <a:lnTo>
                              <a:pt x="236" y="0"/>
                            </a:lnTo>
                            <a:lnTo>
                              <a:pt x="214" y="4"/>
                            </a:lnTo>
                            <a:lnTo>
                              <a:pt x="183" y="24"/>
                            </a:lnTo>
                            <a:lnTo>
                              <a:pt x="182" y="25"/>
                            </a:lnTo>
                            <a:lnTo>
                              <a:pt x="181" y="25"/>
                            </a:lnTo>
                            <a:lnTo>
                              <a:pt x="154" y="23"/>
                            </a:lnTo>
                            <a:lnTo>
                              <a:pt x="149" y="33"/>
                            </a:lnTo>
                            <a:lnTo>
                              <a:pt x="169" y="52"/>
                            </a:lnTo>
                            <a:lnTo>
                              <a:pt x="171" y="53"/>
                            </a:lnTo>
                            <a:lnTo>
                              <a:pt x="169" y="55"/>
                            </a:lnTo>
                            <a:lnTo>
                              <a:pt x="145" y="80"/>
                            </a:lnTo>
                            <a:lnTo>
                              <a:pt x="145" y="80"/>
                            </a:lnTo>
                            <a:lnTo>
                              <a:pt x="133" y="93"/>
                            </a:lnTo>
                            <a:lnTo>
                              <a:pt x="132" y="131"/>
                            </a:lnTo>
                            <a:lnTo>
                              <a:pt x="132" y="133"/>
                            </a:lnTo>
                            <a:lnTo>
                              <a:pt x="130" y="133"/>
                            </a:lnTo>
                            <a:lnTo>
                              <a:pt x="70" y="132"/>
                            </a:lnTo>
                            <a:lnTo>
                              <a:pt x="47" y="156"/>
                            </a:lnTo>
                            <a:lnTo>
                              <a:pt x="61" y="171"/>
                            </a:lnTo>
                            <a:lnTo>
                              <a:pt x="61" y="171"/>
                            </a:lnTo>
                            <a:lnTo>
                              <a:pt x="62" y="171"/>
                            </a:lnTo>
                            <a:lnTo>
                              <a:pt x="78" y="193"/>
                            </a:lnTo>
                            <a:lnTo>
                              <a:pt x="79" y="194"/>
                            </a:lnTo>
                            <a:lnTo>
                              <a:pt x="78" y="195"/>
                            </a:lnTo>
                            <a:lnTo>
                              <a:pt x="69" y="206"/>
                            </a:lnTo>
                            <a:lnTo>
                              <a:pt x="69" y="206"/>
                            </a:lnTo>
                            <a:lnTo>
                              <a:pt x="68" y="206"/>
                            </a:lnTo>
                            <a:lnTo>
                              <a:pt x="49" y="215"/>
                            </a:lnTo>
                            <a:lnTo>
                              <a:pt x="48" y="215"/>
                            </a:lnTo>
                            <a:lnTo>
                              <a:pt x="47" y="215"/>
                            </a:lnTo>
                            <a:lnTo>
                              <a:pt x="21" y="196"/>
                            </a:lnTo>
                            <a:lnTo>
                              <a:pt x="0" y="226"/>
                            </a:lnTo>
                            <a:lnTo>
                              <a:pt x="5" y="248"/>
                            </a:lnTo>
                            <a:lnTo>
                              <a:pt x="16" y="257"/>
                            </a:lnTo>
                            <a:lnTo>
                              <a:pt x="68" y="266"/>
                            </a:lnTo>
                            <a:lnTo>
                              <a:pt x="69" y="266"/>
                            </a:lnTo>
                            <a:lnTo>
                              <a:pt x="69" y="267"/>
                            </a:lnTo>
                            <a:lnTo>
                              <a:pt x="90" y="290"/>
                            </a:lnTo>
                            <a:lnTo>
                              <a:pt x="90" y="290"/>
                            </a:lnTo>
                            <a:lnTo>
                              <a:pt x="90" y="290"/>
                            </a:lnTo>
                            <a:lnTo>
                              <a:pt x="97" y="307"/>
                            </a:lnTo>
                            <a:lnTo>
                              <a:pt x="97" y="307"/>
                            </a:lnTo>
                            <a:lnTo>
                              <a:pt x="97" y="308"/>
                            </a:lnTo>
                            <a:lnTo>
                              <a:pt x="98" y="341"/>
                            </a:lnTo>
                            <a:lnTo>
                              <a:pt x="98" y="342"/>
                            </a:lnTo>
                            <a:lnTo>
                              <a:pt x="98" y="342"/>
                            </a:lnTo>
                            <a:lnTo>
                              <a:pt x="99" y="400"/>
                            </a:lnTo>
                            <a:lnTo>
                              <a:pt x="101" y="406"/>
                            </a:lnTo>
                            <a:lnTo>
                              <a:pt x="113" y="375"/>
                            </a:lnTo>
                            <a:lnTo>
                              <a:pt x="114" y="374"/>
                            </a:lnTo>
                            <a:lnTo>
                              <a:pt x="115" y="374"/>
                            </a:lnTo>
                            <a:lnTo>
                              <a:pt x="143" y="370"/>
                            </a:lnTo>
                            <a:lnTo>
                              <a:pt x="157" y="321"/>
                            </a:lnTo>
                            <a:lnTo>
                              <a:pt x="157" y="319"/>
                            </a:lnTo>
                            <a:lnTo>
                              <a:pt x="159" y="319"/>
                            </a:lnTo>
                            <a:lnTo>
                              <a:pt x="174" y="320"/>
                            </a:lnTo>
                            <a:lnTo>
                              <a:pt x="174" y="320"/>
                            </a:lnTo>
                            <a:lnTo>
                              <a:pt x="174" y="321"/>
                            </a:lnTo>
                            <a:lnTo>
                              <a:pt x="191" y="328"/>
                            </a:lnTo>
                            <a:lnTo>
                              <a:pt x="210" y="312"/>
                            </a:lnTo>
                            <a:lnTo>
                              <a:pt x="212" y="298"/>
                            </a:lnTo>
                            <a:lnTo>
                              <a:pt x="213" y="286"/>
                            </a:lnTo>
                            <a:lnTo>
                              <a:pt x="213" y="284"/>
                            </a:lnTo>
                            <a:lnTo>
                              <a:pt x="214" y="284"/>
                            </a:lnTo>
                            <a:lnTo>
                              <a:pt x="247" y="285"/>
                            </a:lnTo>
                            <a:lnTo>
                              <a:pt x="248" y="285"/>
                            </a:lnTo>
                            <a:lnTo>
                              <a:pt x="248" y="286"/>
                            </a:lnTo>
                            <a:lnTo>
                              <a:pt x="267" y="303"/>
                            </a:lnTo>
                            <a:lnTo>
                              <a:pt x="282" y="301"/>
                            </a:lnTo>
                            <a:lnTo>
                              <a:pt x="282" y="301"/>
                            </a:lnTo>
                            <a:lnTo>
                              <a:pt x="283" y="302"/>
                            </a:lnTo>
                            <a:lnTo>
                              <a:pt x="295" y="314"/>
                            </a:lnTo>
                            <a:lnTo>
                              <a:pt x="303" y="322"/>
                            </a:lnTo>
                            <a:lnTo>
                              <a:pt x="319" y="304"/>
                            </a:lnTo>
                            <a:lnTo>
                              <a:pt x="331" y="288"/>
                            </a:lnTo>
                            <a:lnTo>
                              <a:pt x="317" y="277"/>
                            </a:lnTo>
                            <a:lnTo>
                              <a:pt x="317" y="276"/>
                            </a:lnTo>
                            <a:lnTo>
                              <a:pt x="317" y="275"/>
                            </a:lnTo>
                            <a:lnTo>
                              <a:pt x="317" y="256"/>
                            </a:lnTo>
                            <a:lnTo>
                              <a:pt x="317" y="255"/>
                            </a:lnTo>
                            <a:lnTo>
                              <a:pt x="317" y="254"/>
                            </a:lnTo>
                            <a:lnTo>
                              <a:pt x="369" y="233"/>
                            </a:lnTo>
                            <a:lnTo>
                              <a:pt x="367" y="205"/>
                            </a:lnTo>
                            <a:lnTo>
                              <a:pt x="337" y="165"/>
                            </a:lnTo>
                            <a:lnTo>
                              <a:pt x="337" y="165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32" name="Google Shape;132;p2"/>
                      <p:cNvSpPr/>
                      <p:nvPr/>
                    </p:nvSpPr>
                    <p:spPr>
                      <a:xfrm>
                        <a:off x="2741532" y="1050648"/>
                        <a:ext cx="21547" cy="194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1" h="19" extrusionOk="0">
                            <a:moveTo>
                              <a:pt x="4" y="17"/>
                            </a:moveTo>
                            <a:lnTo>
                              <a:pt x="18" y="19"/>
                            </a:lnTo>
                            <a:lnTo>
                              <a:pt x="21" y="10"/>
                            </a:lnTo>
                            <a:lnTo>
                              <a:pt x="11" y="0"/>
                            </a:lnTo>
                            <a:lnTo>
                              <a:pt x="0" y="3"/>
                            </a:lnTo>
                            <a:lnTo>
                              <a:pt x="4" y="17"/>
                            </a:lnTo>
                            <a:lnTo>
                              <a:pt x="4" y="17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33" name="Google Shape;133;p2"/>
                      <p:cNvSpPr/>
                      <p:nvPr/>
                    </p:nvSpPr>
                    <p:spPr>
                      <a:xfrm>
                        <a:off x="2790781" y="1118365"/>
                        <a:ext cx="33859" cy="2872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" h="28" extrusionOk="0">
                            <a:moveTo>
                              <a:pt x="0" y="22"/>
                            </a:moveTo>
                            <a:lnTo>
                              <a:pt x="17" y="28"/>
                            </a:lnTo>
                            <a:lnTo>
                              <a:pt x="33" y="25"/>
                            </a:lnTo>
                            <a:lnTo>
                              <a:pt x="26" y="0"/>
                            </a:lnTo>
                            <a:lnTo>
                              <a:pt x="6" y="12"/>
                            </a:lnTo>
                            <a:lnTo>
                              <a:pt x="0" y="22"/>
                            </a:lnTo>
                            <a:lnTo>
                              <a:pt x="0" y="22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34" name="Google Shape;134;p2"/>
                      <p:cNvSpPr/>
                      <p:nvPr/>
                    </p:nvSpPr>
                    <p:spPr>
                      <a:xfrm>
                        <a:off x="2121815" y="980878"/>
                        <a:ext cx="766439" cy="103833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747" h="1012" extrusionOk="0">
                            <a:moveTo>
                              <a:pt x="691" y="169"/>
                            </a:moveTo>
                            <a:lnTo>
                              <a:pt x="671" y="170"/>
                            </a:lnTo>
                            <a:lnTo>
                              <a:pt x="661" y="205"/>
                            </a:lnTo>
                            <a:lnTo>
                              <a:pt x="628" y="176"/>
                            </a:lnTo>
                            <a:lnTo>
                              <a:pt x="620" y="206"/>
                            </a:lnTo>
                            <a:lnTo>
                              <a:pt x="654" y="244"/>
                            </a:lnTo>
                            <a:lnTo>
                              <a:pt x="656" y="276"/>
                            </a:lnTo>
                            <a:lnTo>
                              <a:pt x="593" y="220"/>
                            </a:lnTo>
                            <a:lnTo>
                              <a:pt x="591" y="185"/>
                            </a:lnTo>
                            <a:lnTo>
                              <a:pt x="617" y="152"/>
                            </a:lnTo>
                            <a:lnTo>
                              <a:pt x="621" y="100"/>
                            </a:lnTo>
                            <a:lnTo>
                              <a:pt x="610" y="105"/>
                            </a:lnTo>
                            <a:lnTo>
                              <a:pt x="598" y="140"/>
                            </a:lnTo>
                            <a:lnTo>
                              <a:pt x="578" y="158"/>
                            </a:lnTo>
                            <a:lnTo>
                              <a:pt x="557" y="164"/>
                            </a:lnTo>
                            <a:lnTo>
                              <a:pt x="537" y="193"/>
                            </a:lnTo>
                            <a:lnTo>
                              <a:pt x="538" y="271"/>
                            </a:lnTo>
                            <a:lnTo>
                              <a:pt x="490" y="348"/>
                            </a:lnTo>
                            <a:lnTo>
                              <a:pt x="493" y="394"/>
                            </a:lnTo>
                            <a:lnTo>
                              <a:pt x="542" y="394"/>
                            </a:lnTo>
                            <a:lnTo>
                              <a:pt x="583" y="442"/>
                            </a:lnTo>
                            <a:lnTo>
                              <a:pt x="583" y="489"/>
                            </a:lnTo>
                            <a:lnTo>
                              <a:pt x="554" y="523"/>
                            </a:lnTo>
                            <a:lnTo>
                              <a:pt x="562" y="539"/>
                            </a:lnTo>
                            <a:lnTo>
                              <a:pt x="585" y="552"/>
                            </a:lnTo>
                            <a:lnTo>
                              <a:pt x="542" y="562"/>
                            </a:lnTo>
                            <a:lnTo>
                              <a:pt x="531" y="517"/>
                            </a:lnTo>
                            <a:lnTo>
                              <a:pt x="562" y="462"/>
                            </a:lnTo>
                            <a:lnTo>
                              <a:pt x="548" y="421"/>
                            </a:lnTo>
                            <a:lnTo>
                              <a:pt x="500" y="414"/>
                            </a:lnTo>
                            <a:lnTo>
                              <a:pt x="473" y="439"/>
                            </a:lnTo>
                            <a:lnTo>
                              <a:pt x="470" y="497"/>
                            </a:lnTo>
                            <a:lnTo>
                              <a:pt x="426" y="543"/>
                            </a:lnTo>
                            <a:lnTo>
                              <a:pt x="385" y="558"/>
                            </a:lnTo>
                            <a:lnTo>
                              <a:pt x="358" y="587"/>
                            </a:lnTo>
                            <a:lnTo>
                              <a:pt x="265" y="530"/>
                            </a:lnTo>
                            <a:lnTo>
                              <a:pt x="265" y="502"/>
                            </a:lnTo>
                            <a:lnTo>
                              <a:pt x="327" y="531"/>
                            </a:lnTo>
                            <a:lnTo>
                              <a:pt x="359" y="518"/>
                            </a:lnTo>
                            <a:lnTo>
                              <a:pt x="412" y="485"/>
                            </a:lnTo>
                            <a:lnTo>
                              <a:pt x="448" y="414"/>
                            </a:lnTo>
                            <a:lnTo>
                              <a:pt x="442" y="375"/>
                            </a:lnTo>
                            <a:lnTo>
                              <a:pt x="502" y="232"/>
                            </a:lnTo>
                            <a:lnTo>
                              <a:pt x="509" y="207"/>
                            </a:lnTo>
                            <a:lnTo>
                              <a:pt x="502" y="175"/>
                            </a:lnTo>
                            <a:lnTo>
                              <a:pt x="541" y="137"/>
                            </a:lnTo>
                            <a:lnTo>
                              <a:pt x="549" y="85"/>
                            </a:lnTo>
                            <a:lnTo>
                              <a:pt x="519" y="44"/>
                            </a:lnTo>
                            <a:lnTo>
                              <a:pt x="550" y="40"/>
                            </a:lnTo>
                            <a:lnTo>
                              <a:pt x="546" y="2"/>
                            </a:lnTo>
                            <a:lnTo>
                              <a:pt x="514" y="0"/>
                            </a:lnTo>
                            <a:lnTo>
                              <a:pt x="512" y="28"/>
                            </a:lnTo>
                            <a:lnTo>
                              <a:pt x="519" y="44"/>
                            </a:lnTo>
                            <a:lnTo>
                              <a:pt x="499" y="36"/>
                            </a:lnTo>
                            <a:lnTo>
                              <a:pt x="469" y="59"/>
                            </a:lnTo>
                            <a:lnTo>
                              <a:pt x="434" y="105"/>
                            </a:lnTo>
                            <a:lnTo>
                              <a:pt x="406" y="131"/>
                            </a:lnTo>
                            <a:lnTo>
                              <a:pt x="364" y="141"/>
                            </a:lnTo>
                            <a:lnTo>
                              <a:pt x="343" y="162"/>
                            </a:lnTo>
                            <a:lnTo>
                              <a:pt x="364" y="191"/>
                            </a:lnTo>
                            <a:lnTo>
                              <a:pt x="341" y="233"/>
                            </a:lnTo>
                            <a:lnTo>
                              <a:pt x="308" y="243"/>
                            </a:lnTo>
                            <a:lnTo>
                              <a:pt x="307" y="258"/>
                            </a:lnTo>
                            <a:lnTo>
                              <a:pt x="336" y="287"/>
                            </a:lnTo>
                            <a:lnTo>
                              <a:pt x="326" y="315"/>
                            </a:lnTo>
                            <a:lnTo>
                              <a:pt x="331" y="333"/>
                            </a:lnTo>
                            <a:lnTo>
                              <a:pt x="342" y="349"/>
                            </a:lnTo>
                            <a:lnTo>
                              <a:pt x="305" y="382"/>
                            </a:lnTo>
                            <a:lnTo>
                              <a:pt x="294" y="363"/>
                            </a:lnTo>
                            <a:lnTo>
                              <a:pt x="284" y="321"/>
                            </a:lnTo>
                            <a:lnTo>
                              <a:pt x="245" y="259"/>
                            </a:lnTo>
                            <a:lnTo>
                              <a:pt x="223" y="277"/>
                            </a:lnTo>
                            <a:lnTo>
                              <a:pt x="236" y="300"/>
                            </a:lnTo>
                            <a:lnTo>
                              <a:pt x="236" y="301"/>
                            </a:lnTo>
                            <a:lnTo>
                              <a:pt x="236" y="302"/>
                            </a:lnTo>
                            <a:lnTo>
                              <a:pt x="209" y="350"/>
                            </a:lnTo>
                            <a:lnTo>
                              <a:pt x="219" y="385"/>
                            </a:lnTo>
                            <a:lnTo>
                              <a:pt x="220" y="385"/>
                            </a:lnTo>
                            <a:lnTo>
                              <a:pt x="219" y="386"/>
                            </a:lnTo>
                            <a:lnTo>
                              <a:pt x="202" y="412"/>
                            </a:lnTo>
                            <a:lnTo>
                              <a:pt x="202" y="413"/>
                            </a:lnTo>
                            <a:lnTo>
                              <a:pt x="201" y="413"/>
                            </a:lnTo>
                            <a:lnTo>
                              <a:pt x="174" y="422"/>
                            </a:lnTo>
                            <a:lnTo>
                              <a:pt x="157" y="443"/>
                            </a:lnTo>
                            <a:lnTo>
                              <a:pt x="156" y="443"/>
                            </a:lnTo>
                            <a:lnTo>
                              <a:pt x="155" y="443"/>
                            </a:lnTo>
                            <a:lnTo>
                              <a:pt x="87" y="447"/>
                            </a:lnTo>
                            <a:lnTo>
                              <a:pt x="53" y="475"/>
                            </a:lnTo>
                            <a:lnTo>
                              <a:pt x="52" y="475"/>
                            </a:lnTo>
                            <a:lnTo>
                              <a:pt x="52" y="475"/>
                            </a:lnTo>
                            <a:lnTo>
                              <a:pt x="29" y="476"/>
                            </a:lnTo>
                            <a:lnTo>
                              <a:pt x="27" y="534"/>
                            </a:lnTo>
                            <a:lnTo>
                              <a:pt x="27" y="534"/>
                            </a:lnTo>
                            <a:lnTo>
                              <a:pt x="27" y="535"/>
                            </a:lnTo>
                            <a:lnTo>
                              <a:pt x="0" y="572"/>
                            </a:lnTo>
                            <a:lnTo>
                              <a:pt x="18" y="608"/>
                            </a:lnTo>
                            <a:lnTo>
                              <a:pt x="83" y="613"/>
                            </a:lnTo>
                            <a:lnTo>
                              <a:pt x="83" y="613"/>
                            </a:lnTo>
                            <a:lnTo>
                              <a:pt x="84" y="614"/>
                            </a:lnTo>
                            <a:lnTo>
                              <a:pt x="115" y="638"/>
                            </a:lnTo>
                            <a:lnTo>
                              <a:pt x="116" y="639"/>
                            </a:lnTo>
                            <a:lnTo>
                              <a:pt x="116" y="639"/>
                            </a:lnTo>
                            <a:lnTo>
                              <a:pt x="117" y="671"/>
                            </a:lnTo>
                            <a:lnTo>
                              <a:pt x="128" y="681"/>
                            </a:lnTo>
                            <a:lnTo>
                              <a:pt x="203" y="685"/>
                            </a:lnTo>
                            <a:lnTo>
                              <a:pt x="204" y="685"/>
                            </a:lnTo>
                            <a:lnTo>
                              <a:pt x="204" y="686"/>
                            </a:lnTo>
                            <a:lnTo>
                              <a:pt x="227" y="715"/>
                            </a:lnTo>
                            <a:lnTo>
                              <a:pt x="228" y="715"/>
                            </a:lnTo>
                            <a:lnTo>
                              <a:pt x="228" y="716"/>
                            </a:lnTo>
                            <a:lnTo>
                              <a:pt x="230" y="764"/>
                            </a:lnTo>
                            <a:lnTo>
                              <a:pt x="243" y="780"/>
                            </a:lnTo>
                            <a:lnTo>
                              <a:pt x="243" y="781"/>
                            </a:lnTo>
                            <a:lnTo>
                              <a:pt x="243" y="782"/>
                            </a:lnTo>
                            <a:lnTo>
                              <a:pt x="242" y="813"/>
                            </a:lnTo>
                            <a:lnTo>
                              <a:pt x="292" y="813"/>
                            </a:lnTo>
                            <a:lnTo>
                              <a:pt x="292" y="813"/>
                            </a:lnTo>
                            <a:lnTo>
                              <a:pt x="293" y="813"/>
                            </a:lnTo>
                            <a:lnTo>
                              <a:pt x="338" y="855"/>
                            </a:lnTo>
                            <a:lnTo>
                              <a:pt x="400" y="882"/>
                            </a:lnTo>
                            <a:lnTo>
                              <a:pt x="401" y="882"/>
                            </a:lnTo>
                            <a:lnTo>
                              <a:pt x="401" y="882"/>
                            </a:lnTo>
                            <a:lnTo>
                              <a:pt x="424" y="920"/>
                            </a:lnTo>
                            <a:lnTo>
                              <a:pt x="465" y="945"/>
                            </a:lnTo>
                            <a:lnTo>
                              <a:pt x="506" y="949"/>
                            </a:lnTo>
                            <a:lnTo>
                              <a:pt x="540" y="924"/>
                            </a:lnTo>
                            <a:lnTo>
                              <a:pt x="541" y="923"/>
                            </a:lnTo>
                            <a:lnTo>
                              <a:pt x="542" y="925"/>
                            </a:lnTo>
                            <a:lnTo>
                              <a:pt x="573" y="953"/>
                            </a:lnTo>
                            <a:lnTo>
                              <a:pt x="604" y="952"/>
                            </a:lnTo>
                            <a:lnTo>
                              <a:pt x="605" y="952"/>
                            </a:lnTo>
                            <a:lnTo>
                              <a:pt x="606" y="953"/>
                            </a:lnTo>
                            <a:lnTo>
                              <a:pt x="630" y="988"/>
                            </a:lnTo>
                            <a:lnTo>
                              <a:pt x="642" y="989"/>
                            </a:lnTo>
                            <a:lnTo>
                              <a:pt x="642" y="989"/>
                            </a:lnTo>
                            <a:lnTo>
                              <a:pt x="643" y="989"/>
                            </a:lnTo>
                            <a:lnTo>
                              <a:pt x="665" y="1012"/>
                            </a:lnTo>
                            <a:lnTo>
                              <a:pt x="713" y="952"/>
                            </a:lnTo>
                            <a:lnTo>
                              <a:pt x="715" y="914"/>
                            </a:lnTo>
                            <a:lnTo>
                              <a:pt x="716" y="913"/>
                            </a:lnTo>
                            <a:lnTo>
                              <a:pt x="716" y="912"/>
                            </a:lnTo>
                            <a:lnTo>
                              <a:pt x="747" y="870"/>
                            </a:lnTo>
                            <a:lnTo>
                              <a:pt x="741" y="835"/>
                            </a:lnTo>
                            <a:lnTo>
                              <a:pt x="706" y="808"/>
                            </a:lnTo>
                            <a:lnTo>
                              <a:pt x="705" y="807"/>
                            </a:lnTo>
                            <a:lnTo>
                              <a:pt x="705" y="806"/>
                            </a:lnTo>
                            <a:lnTo>
                              <a:pt x="714" y="756"/>
                            </a:lnTo>
                            <a:lnTo>
                              <a:pt x="690" y="724"/>
                            </a:lnTo>
                            <a:lnTo>
                              <a:pt x="690" y="723"/>
                            </a:lnTo>
                            <a:lnTo>
                              <a:pt x="690" y="723"/>
                            </a:lnTo>
                            <a:lnTo>
                              <a:pt x="698" y="653"/>
                            </a:lnTo>
                            <a:lnTo>
                              <a:pt x="668" y="614"/>
                            </a:lnTo>
                            <a:lnTo>
                              <a:pt x="667" y="613"/>
                            </a:lnTo>
                            <a:lnTo>
                              <a:pt x="668" y="612"/>
                            </a:lnTo>
                            <a:lnTo>
                              <a:pt x="679" y="577"/>
                            </a:lnTo>
                            <a:lnTo>
                              <a:pt x="668" y="549"/>
                            </a:lnTo>
                            <a:lnTo>
                              <a:pt x="667" y="547"/>
                            </a:lnTo>
                            <a:lnTo>
                              <a:pt x="669" y="546"/>
                            </a:lnTo>
                            <a:lnTo>
                              <a:pt x="707" y="536"/>
                            </a:lnTo>
                            <a:lnTo>
                              <a:pt x="723" y="495"/>
                            </a:lnTo>
                            <a:lnTo>
                              <a:pt x="715" y="447"/>
                            </a:lnTo>
                            <a:lnTo>
                              <a:pt x="675" y="437"/>
                            </a:lnTo>
                            <a:lnTo>
                              <a:pt x="674" y="437"/>
                            </a:lnTo>
                            <a:lnTo>
                              <a:pt x="674" y="436"/>
                            </a:lnTo>
                            <a:lnTo>
                              <a:pt x="637" y="388"/>
                            </a:lnTo>
                            <a:lnTo>
                              <a:pt x="636" y="387"/>
                            </a:lnTo>
                            <a:lnTo>
                              <a:pt x="637" y="386"/>
                            </a:lnTo>
                            <a:lnTo>
                              <a:pt x="644" y="357"/>
                            </a:lnTo>
                            <a:lnTo>
                              <a:pt x="644" y="356"/>
                            </a:lnTo>
                            <a:lnTo>
                              <a:pt x="645" y="356"/>
                            </a:lnTo>
                            <a:lnTo>
                              <a:pt x="700" y="331"/>
                            </a:lnTo>
                            <a:lnTo>
                              <a:pt x="705" y="309"/>
                            </a:lnTo>
                            <a:lnTo>
                              <a:pt x="682" y="260"/>
                            </a:lnTo>
                            <a:lnTo>
                              <a:pt x="682" y="259"/>
                            </a:lnTo>
                            <a:lnTo>
                              <a:pt x="682" y="259"/>
                            </a:lnTo>
                            <a:lnTo>
                              <a:pt x="688" y="226"/>
                            </a:lnTo>
                            <a:lnTo>
                              <a:pt x="688" y="225"/>
                            </a:lnTo>
                            <a:lnTo>
                              <a:pt x="689" y="225"/>
                            </a:lnTo>
                            <a:lnTo>
                              <a:pt x="714" y="221"/>
                            </a:lnTo>
                            <a:lnTo>
                              <a:pt x="691" y="173"/>
                            </a:lnTo>
                            <a:lnTo>
                              <a:pt x="691" y="173"/>
                            </a:lnTo>
                            <a:lnTo>
                              <a:pt x="691" y="172"/>
                            </a:lnTo>
                            <a:lnTo>
                              <a:pt x="691" y="169"/>
                            </a:lnTo>
                            <a:lnTo>
                              <a:pt x="691" y="169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35" name="Google Shape;135;p2"/>
                      <p:cNvSpPr/>
                      <p:nvPr/>
                    </p:nvSpPr>
                    <p:spPr>
                      <a:xfrm>
                        <a:off x="1883777" y="2027421"/>
                        <a:ext cx="470945" cy="37449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59" h="365" extrusionOk="0">
                            <a:moveTo>
                              <a:pt x="100" y="324"/>
                            </a:moveTo>
                            <a:lnTo>
                              <a:pt x="127" y="324"/>
                            </a:lnTo>
                            <a:lnTo>
                              <a:pt x="150" y="362"/>
                            </a:lnTo>
                            <a:lnTo>
                              <a:pt x="168" y="365"/>
                            </a:lnTo>
                            <a:lnTo>
                              <a:pt x="169" y="365"/>
                            </a:lnTo>
                            <a:lnTo>
                              <a:pt x="175" y="348"/>
                            </a:lnTo>
                            <a:lnTo>
                              <a:pt x="175" y="348"/>
                            </a:lnTo>
                            <a:lnTo>
                              <a:pt x="176" y="348"/>
                            </a:lnTo>
                            <a:lnTo>
                              <a:pt x="208" y="318"/>
                            </a:lnTo>
                            <a:lnTo>
                              <a:pt x="213" y="294"/>
                            </a:lnTo>
                            <a:lnTo>
                              <a:pt x="213" y="294"/>
                            </a:lnTo>
                            <a:lnTo>
                              <a:pt x="213" y="293"/>
                            </a:lnTo>
                            <a:lnTo>
                              <a:pt x="233" y="272"/>
                            </a:lnTo>
                            <a:lnTo>
                              <a:pt x="234" y="271"/>
                            </a:lnTo>
                            <a:lnTo>
                              <a:pt x="235" y="271"/>
                            </a:lnTo>
                            <a:lnTo>
                              <a:pt x="259" y="276"/>
                            </a:lnTo>
                            <a:lnTo>
                              <a:pt x="266" y="266"/>
                            </a:lnTo>
                            <a:lnTo>
                              <a:pt x="270" y="249"/>
                            </a:lnTo>
                            <a:lnTo>
                              <a:pt x="263" y="230"/>
                            </a:lnTo>
                            <a:lnTo>
                              <a:pt x="242" y="223"/>
                            </a:lnTo>
                            <a:lnTo>
                              <a:pt x="241" y="222"/>
                            </a:lnTo>
                            <a:lnTo>
                              <a:pt x="241" y="221"/>
                            </a:lnTo>
                            <a:lnTo>
                              <a:pt x="238" y="210"/>
                            </a:lnTo>
                            <a:lnTo>
                              <a:pt x="237" y="209"/>
                            </a:lnTo>
                            <a:lnTo>
                              <a:pt x="238" y="208"/>
                            </a:lnTo>
                            <a:lnTo>
                              <a:pt x="248" y="196"/>
                            </a:lnTo>
                            <a:lnTo>
                              <a:pt x="251" y="166"/>
                            </a:lnTo>
                            <a:lnTo>
                              <a:pt x="251" y="165"/>
                            </a:lnTo>
                            <a:lnTo>
                              <a:pt x="251" y="165"/>
                            </a:lnTo>
                            <a:lnTo>
                              <a:pt x="286" y="131"/>
                            </a:lnTo>
                            <a:lnTo>
                              <a:pt x="288" y="130"/>
                            </a:lnTo>
                            <a:lnTo>
                              <a:pt x="289" y="131"/>
                            </a:lnTo>
                            <a:lnTo>
                              <a:pt x="309" y="151"/>
                            </a:lnTo>
                            <a:lnTo>
                              <a:pt x="310" y="152"/>
                            </a:lnTo>
                            <a:lnTo>
                              <a:pt x="309" y="153"/>
                            </a:lnTo>
                            <a:lnTo>
                              <a:pt x="298" y="168"/>
                            </a:lnTo>
                            <a:lnTo>
                              <a:pt x="312" y="170"/>
                            </a:lnTo>
                            <a:lnTo>
                              <a:pt x="312" y="171"/>
                            </a:lnTo>
                            <a:lnTo>
                              <a:pt x="312" y="171"/>
                            </a:lnTo>
                            <a:lnTo>
                              <a:pt x="348" y="196"/>
                            </a:lnTo>
                            <a:lnTo>
                              <a:pt x="375" y="192"/>
                            </a:lnTo>
                            <a:lnTo>
                              <a:pt x="375" y="192"/>
                            </a:lnTo>
                            <a:lnTo>
                              <a:pt x="376" y="192"/>
                            </a:lnTo>
                            <a:lnTo>
                              <a:pt x="401" y="207"/>
                            </a:lnTo>
                            <a:lnTo>
                              <a:pt x="426" y="208"/>
                            </a:lnTo>
                            <a:lnTo>
                              <a:pt x="459" y="185"/>
                            </a:lnTo>
                            <a:lnTo>
                              <a:pt x="400" y="140"/>
                            </a:lnTo>
                            <a:lnTo>
                              <a:pt x="399" y="140"/>
                            </a:lnTo>
                            <a:lnTo>
                              <a:pt x="399" y="140"/>
                            </a:lnTo>
                            <a:lnTo>
                              <a:pt x="370" y="83"/>
                            </a:lnTo>
                            <a:lnTo>
                              <a:pt x="370" y="83"/>
                            </a:lnTo>
                            <a:lnTo>
                              <a:pt x="349" y="35"/>
                            </a:lnTo>
                            <a:lnTo>
                              <a:pt x="333" y="32"/>
                            </a:lnTo>
                            <a:lnTo>
                              <a:pt x="332" y="32"/>
                            </a:lnTo>
                            <a:lnTo>
                              <a:pt x="332" y="32"/>
                            </a:lnTo>
                            <a:lnTo>
                              <a:pt x="297" y="17"/>
                            </a:lnTo>
                            <a:lnTo>
                              <a:pt x="297" y="17"/>
                            </a:lnTo>
                            <a:lnTo>
                              <a:pt x="297" y="17"/>
                            </a:lnTo>
                            <a:lnTo>
                              <a:pt x="279" y="0"/>
                            </a:lnTo>
                            <a:lnTo>
                              <a:pt x="274" y="14"/>
                            </a:lnTo>
                            <a:lnTo>
                              <a:pt x="274" y="15"/>
                            </a:lnTo>
                            <a:lnTo>
                              <a:pt x="272" y="15"/>
                            </a:lnTo>
                            <a:lnTo>
                              <a:pt x="245" y="14"/>
                            </a:lnTo>
                            <a:lnTo>
                              <a:pt x="238" y="22"/>
                            </a:lnTo>
                            <a:lnTo>
                              <a:pt x="238" y="22"/>
                            </a:lnTo>
                            <a:lnTo>
                              <a:pt x="237" y="22"/>
                            </a:lnTo>
                            <a:lnTo>
                              <a:pt x="220" y="31"/>
                            </a:lnTo>
                            <a:lnTo>
                              <a:pt x="219" y="32"/>
                            </a:lnTo>
                            <a:lnTo>
                              <a:pt x="219" y="32"/>
                            </a:lnTo>
                            <a:lnTo>
                              <a:pt x="205" y="28"/>
                            </a:lnTo>
                            <a:lnTo>
                              <a:pt x="197" y="35"/>
                            </a:lnTo>
                            <a:lnTo>
                              <a:pt x="196" y="36"/>
                            </a:lnTo>
                            <a:lnTo>
                              <a:pt x="195" y="36"/>
                            </a:lnTo>
                            <a:lnTo>
                              <a:pt x="178" y="36"/>
                            </a:lnTo>
                            <a:lnTo>
                              <a:pt x="177" y="36"/>
                            </a:lnTo>
                            <a:lnTo>
                              <a:pt x="177" y="36"/>
                            </a:lnTo>
                            <a:lnTo>
                              <a:pt x="155" y="26"/>
                            </a:lnTo>
                            <a:lnTo>
                              <a:pt x="146" y="44"/>
                            </a:lnTo>
                            <a:lnTo>
                              <a:pt x="145" y="45"/>
                            </a:lnTo>
                            <a:lnTo>
                              <a:pt x="144" y="45"/>
                            </a:lnTo>
                            <a:lnTo>
                              <a:pt x="113" y="51"/>
                            </a:lnTo>
                            <a:lnTo>
                              <a:pt x="93" y="86"/>
                            </a:lnTo>
                            <a:lnTo>
                              <a:pt x="93" y="87"/>
                            </a:lnTo>
                            <a:lnTo>
                              <a:pt x="91" y="87"/>
                            </a:lnTo>
                            <a:lnTo>
                              <a:pt x="36" y="85"/>
                            </a:lnTo>
                            <a:lnTo>
                              <a:pt x="20" y="117"/>
                            </a:lnTo>
                            <a:lnTo>
                              <a:pt x="21" y="148"/>
                            </a:lnTo>
                            <a:lnTo>
                              <a:pt x="21" y="150"/>
                            </a:lnTo>
                            <a:lnTo>
                              <a:pt x="20" y="150"/>
                            </a:lnTo>
                            <a:lnTo>
                              <a:pt x="5" y="154"/>
                            </a:lnTo>
                            <a:lnTo>
                              <a:pt x="0" y="179"/>
                            </a:lnTo>
                            <a:lnTo>
                              <a:pt x="13" y="208"/>
                            </a:lnTo>
                            <a:lnTo>
                              <a:pt x="13" y="209"/>
                            </a:lnTo>
                            <a:lnTo>
                              <a:pt x="13" y="209"/>
                            </a:lnTo>
                            <a:lnTo>
                              <a:pt x="18" y="228"/>
                            </a:lnTo>
                            <a:lnTo>
                              <a:pt x="41" y="235"/>
                            </a:lnTo>
                            <a:lnTo>
                              <a:pt x="42" y="235"/>
                            </a:lnTo>
                            <a:lnTo>
                              <a:pt x="42" y="235"/>
                            </a:lnTo>
                            <a:lnTo>
                              <a:pt x="64" y="255"/>
                            </a:lnTo>
                            <a:lnTo>
                              <a:pt x="64" y="256"/>
                            </a:lnTo>
                            <a:lnTo>
                              <a:pt x="64" y="256"/>
                            </a:lnTo>
                            <a:lnTo>
                              <a:pt x="65" y="277"/>
                            </a:lnTo>
                            <a:lnTo>
                              <a:pt x="97" y="305"/>
                            </a:lnTo>
                            <a:lnTo>
                              <a:pt x="98" y="305"/>
                            </a:lnTo>
                            <a:lnTo>
                              <a:pt x="98" y="306"/>
                            </a:lnTo>
                            <a:lnTo>
                              <a:pt x="100" y="324"/>
                            </a:lnTo>
                            <a:lnTo>
                              <a:pt x="100" y="324"/>
                            </a:lnTo>
                            <a:lnTo>
                              <a:pt x="100" y="324"/>
                            </a:lnTo>
                            <a:lnTo>
                              <a:pt x="100" y="324"/>
                            </a:lnTo>
                            <a:close/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36" name="Google Shape;136;p2"/>
                      <p:cNvSpPr/>
                      <p:nvPr/>
                    </p:nvSpPr>
                    <p:spPr>
                      <a:xfrm>
                        <a:off x="1689859" y="2148492"/>
                        <a:ext cx="292417" cy="22880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85" h="223" extrusionOk="0">
                            <a:moveTo>
                              <a:pt x="25" y="172"/>
                            </a:moveTo>
                            <a:lnTo>
                              <a:pt x="80" y="185"/>
                            </a:lnTo>
                            <a:lnTo>
                              <a:pt x="112" y="205"/>
                            </a:lnTo>
                            <a:lnTo>
                              <a:pt x="131" y="190"/>
                            </a:lnTo>
                            <a:lnTo>
                              <a:pt x="159" y="205"/>
                            </a:lnTo>
                            <a:lnTo>
                              <a:pt x="251" y="223"/>
                            </a:lnTo>
                            <a:lnTo>
                              <a:pt x="285" y="207"/>
                            </a:lnTo>
                            <a:lnTo>
                              <a:pt x="285" y="206"/>
                            </a:lnTo>
                            <a:lnTo>
                              <a:pt x="283" y="189"/>
                            </a:lnTo>
                            <a:lnTo>
                              <a:pt x="251" y="161"/>
                            </a:lnTo>
                            <a:lnTo>
                              <a:pt x="251" y="161"/>
                            </a:lnTo>
                            <a:lnTo>
                              <a:pt x="251" y="160"/>
                            </a:lnTo>
                            <a:lnTo>
                              <a:pt x="250" y="139"/>
                            </a:lnTo>
                            <a:lnTo>
                              <a:pt x="229" y="121"/>
                            </a:lnTo>
                            <a:lnTo>
                              <a:pt x="205" y="113"/>
                            </a:lnTo>
                            <a:lnTo>
                              <a:pt x="204" y="113"/>
                            </a:lnTo>
                            <a:lnTo>
                              <a:pt x="204" y="112"/>
                            </a:lnTo>
                            <a:lnTo>
                              <a:pt x="198" y="92"/>
                            </a:lnTo>
                            <a:lnTo>
                              <a:pt x="185" y="62"/>
                            </a:lnTo>
                            <a:lnTo>
                              <a:pt x="185" y="62"/>
                            </a:lnTo>
                            <a:lnTo>
                              <a:pt x="185" y="61"/>
                            </a:lnTo>
                            <a:lnTo>
                              <a:pt x="190" y="36"/>
                            </a:lnTo>
                            <a:lnTo>
                              <a:pt x="164" y="23"/>
                            </a:lnTo>
                            <a:lnTo>
                              <a:pt x="144" y="33"/>
                            </a:lnTo>
                            <a:lnTo>
                              <a:pt x="143" y="33"/>
                            </a:lnTo>
                            <a:lnTo>
                              <a:pt x="142" y="33"/>
                            </a:lnTo>
                            <a:lnTo>
                              <a:pt x="126" y="12"/>
                            </a:lnTo>
                            <a:lnTo>
                              <a:pt x="92" y="0"/>
                            </a:lnTo>
                            <a:lnTo>
                              <a:pt x="53" y="12"/>
                            </a:lnTo>
                            <a:lnTo>
                              <a:pt x="55" y="23"/>
                            </a:lnTo>
                            <a:lnTo>
                              <a:pt x="55" y="23"/>
                            </a:lnTo>
                            <a:lnTo>
                              <a:pt x="55" y="23"/>
                            </a:lnTo>
                            <a:lnTo>
                              <a:pt x="55" y="58"/>
                            </a:lnTo>
                            <a:lnTo>
                              <a:pt x="55" y="59"/>
                            </a:lnTo>
                            <a:lnTo>
                              <a:pt x="54" y="60"/>
                            </a:lnTo>
                            <a:lnTo>
                              <a:pt x="1" y="100"/>
                            </a:lnTo>
                            <a:lnTo>
                              <a:pt x="0" y="119"/>
                            </a:lnTo>
                            <a:lnTo>
                              <a:pt x="40" y="142"/>
                            </a:lnTo>
                            <a:lnTo>
                              <a:pt x="41" y="143"/>
                            </a:lnTo>
                            <a:lnTo>
                              <a:pt x="40" y="145"/>
                            </a:lnTo>
                            <a:lnTo>
                              <a:pt x="25" y="172"/>
                            </a:lnTo>
                            <a:lnTo>
                              <a:pt x="25" y="172"/>
                            </a:lnTo>
                            <a:close/>
                          </a:path>
                        </a:pathLst>
                      </a:custGeom>
                      <a:solidFill>
                        <a:srgbClr val="D9D9D9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37" name="Google Shape;137;p2"/>
                      <p:cNvSpPr/>
                      <p:nvPr/>
                    </p:nvSpPr>
                    <p:spPr>
                      <a:xfrm>
                        <a:off x="1455926" y="2085904"/>
                        <a:ext cx="287286" cy="338587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80" h="330" extrusionOk="0">
                            <a:moveTo>
                              <a:pt x="34" y="330"/>
                            </a:moveTo>
                            <a:lnTo>
                              <a:pt x="46" y="315"/>
                            </a:lnTo>
                            <a:lnTo>
                              <a:pt x="83" y="312"/>
                            </a:lnTo>
                            <a:lnTo>
                              <a:pt x="86" y="286"/>
                            </a:lnTo>
                            <a:lnTo>
                              <a:pt x="104" y="276"/>
                            </a:lnTo>
                            <a:lnTo>
                              <a:pt x="123" y="277"/>
                            </a:lnTo>
                            <a:lnTo>
                              <a:pt x="145" y="295"/>
                            </a:lnTo>
                            <a:lnTo>
                              <a:pt x="159" y="282"/>
                            </a:lnTo>
                            <a:lnTo>
                              <a:pt x="143" y="254"/>
                            </a:lnTo>
                            <a:lnTo>
                              <a:pt x="135" y="227"/>
                            </a:lnTo>
                            <a:lnTo>
                              <a:pt x="153" y="207"/>
                            </a:lnTo>
                            <a:lnTo>
                              <a:pt x="170" y="202"/>
                            </a:lnTo>
                            <a:lnTo>
                              <a:pt x="196" y="229"/>
                            </a:lnTo>
                            <a:lnTo>
                              <a:pt x="249" y="233"/>
                            </a:lnTo>
                            <a:lnTo>
                              <a:pt x="249" y="232"/>
                            </a:lnTo>
                            <a:lnTo>
                              <a:pt x="249" y="232"/>
                            </a:lnTo>
                            <a:lnTo>
                              <a:pt x="249" y="232"/>
                            </a:lnTo>
                            <a:lnTo>
                              <a:pt x="264" y="206"/>
                            </a:lnTo>
                            <a:lnTo>
                              <a:pt x="225" y="182"/>
                            </a:lnTo>
                            <a:lnTo>
                              <a:pt x="224" y="182"/>
                            </a:lnTo>
                            <a:lnTo>
                              <a:pt x="224" y="180"/>
                            </a:lnTo>
                            <a:lnTo>
                              <a:pt x="225" y="159"/>
                            </a:lnTo>
                            <a:lnTo>
                              <a:pt x="225" y="158"/>
                            </a:lnTo>
                            <a:lnTo>
                              <a:pt x="226" y="158"/>
                            </a:lnTo>
                            <a:lnTo>
                              <a:pt x="279" y="118"/>
                            </a:lnTo>
                            <a:lnTo>
                              <a:pt x="280" y="84"/>
                            </a:lnTo>
                            <a:lnTo>
                              <a:pt x="275" y="60"/>
                            </a:lnTo>
                            <a:lnTo>
                              <a:pt x="261" y="46"/>
                            </a:lnTo>
                            <a:lnTo>
                              <a:pt x="253" y="51"/>
                            </a:lnTo>
                            <a:lnTo>
                              <a:pt x="253" y="52"/>
                            </a:lnTo>
                            <a:lnTo>
                              <a:pt x="252" y="51"/>
                            </a:lnTo>
                            <a:lnTo>
                              <a:pt x="238" y="48"/>
                            </a:lnTo>
                            <a:lnTo>
                              <a:pt x="238" y="48"/>
                            </a:lnTo>
                            <a:lnTo>
                              <a:pt x="238" y="48"/>
                            </a:lnTo>
                            <a:lnTo>
                              <a:pt x="181" y="0"/>
                            </a:lnTo>
                            <a:lnTo>
                              <a:pt x="171" y="2"/>
                            </a:lnTo>
                            <a:lnTo>
                              <a:pt x="169" y="21"/>
                            </a:lnTo>
                            <a:lnTo>
                              <a:pt x="169" y="21"/>
                            </a:lnTo>
                            <a:lnTo>
                              <a:pt x="169" y="21"/>
                            </a:lnTo>
                            <a:lnTo>
                              <a:pt x="157" y="43"/>
                            </a:lnTo>
                            <a:lnTo>
                              <a:pt x="158" y="54"/>
                            </a:lnTo>
                            <a:lnTo>
                              <a:pt x="170" y="70"/>
                            </a:lnTo>
                            <a:lnTo>
                              <a:pt x="171" y="71"/>
                            </a:lnTo>
                            <a:lnTo>
                              <a:pt x="170" y="72"/>
                            </a:lnTo>
                            <a:lnTo>
                              <a:pt x="164" y="86"/>
                            </a:lnTo>
                            <a:lnTo>
                              <a:pt x="163" y="86"/>
                            </a:lnTo>
                            <a:lnTo>
                              <a:pt x="163" y="87"/>
                            </a:lnTo>
                            <a:lnTo>
                              <a:pt x="152" y="93"/>
                            </a:lnTo>
                            <a:lnTo>
                              <a:pt x="151" y="93"/>
                            </a:lnTo>
                            <a:lnTo>
                              <a:pt x="150" y="92"/>
                            </a:lnTo>
                            <a:lnTo>
                              <a:pt x="130" y="73"/>
                            </a:lnTo>
                            <a:lnTo>
                              <a:pt x="123" y="68"/>
                            </a:lnTo>
                            <a:lnTo>
                              <a:pt x="112" y="67"/>
                            </a:lnTo>
                            <a:lnTo>
                              <a:pt x="99" y="73"/>
                            </a:lnTo>
                            <a:lnTo>
                              <a:pt x="97" y="74"/>
                            </a:lnTo>
                            <a:lnTo>
                              <a:pt x="96" y="73"/>
                            </a:lnTo>
                            <a:lnTo>
                              <a:pt x="85" y="64"/>
                            </a:lnTo>
                            <a:lnTo>
                              <a:pt x="85" y="63"/>
                            </a:lnTo>
                            <a:lnTo>
                              <a:pt x="85" y="62"/>
                            </a:lnTo>
                            <a:lnTo>
                              <a:pt x="84" y="38"/>
                            </a:lnTo>
                            <a:lnTo>
                              <a:pt x="74" y="25"/>
                            </a:lnTo>
                            <a:lnTo>
                              <a:pt x="61" y="24"/>
                            </a:lnTo>
                            <a:lnTo>
                              <a:pt x="38" y="38"/>
                            </a:lnTo>
                            <a:lnTo>
                              <a:pt x="32" y="55"/>
                            </a:lnTo>
                            <a:lnTo>
                              <a:pt x="45" y="85"/>
                            </a:lnTo>
                            <a:lnTo>
                              <a:pt x="56" y="94"/>
                            </a:lnTo>
                            <a:lnTo>
                              <a:pt x="108" y="111"/>
                            </a:lnTo>
                            <a:lnTo>
                              <a:pt x="120" y="105"/>
                            </a:lnTo>
                            <a:lnTo>
                              <a:pt x="120" y="105"/>
                            </a:lnTo>
                            <a:lnTo>
                              <a:pt x="128" y="101"/>
                            </a:lnTo>
                            <a:lnTo>
                              <a:pt x="129" y="101"/>
                            </a:lnTo>
                            <a:lnTo>
                              <a:pt x="130" y="102"/>
                            </a:lnTo>
                            <a:lnTo>
                              <a:pt x="145" y="117"/>
                            </a:lnTo>
                            <a:lnTo>
                              <a:pt x="147" y="118"/>
                            </a:lnTo>
                            <a:lnTo>
                              <a:pt x="145" y="120"/>
                            </a:lnTo>
                            <a:lnTo>
                              <a:pt x="134" y="128"/>
                            </a:lnTo>
                            <a:lnTo>
                              <a:pt x="134" y="129"/>
                            </a:lnTo>
                            <a:lnTo>
                              <a:pt x="134" y="129"/>
                            </a:lnTo>
                            <a:lnTo>
                              <a:pt x="118" y="134"/>
                            </a:lnTo>
                            <a:lnTo>
                              <a:pt x="112" y="155"/>
                            </a:lnTo>
                            <a:lnTo>
                              <a:pt x="111" y="157"/>
                            </a:lnTo>
                            <a:lnTo>
                              <a:pt x="110" y="157"/>
                            </a:lnTo>
                            <a:lnTo>
                              <a:pt x="100" y="157"/>
                            </a:lnTo>
                            <a:lnTo>
                              <a:pt x="100" y="157"/>
                            </a:lnTo>
                            <a:lnTo>
                              <a:pt x="99" y="157"/>
                            </a:lnTo>
                            <a:lnTo>
                              <a:pt x="83" y="148"/>
                            </a:lnTo>
                            <a:lnTo>
                              <a:pt x="52" y="166"/>
                            </a:lnTo>
                            <a:lnTo>
                              <a:pt x="33" y="198"/>
                            </a:lnTo>
                            <a:lnTo>
                              <a:pt x="30" y="218"/>
                            </a:lnTo>
                            <a:lnTo>
                              <a:pt x="30" y="220"/>
                            </a:lnTo>
                            <a:lnTo>
                              <a:pt x="28" y="220"/>
                            </a:lnTo>
                            <a:lnTo>
                              <a:pt x="5" y="226"/>
                            </a:lnTo>
                            <a:lnTo>
                              <a:pt x="3" y="241"/>
                            </a:lnTo>
                            <a:lnTo>
                              <a:pt x="3" y="241"/>
                            </a:lnTo>
                            <a:lnTo>
                              <a:pt x="0" y="258"/>
                            </a:lnTo>
                            <a:lnTo>
                              <a:pt x="39" y="270"/>
                            </a:lnTo>
                            <a:lnTo>
                              <a:pt x="40" y="270"/>
                            </a:lnTo>
                            <a:lnTo>
                              <a:pt x="40" y="271"/>
                            </a:lnTo>
                            <a:lnTo>
                              <a:pt x="48" y="288"/>
                            </a:lnTo>
                            <a:lnTo>
                              <a:pt x="49" y="289"/>
                            </a:lnTo>
                            <a:lnTo>
                              <a:pt x="48" y="290"/>
                            </a:lnTo>
                            <a:lnTo>
                              <a:pt x="44" y="302"/>
                            </a:lnTo>
                            <a:lnTo>
                              <a:pt x="44" y="302"/>
                            </a:lnTo>
                            <a:lnTo>
                              <a:pt x="44" y="303"/>
                            </a:lnTo>
                            <a:lnTo>
                              <a:pt x="29" y="314"/>
                            </a:lnTo>
                            <a:lnTo>
                              <a:pt x="34" y="330"/>
                            </a:lnTo>
                            <a:lnTo>
                              <a:pt x="34" y="330"/>
                            </a:lnTo>
                            <a:close/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38" name="Google Shape;138;p2"/>
                      <p:cNvSpPr/>
                      <p:nvPr/>
                    </p:nvSpPr>
                    <p:spPr>
                      <a:xfrm>
                        <a:off x="1564685" y="1690886"/>
                        <a:ext cx="431956" cy="49146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21" h="479" extrusionOk="0">
                            <a:moveTo>
                              <a:pt x="323" y="0"/>
                            </a:moveTo>
                            <a:lnTo>
                              <a:pt x="313" y="16"/>
                            </a:lnTo>
                            <a:lnTo>
                              <a:pt x="306" y="32"/>
                            </a:lnTo>
                            <a:lnTo>
                              <a:pt x="306" y="32"/>
                            </a:lnTo>
                            <a:lnTo>
                              <a:pt x="306" y="32"/>
                            </a:lnTo>
                            <a:lnTo>
                              <a:pt x="274" y="74"/>
                            </a:lnTo>
                            <a:lnTo>
                              <a:pt x="274" y="75"/>
                            </a:lnTo>
                            <a:lnTo>
                              <a:pt x="274" y="75"/>
                            </a:lnTo>
                            <a:lnTo>
                              <a:pt x="226" y="121"/>
                            </a:lnTo>
                            <a:lnTo>
                              <a:pt x="226" y="121"/>
                            </a:lnTo>
                            <a:lnTo>
                              <a:pt x="226" y="121"/>
                            </a:lnTo>
                            <a:lnTo>
                              <a:pt x="186" y="140"/>
                            </a:lnTo>
                            <a:lnTo>
                              <a:pt x="185" y="158"/>
                            </a:lnTo>
                            <a:lnTo>
                              <a:pt x="198" y="183"/>
                            </a:lnTo>
                            <a:lnTo>
                              <a:pt x="198" y="183"/>
                            </a:lnTo>
                            <a:lnTo>
                              <a:pt x="197" y="184"/>
                            </a:lnTo>
                            <a:lnTo>
                              <a:pt x="180" y="204"/>
                            </a:lnTo>
                            <a:lnTo>
                              <a:pt x="177" y="231"/>
                            </a:lnTo>
                            <a:lnTo>
                              <a:pt x="177" y="232"/>
                            </a:lnTo>
                            <a:lnTo>
                              <a:pt x="177" y="232"/>
                            </a:lnTo>
                            <a:lnTo>
                              <a:pt x="166" y="246"/>
                            </a:lnTo>
                            <a:lnTo>
                              <a:pt x="165" y="247"/>
                            </a:lnTo>
                            <a:lnTo>
                              <a:pt x="164" y="247"/>
                            </a:lnTo>
                            <a:lnTo>
                              <a:pt x="127" y="248"/>
                            </a:lnTo>
                            <a:lnTo>
                              <a:pt x="121" y="272"/>
                            </a:lnTo>
                            <a:lnTo>
                              <a:pt x="121" y="273"/>
                            </a:lnTo>
                            <a:lnTo>
                              <a:pt x="121" y="273"/>
                            </a:lnTo>
                            <a:lnTo>
                              <a:pt x="105" y="284"/>
                            </a:lnTo>
                            <a:lnTo>
                              <a:pt x="103" y="285"/>
                            </a:lnTo>
                            <a:lnTo>
                              <a:pt x="102" y="283"/>
                            </a:lnTo>
                            <a:lnTo>
                              <a:pt x="87" y="267"/>
                            </a:lnTo>
                            <a:lnTo>
                              <a:pt x="66" y="300"/>
                            </a:lnTo>
                            <a:lnTo>
                              <a:pt x="66" y="301"/>
                            </a:lnTo>
                            <a:lnTo>
                              <a:pt x="65" y="301"/>
                            </a:lnTo>
                            <a:lnTo>
                              <a:pt x="30" y="305"/>
                            </a:lnTo>
                            <a:lnTo>
                              <a:pt x="0" y="340"/>
                            </a:lnTo>
                            <a:lnTo>
                              <a:pt x="5" y="356"/>
                            </a:lnTo>
                            <a:lnTo>
                              <a:pt x="19" y="367"/>
                            </a:lnTo>
                            <a:lnTo>
                              <a:pt x="53" y="382"/>
                            </a:lnTo>
                            <a:lnTo>
                              <a:pt x="64" y="384"/>
                            </a:lnTo>
                            <a:lnTo>
                              <a:pt x="75" y="380"/>
                            </a:lnTo>
                            <a:lnTo>
                              <a:pt x="76" y="380"/>
                            </a:lnTo>
                            <a:lnTo>
                              <a:pt x="77" y="381"/>
                            </a:lnTo>
                            <a:lnTo>
                              <a:pt x="133" y="429"/>
                            </a:lnTo>
                            <a:lnTo>
                              <a:pt x="146" y="433"/>
                            </a:lnTo>
                            <a:lnTo>
                              <a:pt x="154" y="428"/>
                            </a:lnTo>
                            <a:lnTo>
                              <a:pt x="155" y="427"/>
                            </a:lnTo>
                            <a:lnTo>
                              <a:pt x="157" y="428"/>
                            </a:lnTo>
                            <a:lnTo>
                              <a:pt x="172" y="443"/>
                            </a:lnTo>
                            <a:lnTo>
                              <a:pt x="172" y="443"/>
                            </a:lnTo>
                            <a:lnTo>
                              <a:pt x="172" y="444"/>
                            </a:lnTo>
                            <a:lnTo>
                              <a:pt x="175" y="454"/>
                            </a:lnTo>
                            <a:lnTo>
                              <a:pt x="214" y="442"/>
                            </a:lnTo>
                            <a:lnTo>
                              <a:pt x="214" y="442"/>
                            </a:lnTo>
                            <a:lnTo>
                              <a:pt x="215" y="442"/>
                            </a:lnTo>
                            <a:lnTo>
                              <a:pt x="250" y="454"/>
                            </a:lnTo>
                            <a:lnTo>
                              <a:pt x="251" y="455"/>
                            </a:lnTo>
                            <a:lnTo>
                              <a:pt x="251" y="455"/>
                            </a:lnTo>
                            <a:lnTo>
                              <a:pt x="266" y="475"/>
                            </a:lnTo>
                            <a:lnTo>
                              <a:pt x="285" y="465"/>
                            </a:lnTo>
                            <a:lnTo>
                              <a:pt x="286" y="465"/>
                            </a:lnTo>
                            <a:lnTo>
                              <a:pt x="287" y="465"/>
                            </a:lnTo>
                            <a:lnTo>
                              <a:pt x="315" y="479"/>
                            </a:lnTo>
                            <a:lnTo>
                              <a:pt x="329" y="475"/>
                            </a:lnTo>
                            <a:lnTo>
                              <a:pt x="328" y="444"/>
                            </a:lnTo>
                            <a:lnTo>
                              <a:pt x="328" y="444"/>
                            </a:lnTo>
                            <a:lnTo>
                              <a:pt x="328" y="444"/>
                            </a:lnTo>
                            <a:lnTo>
                              <a:pt x="344" y="410"/>
                            </a:lnTo>
                            <a:lnTo>
                              <a:pt x="344" y="409"/>
                            </a:lnTo>
                            <a:lnTo>
                              <a:pt x="345" y="409"/>
                            </a:lnTo>
                            <a:lnTo>
                              <a:pt x="401" y="411"/>
                            </a:lnTo>
                            <a:lnTo>
                              <a:pt x="421" y="377"/>
                            </a:lnTo>
                            <a:lnTo>
                              <a:pt x="406" y="356"/>
                            </a:lnTo>
                            <a:lnTo>
                              <a:pt x="406" y="356"/>
                            </a:lnTo>
                            <a:lnTo>
                              <a:pt x="406" y="355"/>
                            </a:lnTo>
                            <a:lnTo>
                              <a:pt x="408" y="334"/>
                            </a:lnTo>
                            <a:lnTo>
                              <a:pt x="408" y="334"/>
                            </a:lnTo>
                            <a:lnTo>
                              <a:pt x="414" y="297"/>
                            </a:lnTo>
                            <a:lnTo>
                              <a:pt x="375" y="272"/>
                            </a:lnTo>
                            <a:lnTo>
                              <a:pt x="375" y="272"/>
                            </a:lnTo>
                            <a:lnTo>
                              <a:pt x="374" y="272"/>
                            </a:lnTo>
                            <a:lnTo>
                              <a:pt x="368" y="255"/>
                            </a:lnTo>
                            <a:lnTo>
                              <a:pt x="368" y="254"/>
                            </a:lnTo>
                            <a:lnTo>
                              <a:pt x="368" y="253"/>
                            </a:lnTo>
                            <a:lnTo>
                              <a:pt x="390" y="227"/>
                            </a:lnTo>
                            <a:lnTo>
                              <a:pt x="385" y="204"/>
                            </a:lnTo>
                            <a:lnTo>
                              <a:pt x="385" y="204"/>
                            </a:lnTo>
                            <a:lnTo>
                              <a:pt x="378" y="164"/>
                            </a:lnTo>
                            <a:lnTo>
                              <a:pt x="378" y="163"/>
                            </a:lnTo>
                            <a:lnTo>
                              <a:pt x="379" y="163"/>
                            </a:lnTo>
                            <a:lnTo>
                              <a:pt x="397" y="137"/>
                            </a:lnTo>
                            <a:lnTo>
                              <a:pt x="396" y="107"/>
                            </a:lnTo>
                            <a:lnTo>
                              <a:pt x="375" y="57"/>
                            </a:lnTo>
                            <a:lnTo>
                              <a:pt x="339" y="36"/>
                            </a:lnTo>
                            <a:lnTo>
                              <a:pt x="338" y="35"/>
                            </a:lnTo>
                            <a:lnTo>
                              <a:pt x="338" y="34"/>
                            </a:lnTo>
                            <a:lnTo>
                              <a:pt x="333" y="10"/>
                            </a:lnTo>
                            <a:lnTo>
                              <a:pt x="323" y="0"/>
                            </a:lnTo>
                            <a:lnTo>
                              <a:pt x="323" y="0"/>
                            </a:lnTo>
                            <a:close/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39" name="Google Shape;139;p2"/>
                      <p:cNvSpPr/>
                      <p:nvPr/>
                    </p:nvSpPr>
                    <p:spPr>
                      <a:xfrm>
                        <a:off x="1898142" y="1469265"/>
                        <a:ext cx="945993" cy="74591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22" h="727" extrusionOk="0">
                            <a:moveTo>
                              <a:pt x="243" y="0"/>
                            </a:moveTo>
                            <a:lnTo>
                              <a:pt x="222" y="0"/>
                            </a:lnTo>
                            <a:lnTo>
                              <a:pt x="191" y="27"/>
                            </a:lnTo>
                            <a:lnTo>
                              <a:pt x="191" y="28"/>
                            </a:lnTo>
                            <a:lnTo>
                              <a:pt x="190" y="28"/>
                            </a:lnTo>
                            <a:lnTo>
                              <a:pt x="163" y="29"/>
                            </a:lnTo>
                            <a:lnTo>
                              <a:pt x="161" y="30"/>
                            </a:lnTo>
                            <a:lnTo>
                              <a:pt x="161" y="29"/>
                            </a:lnTo>
                            <a:lnTo>
                              <a:pt x="152" y="14"/>
                            </a:lnTo>
                            <a:lnTo>
                              <a:pt x="107" y="54"/>
                            </a:lnTo>
                            <a:lnTo>
                              <a:pt x="99" y="80"/>
                            </a:lnTo>
                            <a:lnTo>
                              <a:pt x="99" y="80"/>
                            </a:lnTo>
                            <a:lnTo>
                              <a:pt x="99" y="81"/>
                            </a:lnTo>
                            <a:lnTo>
                              <a:pt x="52" y="123"/>
                            </a:lnTo>
                            <a:lnTo>
                              <a:pt x="0" y="212"/>
                            </a:lnTo>
                            <a:lnTo>
                              <a:pt x="10" y="223"/>
                            </a:lnTo>
                            <a:lnTo>
                              <a:pt x="11" y="224"/>
                            </a:lnTo>
                            <a:lnTo>
                              <a:pt x="11" y="224"/>
                            </a:lnTo>
                            <a:lnTo>
                              <a:pt x="16" y="249"/>
                            </a:lnTo>
                            <a:lnTo>
                              <a:pt x="52" y="270"/>
                            </a:lnTo>
                            <a:lnTo>
                              <a:pt x="53" y="270"/>
                            </a:lnTo>
                            <a:lnTo>
                              <a:pt x="53" y="271"/>
                            </a:lnTo>
                            <a:lnTo>
                              <a:pt x="74" y="322"/>
                            </a:lnTo>
                            <a:lnTo>
                              <a:pt x="74" y="322"/>
                            </a:lnTo>
                            <a:lnTo>
                              <a:pt x="74" y="323"/>
                            </a:lnTo>
                            <a:lnTo>
                              <a:pt x="75" y="354"/>
                            </a:lnTo>
                            <a:lnTo>
                              <a:pt x="75" y="354"/>
                            </a:lnTo>
                            <a:lnTo>
                              <a:pt x="75" y="355"/>
                            </a:lnTo>
                            <a:lnTo>
                              <a:pt x="57" y="380"/>
                            </a:lnTo>
                            <a:lnTo>
                              <a:pt x="64" y="419"/>
                            </a:lnTo>
                            <a:lnTo>
                              <a:pt x="64" y="419"/>
                            </a:lnTo>
                            <a:lnTo>
                              <a:pt x="69" y="443"/>
                            </a:lnTo>
                            <a:lnTo>
                              <a:pt x="69" y="444"/>
                            </a:lnTo>
                            <a:lnTo>
                              <a:pt x="69" y="444"/>
                            </a:lnTo>
                            <a:lnTo>
                              <a:pt x="47" y="471"/>
                            </a:lnTo>
                            <a:lnTo>
                              <a:pt x="53" y="486"/>
                            </a:lnTo>
                            <a:lnTo>
                              <a:pt x="91" y="511"/>
                            </a:lnTo>
                            <a:lnTo>
                              <a:pt x="93" y="511"/>
                            </a:lnTo>
                            <a:lnTo>
                              <a:pt x="92" y="513"/>
                            </a:lnTo>
                            <a:lnTo>
                              <a:pt x="87" y="551"/>
                            </a:lnTo>
                            <a:lnTo>
                              <a:pt x="87" y="551"/>
                            </a:lnTo>
                            <a:lnTo>
                              <a:pt x="85" y="571"/>
                            </a:lnTo>
                            <a:lnTo>
                              <a:pt x="99" y="591"/>
                            </a:lnTo>
                            <a:lnTo>
                              <a:pt x="129" y="586"/>
                            </a:lnTo>
                            <a:lnTo>
                              <a:pt x="138" y="567"/>
                            </a:lnTo>
                            <a:lnTo>
                              <a:pt x="139" y="565"/>
                            </a:lnTo>
                            <a:lnTo>
                              <a:pt x="141" y="566"/>
                            </a:lnTo>
                            <a:lnTo>
                              <a:pt x="164" y="576"/>
                            </a:lnTo>
                            <a:lnTo>
                              <a:pt x="181" y="576"/>
                            </a:lnTo>
                            <a:lnTo>
                              <a:pt x="189" y="569"/>
                            </a:lnTo>
                            <a:lnTo>
                              <a:pt x="190" y="569"/>
                            </a:lnTo>
                            <a:lnTo>
                              <a:pt x="191" y="569"/>
                            </a:lnTo>
                            <a:lnTo>
                              <a:pt x="205" y="572"/>
                            </a:lnTo>
                            <a:lnTo>
                              <a:pt x="221" y="563"/>
                            </a:lnTo>
                            <a:lnTo>
                              <a:pt x="228" y="555"/>
                            </a:lnTo>
                            <a:lnTo>
                              <a:pt x="229" y="554"/>
                            </a:lnTo>
                            <a:lnTo>
                              <a:pt x="230" y="554"/>
                            </a:lnTo>
                            <a:lnTo>
                              <a:pt x="257" y="556"/>
                            </a:lnTo>
                            <a:lnTo>
                              <a:pt x="263" y="540"/>
                            </a:lnTo>
                            <a:lnTo>
                              <a:pt x="264" y="537"/>
                            </a:lnTo>
                            <a:lnTo>
                              <a:pt x="266" y="540"/>
                            </a:lnTo>
                            <a:lnTo>
                              <a:pt x="285" y="558"/>
                            </a:lnTo>
                            <a:lnTo>
                              <a:pt x="320" y="572"/>
                            </a:lnTo>
                            <a:lnTo>
                              <a:pt x="337" y="576"/>
                            </a:lnTo>
                            <a:lnTo>
                              <a:pt x="338" y="576"/>
                            </a:lnTo>
                            <a:lnTo>
                              <a:pt x="338" y="577"/>
                            </a:lnTo>
                            <a:lnTo>
                              <a:pt x="360" y="625"/>
                            </a:lnTo>
                            <a:lnTo>
                              <a:pt x="360" y="625"/>
                            </a:lnTo>
                            <a:lnTo>
                              <a:pt x="388" y="681"/>
                            </a:lnTo>
                            <a:lnTo>
                              <a:pt x="449" y="727"/>
                            </a:lnTo>
                            <a:lnTo>
                              <a:pt x="482" y="708"/>
                            </a:lnTo>
                            <a:lnTo>
                              <a:pt x="486" y="687"/>
                            </a:lnTo>
                            <a:lnTo>
                              <a:pt x="486" y="686"/>
                            </a:lnTo>
                            <a:lnTo>
                              <a:pt x="486" y="686"/>
                            </a:lnTo>
                            <a:lnTo>
                              <a:pt x="507" y="673"/>
                            </a:lnTo>
                            <a:lnTo>
                              <a:pt x="507" y="673"/>
                            </a:lnTo>
                            <a:lnTo>
                              <a:pt x="508" y="673"/>
                            </a:lnTo>
                            <a:lnTo>
                              <a:pt x="532" y="675"/>
                            </a:lnTo>
                            <a:lnTo>
                              <a:pt x="552" y="610"/>
                            </a:lnTo>
                            <a:lnTo>
                              <a:pt x="552" y="609"/>
                            </a:lnTo>
                            <a:lnTo>
                              <a:pt x="553" y="609"/>
                            </a:lnTo>
                            <a:lnTo>
                              <a:pt x="582" y="586"/>
                            </a:lnTo>
                            <a:lnTo>
                              <a:pt x="583" y="586"/>
                            </a:lnTo>
                            <a:lnTo>
                              <a:pt x="584" y="586"/>
                            </a:lnTo>
                            <a:lnTo>
                              <a:pt x="615" y="595"/>
                            </a:lnTo>
                            <a:lnTo>
                              <a:pt x="615" y="595"/>
                            </a:lnTo>
                            <a:lnTo>
                              <a:pt x="616" y="596"/>
                            </a:lnTo>
                            <a:lnTo>
                              <a:pt x="657" y="623"/>
                            </a:lnTo>
                            <a:lnTo>
                              <a:pt x="721" y="624"/>
                            </a:lnTo>
                            <a:lnTo>
                              <a:pt x="722" y="624"/>
                            </a:lnTo>
                            <a:lnTo>
                              <a:pt x="722" y="625"/>
                            </a:lnTo>
                            <a:lnTo>
                              <a:pt x="767" y="657"/>
                            </a:lnTo>
                            <a:lnTo>
                              <a:pt x="820" y="626"/>
                            </a:lnTo>
                            <a:lnTo>
                              <a:pt x="821" y="626"/>
                            </a:lnTo>
                            <a:lnTo>
                              <a:pt x="822" y="626"/>
                            </a:lnTo>
                            <a:lnTo>
                              <a:pt x="850" y="646"/>
                            </a:lnTo>
                            <a:lnTo>
                              <a:pt x="881" y="642"/>
                            </a:lnTo>
                            <a:lnTo>
                              <a:pt x="916" y="628"/>
                            </a:lnTo>
                            <a:lnTo>
                              <a:pt x="922" y="612"/>
                            </a:lnTo>
                            <a:lnTo>
                              <a:pt x="883" y="589"/>
                            </a:lnTo>
                            <a:lnTo>
                              <a:pt x="882" y="589"/>
                            </a:lnTo>
                            <a:lnTo>
                              <a:pt x="882" y="588"/>
                            </a:lnTo>
                            <a:lnTo>
                              <a:pt x="882" y="539"/>
                            </a:lnTo>
                            <a:lnTo>
                              <a:pt x="859" y="516"/>
                            </a:lnTo>
                            <a:lnTo>
                              <a:pt x="846" y="515"/>
                            </a:lnTo>
                            <a:lnTo>
                              <a:pt x="845" y="515"/>
                            </a:lnTo>
                            <a:lnTo>
                              <a:pt x="845" y="514"/>
                            </a:lnTo>
                            <a:lnTo>
                              <a:pt x="821" y="480"/>
                            </a:lnTo>
                            <a:lnTo>
                              <a:pt x="790" y="481"/>
                            </a:lnTo>
                            <a:lnTo>
                              <a:pt x="789" y="481"/>
                            </a:lnTo>
                            <a:lnTo>
                              <a:pt x="789" y="480"/>
                            </a:lnTo>
                            <a:lnTo>
                              <a:pt x="759" y="452"/>
                            </a:lnTo>
                            <a:lnTo>
                              <a:pt x="725" y="476"/>
                            </a:lnTo>
                            <a:lnTo>
                              <a:pt x="725" y="477"/>
                            </a:lnTo>
                            <a:lnTo>
                              <a:pt x="724" y="477"/>
                            </a:lnTo>
                            <a:lnTo>
                              <a:pt x="682" y="473"/>
                            </a:lnTo>
                            <a:lnTo>
                              <a:pt x="681" y="473"/>
                            </a:lnTo>
                            <a:lnTo>
                              <a:pt x="681" y="473"/>
                            </a:lnTo>
                            <a:lnTo>
                              <a:pt x="640" y="447"/>
                            </a:lnTo>
                            <a:lnTo>
                              <a:pt x="639" y="447"/>
                            </a:lnTo>
                            <a:lnTo>
                              <a:pt x="639" y="447"/>
                            </a:lnTo>
                            <a:lnTo>
                              <a:pt x="616" y="409"/>
                            </a:lnTo>
                            <a:lnTo>
                              <a:pt x="554" y="382"/>
                            </a:lnTo>
                            <a:lnTo>
                              <a:pt x="554" y="382"/>
                            </a:lnTo>
                            <a:lnTo>
                              <a:pt x="554" y="381"/>
                            </a:lnTo>
                            <a:lnTo>
                              <a:pt x="509" y="340"/>
                            </a:lnTo>
                            <a:lnTo>
                              <a:pt x="458" y="340"/>
                            </a:lnTo>
                            <a:lnTo>
                              <a:pt x="456" y="340"/>
                            </a:lnTo>
                            <a:lnTo>
                              <a:pt x="456" y="339"/>
                            </a:lnTo>
                            <a:lnTo>
                              <a:pt x="457" y="306"/>
                            </a:lnTo>
                            <a:lnTo>
                              <a:pt x="444" y="290"/>
                            </a:lnTo>
                            <a:lnTo>
                              <a:pt x="444" y="289"/>
                            </a:lnTo>
                            <a:lnTo>
                              <a:pt x="444" y="288"/>
                            </a:lnTo>
                            <a:lnTo>
                              <a:pt x="442" y="241"/>
                            </a:lnTo>
                            <a:lnTo>
                              <a:pt x="420" y="212"/>
                            </a:lnTo>
                            <a:lnTo>
                              <a:pt x="345" y="208"/>
                            </a:lnTo>
                            <a:lnTo>
                              <a:pt x="345" y="208"/>
                            </a:lnTo>
                            <a:lnTo>
                              <a:pt x="344" y="208"/>
                            </a:lnTo>
                            <a:lnTo>
                              <a:pt x="332" y="197"/>
                            </a:lnTo>
                            <a:lnTo>
                              <a:pt x="331" y="197"/>
                            </a:lnTo>
                            <a:lnTo>
                              <a:pt x="331" y="196"/>
                            </a:lnTo>
                            <a:lnTo>
                              <a:pt x="330" y="164"/>
                            </a:lnTo>
                            <a:lnTo>
                              <a:pt x="300" y="141"/>
                            </a:lnTo>
                            <a:lnTo>
                              <a:pt x="234" y="136"/>
                            </a:lnTo>
                            <a:lnTo>
                              <a:pt x="233" y="136"/>
                            </a:lnTo>
                            <a:lnTo>
                              <a:pt x="232" y="135"/>
                            </a:lnTo>
                            <a:lnTo>
                              <a:pt x="214" y="97"/>
                            </a:lnTo>
                            <a:lnTo>
                              <a:pt x="214" y="95"/>
                            </a:lnTo>
                            <a:lnTo>
                              <a:pt x="215" y="94"/>
                            </a:lnTo>
                            <a:lnTo>
                              <a:pt x="242" y="57"/>
                            </a:lnTo>
                            <a:lnTo>
                              <a:pt x="243" y="0"/>
                            </a:lnTo>
                            <a:lnTo>
                              <a:pt x="243" y="0"/>
                            </a:lnTo>
                            <a:close/>
                          </a:path>
                        </a:pathLst>
                      </a:custGeom>
                      <a:solidFill>
                        <a:srgbClr val="D9D9D9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40" name="Google Shape;140;p2"/>
                      <p:cNvSpPr/>
                      <p:nvPr/>
                    </p:nvSpPr>
                    <p:spPr>
                      <a:xfrm>
                        <a:off x="753101" y="1039361"/>
                        <a:ext cx="252402" cy="23188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46" h="226" extrusionOk="0">
                            <a:moveTo>
                              <a:pt x="72" y="0"/>
                            </a:moveTo>
                            <a:lnTo>
                              <a:pt x="63" y="7"/>
                            </a:lnTo>
                            <a:lnTo>
                              <a:pt x="58" y="21"/>
                            </a:lnTo>
                            <a:lnTo>
                              <a:pt x="59" y="67"/>
                            </a:lnTo>
                            <a:lnTo>
                              <a:pt x="59" y="69"/>
                            </a:lnTo>
                            <a:lnTo>
                              <a:pt x="57" y="69"/>
                            </a:lnTo>
                            <a:lnTo>
                              <a:pt x="23" y="80"/>
                            </a:lnTo>
                            <a:lnTo>
                              <a:pt x="21" y="96"/>
                            </a:lnTo>
                            <a:lnTo>
                              <a:pt x="21" y="98"/>
                            </a:lnTo>
                            <a:lnTo>
                              <a:pt x="20" y="98"/>
                            </a:lnTo>
                            <a:lnTo>
                              <a:pt x="8" y="99"/>
                            </a:lnTo>
                            <a:lnTo>
                              <a:pt x="5" y="110"/>
                            </a:lnTo>
                            <a:lnTo>
                              <a:pt x="5" y="110"/>
                            </a:lnTo>
                            <a:lnTo>
                              <a:pt x="5" y="111"/>
                            </a:lnTo>
                            <a:lnTo>
                              <a:pt x="0" y="116"/>
                            </a:lnTo>
                            <a:lnTo>
                              <a:pt x="12" y="128"/>
                            </a:lnTo>
                            <a:lnTo>
                              <a:pt x="33" y="144"/>
                            </a:lnTo>
                            <a:lnTo>
                              <a:pt x="76" y="155"/>
                            </a:lnTo>
                            <a:lnTo>
                              <a:pt x="76" y="155"/>
                            </a:lnTo>
                            <a:lnTo>
                              <a:pt x="77" y="155"/>
                            </a:lnTo>
                            <a:lnTo>
                              <a:pt x="91" y="168"/>
                            </a:lnTo>
                            <a:lnTo>
                              <a:pt x="132" y="171"/>
                            </a:lnTo>
                            <a:lnTo>
                              <a:pt x="135" y="156"/>
                            </a:lnTo>
                            <a:lnTo>
                              <a:pt x="135" y="155"/>
                            </a:lnTo>
                            <a:lnTo>
                              <a:pt x="136" y="155"/>
                            </a:lnTo>
                            <a:lnTo>
                              <a:pt x="144" y="149"/>
                            </a:lnTo>
                            <a:lnTo>
                              <a:pt x="145" y="148"/>
                            </a:lnTo>
                            <a:lnTo>
                              <a:pt x="146" y="149"/>
                            </a:lnTo>
                            <a:lnTo>
                              <a:pt x="165" y="163"/>
                            </a:lnTo>
                            <a:lnTo>
                              <a:pt x="166" y="163"/>
                            </a:lnTo>
                            <a:lnTo>
                              <a:pt x="166" y="164"/>
                            </a:lnTo>
                            <a:lnTo>
                              <a:pt x="170" y="181"/>
                            </a:lnTo>
                            <a:lnTo>
                              <a:pt x="193" y="199"/>
                            </a:lnTo>
                            <a:lnTo>
                              <a:pt x="213" y="198"/>
                            </a:lnTo>
                            <a:lnTo>
                              <a:pt x="213" y="198"/>
                            </a:lnTo>
                            <a:lnTo>
                              <a:pt x="214" y="198"/>
                            </a:lnTo>
                            <a:lnTo>
                              <a:pt x="245" y="226"/>
                            </a:lnTo>
                            <a:lnTo>
                              <a:pt x="246" y="212"/>
                            </a:lnTo>
                            <a:lnTo>
                              <a:pt x="241" y="195"/>
                            </a:lnTo>
                            <a:lnTo>
                              <a:pt x="227" y="179"/>
                            </a:lnTo>
                            <a:lnTo>
                              <a:pt x="226" y="178"/>
                            </a:lnTo>
                            <a:lnTo>
                              <a:pt x="227" y="177"/>
                            </a:lnTo>
                            <a:lnTo>
                              <a:pt x="240" y="157"/>
                            </a:lnTo>
                            <a:lnTo>
                              <a:pt x="238" y="134"/>
                            </a:lnTo>
                            <a:lnTo>
                              <a:pt x="225" y="110"/>
                            </a:lnTo>
                            <a:lnTo>
                              <a:pt x="225" y="110"/>
                            </a:lnTo>
                            <a:lnTo>
                              <a:pt x="225" y="109"/>
                            </a:lnTo>
                            <a:lnTo>
                              <a:pt x="229" y="92"/>
                            </a:lnTo>
                            <a:lnTo>
                              <a:pt x="217" y="90"/>
                            </a:lnTo>
                            <a:lnTo>
                              <a:pt x="215" y="90"/>
                            </a:lnTo>
                            <a:lnTo>
                              <a:pt x="215" y="89"/>
                            </a:lnTo>
                            <a:lnTo>
                              <a:pt x="213" y="78"/>
                            </a:lnTo>
                            <a:lnTo>
                              <a:pt x="191" y="77"/>
                            </a:lnTo>
                            <a:lnTo>
                              <a:pt x="190" y="77"/>
                            </a:lnTo>
                            <a:lnTo>
                              <a:pt x="190" y="76"/>
                            </a:lnTo>
                            <a:lnTo>
                              <a:pt x="184" y="65"/>
                            </a:lnTo>
                            <a:lnTo>
                              <a:pt x="183" y="65"/>
                            </a:lnTo>
                            <a:lnTo>
                              <a:pt x="184" y="64"/>
                            </a:lnTo>
                            <a:lnTo>
                              <a:pt x="189" y="54"/>
                            </a:lnTo>
                            <a:lnTo>
                              <a:pt x="188" y="40"/>
                            </a:lnTo>
                            <a:lnTo>
                              <a:pt x="172" y="35"/>
                            </a:lnTo>
                            <a:lnTo>
                              <a:pt x="167" y="41"/>
                            </a:lnTo>
                            <a:lnTo>
                              <a:pt x="166" y="42"/>
                            </a:lnTo>
                            <a:lnTo>
                              <a:pt x="165" y="42"/>
                            </a:lnTo>
                            <a:lnTo>
                              <a:pt x="154" y="41"/>
                            </a:lnTo>
                            <a:lnTo>
                              <a:pt x="154" y="41"/>
                            </a:lnTo>
                            <a:lnTo>
                              <a:pt x="153" y="40"/>
                            </a:lnTo>
                            <a:lnTo>
                              <a:pt x="142" y="30"/>
                            </a:lnTo>
                            <a:lnTo>
                              <a:pt x="124" y="33"/>
                            </a:lnTo>
                            <a:lnTo>
                              <a:pt x="123" y="33"/>
                            </a:lnTo>
                            <a:lnTo>
                              <a:pt x="122" y="32"/>
                            </a:lnTo>
                            <a:lnTo>
                              <a:pt x="112" y="14"/>
                            </a:lnTo>
                            <a:lnTo>
                              <a:pt x="100" y="8"/>
                            </a:lnTo>
                            <a:lnTo>
                              <a:pt x="80" y="18"/>
                            </a:lnTo>
                            <a:lnTo>
                              <a:pt x="78" y="19"/>
                            </a:lnTo>
                            <a:lnTo>
                              <a:pt x="77" y="17"/>
                            </a:lnTo>
                            <a:lnTo>
                              <a:pt x="72" y="0"/>
                            </a:lnTo>
                            <a:lnTo>
                              <a:pt x="72" y="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41" name="Google Shape;141;p2"/>
                      <p:cNvSpPr/>
                      <p:nvPr/>
                    </p:nvSpPr>
                    <p:spPr>
                      <a:xfrm>
                        <a:off x="989086" y="1123495"/>
                        <a:ext cx="456580" cy="41759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45" h="407" extrusionOk="0">
                            <a:moveTo>
                              <a:pt x="55" y="185"/>
                            </a:moveTo>
                            <a:lnTo>
                              <a:pt x="95" y="210"/>
                            </a:lnTo>
                            <a:lnTo>
                              <a:pt x="111" y="210"/>
                            </a:lnTo>
                            <a:lnTo>
                              <a:pt x="112" y="210"/>
                            </a:lnTo>
                            <a:lnTo>
                              <a:pt x="113" y="210"/>
                            </a:lnTo>
                            <a:lnTo>
                              <a:pt x="132" y="233"/>
                            </a:lnTo>
                            <a:lnTo>
                              <a:pt x="132" y="234"/>
                            </a:lnTo>
                            <a:lnTo>
                              <a:pt x="132" y="235"/>
                            </a:lnTo>
                            <a:lnTo>
                              <a:pt x="123" y="269"/>
                            </a:lnTo>
                            <a:lnTo>
                              <a:pt x="147" y="292"/>
                            </a:lnTo>
                            <a:lnTo>
                              <a:pt x="212" y="295"/>
                            </a:lnTo>
                            <a:lnTo>
                              <a:pt x="213" y="295"/>
                            </a:lnTo>
                            <a:lnTo>
                              <a:pt x="213" y="295"/>
                            </a:lnTo>
                            <a:lnTo>
                              <a:pt x="257" y="321"/>
                            </a:lnTo>
                            <a:lnTo>
                              <a:pt x="257" y="322"/>
                            </a:lnTo>
                            <a:lnTo>
                              <a:pt x="257" y="322"/>
                            </a:lnTo>
                            <a:lnTo>
                              <a:pt x="285" y="374"/>
                            </a:lnTo>
                            <a:lnTo>
                              <a:pt x="331" y="401"/>
                            </a:lnTo>
                            <a:lnTo>
                              <a:pt x="363" y="393"/>
                            </a:lnTo>
                            <a:lnTo>
                              <a:pt x="363" y="393"/>
                            </a:lnTo>
                            <a:lnTo>
                              <a:pt x="364" y="393"/>
                            </a:lnTo>
                            <a:lnTo>
                              <a:pt x="378" y="407"/>
                            </a:lnTo>
                            <a:lnTo>
                              <a:pt x="399" y="384"/>
                            </a:lnTo>
                            <a:lnTo>
                              <a:pt x="380" y="366"/>
                            </a:lnTo>
                            <a:lnTo>
                              <a:pt x="379" y="365"/>
                            </a:lnTo>
                            <a:lnTo>
                              <a:pt x="379" y="364"/>
                            </a:lnTo>
                            <a:lnTo>
                              <a:pt x="384" y="352"/>
                            </a:lnTo>
                            <a:lnTo>
                              <a:pt x="385" y="351"/>
                            </a:lnTo>
                            <a:lnTo>
                              <a:pt x="386" y="351"/>
                            </a:lnTo>
                            <a:lnTo>
                              <a:pt x="415" y="352"/>
                            </a:lnTo>
                            <a:lnTo>
                              <a:pt x="445" y="332"/>
                            </a:lnTo>
                            <a:lnTo>
                              <a:pt x="445" y="311"/>
                            </a:lnTo>
                            <a:lnTo>
                              <a:pt x="424" y="300"/>
                            </a:lnTo>
                            <a:lnTo>
                              <a:pt x="423" y="300"/>
                            </a:lnTo>
                            <a:lnTo>
                              <a:pt x="423" y="298"/>
                            </a:lnTo>
                            <a:lnTo>
                              <a:pt x="430" y="280"/>
                            </a:lnTo>
                            <a:lnTo>
                              <a:pt x="411" y="274"/>
                            </a:lnTo>
                            <a:lnTo>
                              <a:pt x="398" y="280"/>
                            </a:lnTo>
                            <a:lnTo>
                              <a:pt x="396" y="280"/>
                            </a:lnTo>
                            <a:lnTo>
                              <a:pt x="395" y="279"/>
                            </a:lnTo>
                            <a:lnTo>
                              <a:pt x="380" y="239"/>
                            </a:lnTo>
                            <a:lnTo>
                              <a:pt x="342" y="238"/>
                            </a:lnTo>
                            <a:lnTo>
                              <a:pt x="341" y="238"/>
                            </a:lnTo>
                            <a:lnTo>
                              <a:pt x="341" y="238"/>
                            </a:lnTo>
                            <a:lnTo>
                              <a:pt x="317" y="210"/>
                            </a:lnTo>
                            <a:lnTo>
                              <a:pt x="294" y="195"/>
                            </a:lnTo>
                            <a:lnTo>
                              <a:pt x="294" y="195"/>
                            </a:lnTo>
                            <a:lnTo>
                              <a:pt x="293" y="195"/>
                            </a:lnTo>
                            <a:lnTo>
                              <a:pt x="271" y="174"/>
                            </a:lnTo>
                            <a:lnTo>
                              <a:pt x="271" y="174"/>
                            </a:lnTo>
                            <a:lnTo>
                              <a:pt x="271" y="174"/>
                            </a:lnTo>
                            <a:lnTo>
                              <a:pt x="206" y="101"/>
                            </a:lnTo>
                            <a:lnTo>
                              <a:pt x="206" y="100"/>
                            </a:lnTo>
                            <a:lnTo>
                              <a:pt x="206" y="100"/>
                            </a:lnTo>
                            <a:lnTo>
                              <a:pt x="211" y="63"/>
                            </a:lnTo>
                            <a:lnTo>
                              <a:pt x="211" y="62"/>
                            </a:lnTo>
                            <a:lnTo>
                              <a:pt x="211" y="62"/>
                            </a:lnTo>
                            <a:lnTo>
                              <a:pt x="235" y="35"/>
                            </a:lnTo>
                            <a:lnTo>
                              <a:pt x="220" y="29"/>
                            </a:lnTo>
                            <a:lnTo>
                              <a:pt x="218" y="29"/>
                            </a:lnTo>
                            <a:lnTo>
                              <a:pt x="218" y="28"/>
                            </a:lnTo>
                            <a:lnTo>
                              <a:pt x="218" y="3"/>
                            </a:lnTo>
                            <a:lnTo>
                              <a:pt x="199" y="3"/>
                            </a:lnTo>
                            <a:lnTo>
                              <a:pt x="186" y="15"/>
                            </a:lnTo>
                            <a:lnTo>
                              <a:pt x="185" y="16"/>
                            </a:lnTo>
                            <a:lnTo>
                              <a:pt x="184" y="16"/>
                            </a:lnTo>
                            <a:lnTo>
                              <a:pt x="157" y="15"/>
                            </a:lnTo>
                            <a:lnTo>
                              <a:pt x="156" y="15"/>
                            </a:lnTo>
                            <a:lnTo>
                              <a:pt x="156" y="14"/>
                            </a:lnTo>
                            <a:lnTo>
                              <a:pt x="143" y="1"/>
                            </a:lnTo>
                            <a:lnTo>
                              <a:pt x="131" y="0"/>
                            </a:lnTo>
                            <a:lnTo>
                              <a:pt x="112" y="7"/>
                            </a:lnTo>
                            <a:lnTo>
                              <a:pt x="83" y="28"/>
                            </a:lnTo>
                            <a:lnTo>
                              <a:pt x="64" y="68"/>
                            </a:lnTo>
                            <a:lnTo>
                              <a:pt x="64" y="70"/>
                            </a:lnTo>
                            <a:lnTo>
                              <a:pt x="63" y="69"/>
                            </a:lnTo>
                            <a:lnTo>
                              <a:pt x="31" y="67"/>
                            </a:lnTo>
                            <a:lnTo>
                              <a:pt x="13" y="77"/>
                            </a:lnTo>
                            <a:lnTo>
                              <a:pt x="0" y="96"/>
                            </a:lnTo>
                            <a:lnTo>
                              <a:pt x="14" y="111"/>
                            </a:lnTo>
                            <a:lnTo>
                              <a:pt x="14" y="111"/>
                            </a:lnTo>
                            <a:lnTo>
                              <a:pt x="14" y="111"/>
                            </a:lnTo>
                            <a:lnTo>
                              <a:pt x="20" y="129"/>
                            </a:lnTo>
                            <a:lnTo>
                              <a:pt x="20" y="130"/>
                            </a:lnTo>
                            <a:lnTo>
                              <a:pt x="20" y="130"/>
                            </a:lnTo>
                            <a:lnTo>
                              <a:pt x="18" y="146"/>
                            </a:lnTo>
                            <a:lnTo>
                              <a:pt x="49" y="146"/>
                            </a:lnTo>
                            <a:lnTo>
                              <a:pt x="51" y="146"/>
                            </a:lnTo>
                            <a:lnTo>
                              <a:pt x="51" y="147"/>
                            </a:lnTo>
                            <a:lnTo>
                              <a:pt x="55" y="185"/>
                            </a:lnTo>
                            <a:lnTo>
                              <a:pt x="55" y="185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42" name="Google Shape;142;p2"/>
                      <p:cNvSpPr/>
                      <p:nvPr/>
                    </p:nvSpPr>
                    <p:spPr>
                      <a:xfrm>
                        <a:off x="631004" y="945993"/>
                        <a:ext cx="206231" cy="27907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01" h="272" extrusionOk="0">
                            <a:moveTo>
                              <a:pt x="185" y="0"/>
                            </a:moveTo>
                            <a:lnTo>
                              <a:pt x="166" y="2"/>
                            </a:lnTo>
                            <a:lnTo>
                              <a:pt x="136" y="26"/>
                            </a:lnTo>
                            <a:lnTo>
                              <a:pt x="118" y="51"/>
                            </a:lnTo>
                            <a:lnTo>
                              <a:pt x="83" y="49"/>
                            </a:lnTo>
                            <a:lnTo>
                              <a:pt x="62" y="83"/>
                            </a:lnTo>
                            <a:lnTo>
                              <a:pt x="38" y="86"/>
                            </a:lnTo>
                            <a:lnTo>
                              <a:pt x="37" y="113"/>
                            </a:lnTo>
                            <a:lnTo>
                              <a:pt x="0" y="137"/>
                            </a:lnTo>
                            <a:lnTo>
                              <a:pt x="3" y="171"/>
                            </a:lnTo>
                            <a:lnTo>
                              <a:pt x="17" y="190"/>
                            </a:lnTo>
                            <a:lnTo>
                              <a:pt x="0" y="210"/>
                            </a:lnTo>
                            <a:lnTo>
                              <a:pt x="4" y="227"/>
                            </a:lnTo>
                            <a:lnTo>
                              <a:pt x="28" y="233"/>
                            </a:lnTo>
                            <a:lnTo>
                              <a:pt x="33" y="258"/>
                            </a:lnTo>
                            <a:lnTo>
                              <a:pt x="26" y="271"/>
                            </a:lnTo>
                            <a:lnTo>
                              <a:pt x="27" y="272"/>
                            </a:lnTo>
                            <a:lnTo>
                              <a:pt x="43" y="268"/>
                            </a:lnTo>
                            <a:lnTo>
                              <a:pt x="43" y="267"/>
                            </a:lnTo>
                            <a:lnTo>
                              <a:pt x="44" y="268"/>
                            </a:lnTo>
                            <a:lnTo>
                              <a:pt x="52" y="272"/>
                            </a:lnTo>
                            <a:lnTo>
                              <a:pt x="82" y="266"/>
                            </a:lnTo>
                            <a:lnTo>
                              <a:pt x="95" y="248"/>
                            </a:lnTo>
                            <a:lnTo>
                              <a:pt x="101" y="220"/>
                            </a:lnTo>
                            <a:lnTo>
                              <a:pt x="101" y="219"/>
                            </a:lnTo>
                            <a:lnTo>
                              <a:pt x="102" y="219"/>
                            </a:lnTo>
                            <a:lnTo>
                              <a:pt x="121" y="200"/>
                            </a:lnTo>
                            <a:lnTo>
                              <a:pt x="124" y="188"/>
                            </a:lnTo>
                            <a:lnTo>
                              <a:pt x="125" y="186"/>
                            </a:lnTo>
                            <a:lnTo>
                              <a:pt x="126" y="186"/>
                            </a:lnTo>
                            <a:lnTo>
                              <a:pt x="137" y="185"/>
                            </a:lnTo>
                            <a:lnTo>
                              <a:pt x="139" y="170"/>
                            </a:lnTo>
                            <a:lnTo>
                              <a:pt x="139" y="168"/>
                            </a:lnTo>
                            <a:lnTo>
                              <a:pt x="140" y="168"/>
                            </a:lnTo>
                            <a:lnTo>
                              <a:pt x="174" y="157"/>
                            </a:lnTo>
                            <a:lnTo>
                              <a:pt x="173" y="112"/>
                            </a:lnTo>
                            <a:lnTo>
                              <a:pt x="173" y="112"/>
                            </a:lnTo>
                            <a:lnTo>
                              <a:pt x="173" y="111"/>
                            </a:lnTo>
                            <a:lnTo>
                              <a:pt x="179" y="96"/>
                            </a:lnTo>
                            <a:lnTo>
                              <a:pt x="179" y="96"/>
                            </a:lnTo>
                            <a:lnTo>
                              <a:pt x="180" y="96"/>
                            </a:lnTo>
                            <a:lnTo>
                              <a:pt x="190" y="87"/>
                            </a:lnTo>
                            <a:lnTo>
                              <a:pt x="201" y="53"/>
                            </a:lnTo>
                            <a:lnTo>
                              <a:pt x="187" y="29"/>
                            </a:lnTo>
                            <a:lnTo>
                              <a:pt x="187" y="29"/>
                            </a:lnTo>
                            <a:lnTo>
                              <a:pt x="187" y="28"/>
                            </a:lnTo>
                            <a:lnTo>
                              <a:pt x="185" y="0"/>
                            </a:lnTo>
                            <a:lnTo>
                              <a:pt x="185" y="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43" name="Google Shape;143;p2"/>
                      <p:cNvSpPr/>
                      <p:nvPr/>
                    </p:nvSpPr>
                    <p:spPr>
                      <a:xfrm>
                        <a:off x="823421" y="899415"/>
                        <a:ext cx="338587" cy="30062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30" h="293" extrusionOk="0">
                            <a:moveTo>
                              <a:pt x="184" y="0"/>
                            </a:moveTo>
                            <a:lnTo>
                              <a:pt x="151" y="1"/>
                            </a:lnTo>
                            <a:lnTo>
                              <a:pt x="111" y="16"/>
                            </a:lnTo>
                            <a:lnTo>
                              <a:pt x="109" y="48"/>
                            </a:lnTo>
                            <a:lnTo>
                              <a:pt x="113" y="63"/>
                            </a:lnTo>
                            <a:lnTo>
                              <a:pt x="101" y="73"/>
                            </a:lnTo>
                            <a:lnTo>
                              <a:pt x="92" y="50"/>
                            </a:lnTo>
                            <a:lnTo>
                              <a:pt x="76" y="49"/>
                            </a:lnTo>
                            <a:lnTo>
                              <a:pt x="51" y="26"/>
                            </a:lnTo>
                            <a:lnTo>
                              <a:pt x="21" y="45"/>
                            </a:lnTo>
                            <a:lnTo>
                              <a:pt x="0" y="48"/>
                            </a:lnTo>
                            <a:lnTo>
                              <a:pt x="1" y="76"/>
                            </a:lnTo>
                            <a:lnTo>
                              <a:pt x="16" y="100"/>
                            </a:lnTo>
                            <a:lnTo>
                              <a:pt x="16" y="100"/>
                            </a:lnTo>
                            <a:lnTo>
                              <a:pt x="16" y="101"/>
                            </a:lnTo>
                            <a:lnTo>
                              <a:pt x="5" y="136"/>
                            </a:lnTo>
                            <a:lnTo>
                              <a:pt x="10" y="153"/>
                            </a:lnTo>
                            <a:lnTo>
                              <a:pt x="30" y="143"/>
                            </a:lnTo>
                            <a:lnTo>
                              <a:pt x="30" y="143"/>
                            </a:lnTo>
                            <a:lnTo>
                              <a:pt x="31" y="143"/>
                            </a:lnTo>
                            <a:lnTo>
                              <a:pt x="44" y="150"/>
                            </a:lnTo>
                            <a:lnTo>
                              <a:pt x="45" y="150"/>
                            </a:lnTo>
                            <a:lnTo>
                              <a:pt x="45" y="150"/>
                            </a:lnTo>
                            <a:lnTo>
                              <a:pt x="55" y="168"/>
                            </a:lnTo>
                            <a:lnTo>
                              <a:pt x="72" y="165"/>
                            </a:lnTo>
                            <a:lnTo>
                              <a:pt x="73" y="165"/>
                            </a:lnTo>
                            <a:lnTo>
                              <a:pt x="74" y="166"/>
                            </a:lnTo>
                            <a:lnTo>
                              <a:pt x="85" y="176"/>
                            </a:lnTo>
                            <a:lnTo>
                              <a:pt x="95" y="177"/>
                            </a:lnTo>
                            <a:lnTo>
                              <a:pt x="99" y="170"/>
                            </a:lnTo>
                            <a:lnTo>
                              <a:pt x="100" y="170"/>
                            </a:lnTo>
                            <a:lnTo>
                              <a:pt x="102" y="170"/>
                            </a:lnTo>
                            <a:lnTo>
                              <a:pt x="120" y="176"/>
                            </a:lnTo>
                            <a:lnTo>
                              <a:pt x="121" y="176"/>
                            </a:lnTo>
                            <a:lnTo>
                              <a:pt x="121" y="178"/>
                            </a:lnTo>
                            <a:lnTo>
                              <a:pt x="123" y="193"/>
                            </a:lnTo>
                            <a:lnTo>
                              <a:pt x="123" y="193"/>
                            </a:lnTo>
                            <a:lnTo>
                              <a:pt x="123" y="194"/>
                            </a:lnTo>
                            <a:lnTo>
                              <a:pt x="117" y="204"/>
                            </a:lnTo>
                            <a:lnTo>
                              <a:pt x="123" y="213"/>
                            </a:lnTo>
                            <a:lnTo>
                              <a:pt x="144" y="214"/>
                            </a:lnTo>
                            <a:lnTo>
                              <a:pt x="145" y="214"/>
                            </a:lnTo>
                            <a:lnTo>
                              <a:pt x="146" y="215"/>
                            </a:lnTo>
                            <a:lnTo>
                              <a:pt x="149" y="226"/>
                            </a:lnTo>
                            <a:lnTo>
                              <a:pt x="161" y="228"/>
                            </a:lnTo>
                            <a:lnTo>
                              <a:pt x="163" y="228"/>
                            </a:lnTo>
                            <a:lnTo>
                              <a:pt x="163" y="230"/>
                            </a:lnTo>
                            <a:lnTo>
                              <a:pt x="159" y="248"/>
                            </a:lnTo>
                            <a:lnTo>
                              <a:pt x="171" y="272"/>
                            </a:lnTo>
                            <a:lnTo>
                              <a:pt x="171" y="272"/>
                            </a:lnTo>
                            <a:lnTo>
                              <a:pt x="171" y="272"/>
                            </a:lnTo>
                            <a:lnTo>
                              <a:pt x="173" y="293"/>
                            </a:lnTo>
                            <a:lnTo>
                              <a:pt x="189" y="284"/>
                            </a:lnTo>
                            <a:lnTo>
                              <a:pt x="190" y="284"/>
                            </a:lnTo>
                            <a:lnTo>
                              <a:pt x="191" y="284"/>
                            </a:lnTo>
                            <a:lnTo>
                              <a:pt x="222" y="287"/>
                            </a:lnTo>
                            <a:lnTo>
                              <a:pt x="240" y="248"/>
                            </a:lnTo>
                            <a:lnTo>
                              <a:pt x="241" y="247"/>
                            </a:lnTo>
                            <a:lnTo>
                              <a:pt x="241" y="247"/>
                            </a:lnTo>
                            <a:lnTo>
                              <a:pt x="271" y="224"/>
                            </a:lnTo>
                            <a:lnTo>
                              <a:pt x="271" y="224"/>
                            </a:lnTo>
                            <a:lnTo>
                              <a:pt x="271" y="224"/>
                            </a:lnTo>
                            <a:lnTo>
                              <a:pt x="290" y="218"/>
                            </a:lnTo>
                            <a:lnTo>
                              <a:pt x="290" y="218"/>
                            </a:lnTo>
                            <a:lnTo>
                              <a:pt x="291" y="218"/>
                            </a:lnTo>
                            <a:lnTo>
                              <a:pt x="316" y="219"/>
                            </a:lnTo>
                            <a:lnTo>
                              <a:pt x="330" y="208"/>
                            </a:lnTo>
                            <a:lnTo>
                              <a:pt x="305" y="175"/>
                            </a:lnTo>
                            <a:lnTo>
                              <a:pt x="289" y="172"/>
                            </a:lnTo>
                            <a:lnTo>
                              <a:pt x="288" y="171"/>
                            </a:lnTo>
                            <a:lnTo>
                              <a:pt x="287" y="170"/>
                            </a:lnTo>
                            <a:lnTo>
                              <a:pt x="280" y="145"/>
                            </a:lnTo>
                            <a:lnTo>
                              <a:pt x="270" y="146"/>
                            </a:lnTo>
                            <a:lnTo>
                              <a:pt x="268" y="161"/>
                            </a:lnTo>
                            <a:lnTo>
                              <a:pt x="268" y="163"/>
                            </a:lnTo>
                            <a:lnTo>
                              <a:pt x="266" y="163"/>
                            </a:lnTo>
                            <a:lnTo>
                              <a:pt x="257" y="161"/>
                            </a:lnTo>
                            <a:lnTo>
                              <a:pt x="257" y="161"/>
                            </a:lnTo>
                            <a:lnTo>
                              <a:pt x="257" y="160"/>
                            </a:lnTo>
                            <a:lnTo>
                              <a:pt x="250" y="150"/>
                            </a:lnTo>
                            <a:lnTo>
                              <a:pt x="242" y="152"/>
                            </a:lnTo>
                            <a:lnTo>
                              <a:pt x="241" y="170"/>
                            </a:lnTo>
                            <a:lnTo>
                              <a:pt x="241" y="172"/>
                            </a:lnTo>
                            <a:lnTo>
                              <a:pt x="239" y="172"/>
                            </a:lnTo>
                            <a:lnTo>
                              <a:pt x="228" y="169"/>
                            </a:lnTo>
                            <a:lnTo>
                              <a:pt x="227" y="169"/>
                            </a:lnTo>
                            <a:lnTo>
                              <a:pt x="227" y="168"/>
                            </a:lnTo>
                            <a:lnTo>
                              <a:pt x="220" y="155"/>
                            </a:lnTo>
                            <a:lnTo>
                              <a:pt x="189" y="155"/>
                            </a:lnTo>
                            <a:lnTo>
                              <a:pt x="188" y="155"/>
                            </a:lnTo>
                            <a:lnTo>
                              <a:pt x="188" y="155"/>
                            </a:lnTo>
                            <a:lnTo>
                              <a:pt x="175" y="136"/>
                            </a:lnTo>
                            <a:lnTo>
                              <a:pt x="146" y="136"/>
                            </a:lnTo>
                            <a:lnTo>
                              <a:pt x="145" y="136"/>
                            </a:lnTo>
                            <a:lnTo>
                              <a:pt x="144" y="135"/>
                            </a:lnTo>
                            <a:lnTo>
                              <a:pt x="136" y="125"/>
                            </a:lnTo>
                            <a:lnTo>
                              <a:pt x="135" y="125"/>
                            </a:lnTo>
                            <a:lnTo>
                              <a:pt x="136" y="123"/>
                            </a:lnTo>
                            <a:lnTo>
                              <a:pt x="187" y="62"/>
                            </a:lnTo>
                            <a:lnTo>
                              <a:pt x="184" y="0"/>
                            </a:lnTo>
                            <a:lnTo>
                              <a:pt x="184" y="0"/>
                            </a:lnTo>
                            <a:close/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44" name="Google Shape;144;p2"/>
                      <p:cNvSpPr/>
                      <p:nvPr/>
                    </p:nvSpPr>
                    <p:spPr>
                      <a:xfrm>
                        <a:off x="1390261" y="534558"/>
                        <a:ext cx="305755" cy="43708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98" h="426" extrusionOk="0">
                            <a:moveTo>
                              <a:pt x="68" y="230"/>
                            </a:moveTo>
                            <a:lnTo>
                              <a:pt x="76" y="179"/>
                            </a:lnTo>
                            <a:lnTo>
                              <a:pt x="88" y="196"/>
                            </a:lnTo>
                            <a:lnTo>
                              <a:pt x="83" y="232"/>
                            </a:lnTo>
                            <a:lnTo>
                              <a:pt x="98" y="263"/>
                            </a:lnTo>
                            <a:lnTo>
                              <a:pt x="102" y="316"/>
                            </a:lnTo>
                            <a:lnTo>
                              <a:pt x="123" y="347"/>
                            </a:lnTo>
                            <a:lnTo>
                              <a:pt x="127" y="380"/>
                            </a:lnTo>
                            <a:lnTo>
                              <a:pt x="204" y="426"/>
                            </a:lnTo>
                            <a:lnTo>
                              <a:pt x="252" y="417"/>
                            </a:lnTo>
                            <a:lnTo>
                              <a:pt x="288" y="369"/>
                            </a:lnTo>
                            <a:lnTo>
                              <a:pt x="298" y="317"/>
                            </a:lnTo>
                            <a:lnTo>
                              <a:pt x="282" y="256"/>
                            </a:lnTo>
                            <a:lnTo>
                              <a:pt x="283" y="167"/>
                            </a:lnTo>
                            <a:lnTo>
                              <a:pt x="273" y="135"/>
                            </a:lnTo>
                            <a:lnTo>
                              <a:pt x="249" y="95"/>
                            </a:lnTo>
                            <a:lnTo>
                              <a:pt x="245" y="65"/>
                            </a:lnTo>
                            <a:lnTo>
                              <a:pt x="256" y="58"/>
                            </a:lnTo>
                            <a:lnTo>
                              <a:pt x="271" y="79"/>
                            </a:lnTo>
                            <a:lnTo>
                              <a:pt x="286" y="69"/>
                            </a:lnTo>
                            <a:lnTo>
                              <a:pt x="272" y="42"/>
                            </a:lnTo>
                            <a:lnTo>
                              <a:pt x="219" y="6"/>
                            </a:lnTo>
                            <a:lnTo>
                              <a:pt x="144" y="0"/>
                            </a:lnTo>
                            <a:lnTo>
                              <a:pt x="130" y="11"/>
                            </a:lnTo>
                            <a:lnTo>
                              <a:pt x="92" y="32"/>
                            </a:lnTo>
                            <a:lnTo>
                              <a:pt x="93" y="62"/>
                            </a:lnTo>
                            <a:lnTo>
                              <a:pt x="67" y="103"/>
                            </a:lnTo>
                            <a:lnTo>
                              <a:pt x="17" y="104"/>
                            </a:lnTo>
                            <a:lnTo>
                              <a:pt x="0" y="125"/>
                            </a:lnTo>
                            <a:lnTo>
                              <a:pt x="37" y="174"/>
                            </a:lnTo>
                            <a:lnTo>
                              <a:pt x="37" y="175"/>
                            </a:lnTo>
                            <a:lnTo>
                              <a:pt x="37" y="176"/>
                            </a:lnTo>
                            <a:lnTo>
                              <a:pt x="32" y="205"/>
                            </a:lnTo>
                            <a:lnTo>
                              <a:pt x="62" y="220"/>
                            </a:lnTo>
                            <a:lnTo>
                              <a:pt x="62" y="220"/>
                            </a:lnTo>
                            <a:lnTo>
                              <a:pt x="63" y="221"/>
                            </a:lnTo>
                            <a:lnTo>
                              <a:pt x="68" y="230"/>
                            </a:lnTo>
                            <a:lnTo>
                              <a:pt x="68" y="23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45" name="Google Shape;145;p2"/>
                      <p:cNvSpPr/>
                      <p:nvPr/>
                    </p:nvSpPr>
                    <p:spPr>
                      <a:xfrm>
                        <a:off x="1017814" y="665889"/>
                        <a:ext cx="441190" cy="49043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30" h="478" extrusionOk="0">
                            <a:moveTo>
                              <a:pt x="339" y="307"/>
                            </a:moveTo>
                            <a:lnTo>
                              <a:pt x="336" y="291"/>
                            </a:lnTo>
                            <a:lnTo>
                              <a:pt x="340" y="277"/>
                            </a:lnTo>
                            <a:lnTo>
                              <a:pt x="326" y="260"/>
                            </a:lnTo>
                            <a:lnTo>
                              <a:pt x="338" y="238"/>
                            </a:lnTo>
                            <a:lnTo>
                              <a:pt x="375" y="193"/>
                            </a:lnTo>
                            <a:lnTo>
                              <a:pt x="405" y="183"/>
                            </a:lnTo>
                            <a:lnTo>
                              <a:pt x="424" y="152"/>
                            </a:lnTo>
                            <a:lnTo>
                              <a:pt x="430" y="108"/>
                            </a:lnTo>
                            <a:lnTo>
                              <a:pt x="423" y="95"/>
                            </a:lnTo>
                            <a:lnTo>
                              <a:pt x="392" y="80"/>
                            </a:lnTo>
                            <a:lnTo>
                              <a:pt x="390" y="79"/>
                            </a:lnTo>
                            <a:lnTo>
                              <a:pt x="390" y="78"/>
                            </a:lnTo>
                            <a:lnTo>
                              <a:pt x="396" y="48"/>
                            </a:lnTo>
                            <a:lnTo>
                              <a:pt x="361" y="0"/>
                            </a:lnTo>
                            <a:lnTo>
                              <a:pt x="319" y="53"/>
                            </a:lnTo>
                            <a:lnTo>
                              <a:pt x="297" y="52"/>
                            </a:lnTo>
                            <a:lnTo>
                              <a:pt x="269" y="71"/>
                            </a:lnTo>
                            <a:lnTo>
                              <a:pt x="250" y="70"/>
                            </a:lnTo>
                            <a:lnTo>
                              <a:pt x="242" y="90"/>
                            </a:lnTo>
                            <a:lnTo>
                              <a:pt x="233" y="106"/>
                            </a:lnTo>
                            <a:lnTo>
                              <a:pt x="217" y="118"/>
                            </a:lnTo>
                            <a:lnTo>
                              <a:pt x="226" y="135"/>
                            </a:lnTo>
                            <a:lnTo>
                              <a:pt x="215" y="146"/>
                            </a:lnTo>
                            <a:lnTo>
                              <a:pt x="178" y="140"/>
                            </a:lnTo>
                            <a:lnTo>
                              <a:pt x="168" y="174"/>
                            </a:lnTo>
                            <a:lnTo>
                              <a:pt x="162" y="227"/>
                            </a:lnTo>
                            <a:lnTo>
                              <a:pt x="140" y="236"/>
                            </a:lnTo>
                            <a:lnTo>
                              <a:pt x="43" y="223"/>
                            </a:lnTo>
                            <a:lnTo>
                              <a:pt x="0" y="225"/>
                            </a:lnTo>
                            <a:lnTo>
                              <a:pt x="1" y="253"/>
                            </a:lnTo>
                            <a:lnTo>
                              <a:pt x="25" y="248"/>
                            </a:lnTo>
                            <a:lnTo>
                              <a:pt x="25" y="248"/>
                            </a:lnTo>
                            <a:lnTo>
                              <a:pt x="25" y="248"/>
                            </a:lnTo>
                            <a:lnTo>
                              <a:pt x="56" y="252"/>
                            </a:lnTo>
                            <a:lnTo>
                              <a:pt x="57" y="252"/>
                            </a:lnTo>
                            <a:lnTo>
                              <a:pt x="57" y="253"/>
                            </a:lnTo>
                            <a:lnTo>
                              <a:pt x="70" y="271"/>
                            </a:lnTo>
                            <a:lnTo>
                              <a:pt x="70" y="271"/>
                            </a:lnTo>
                            <a:lnTo>
                              <a:pt x="70" y="272"/>
                            </a:lnTo>
                            <a:lnTo>
                              <a:pt x="69" y="293"/>
                            </a:lnTo>
                            <a:lnTo>
                              <a:pt x="69" y="294"/>
                            </a:lnTo>
                            <a:lnTo>
                              <a:pt x="69" y="295"/>
                            </a:lnTo>
                            <a:lnTo>
                              <a:pt x="58" y="307"/>
                            </a:lnTo>
                            <a:lnTo>
                              <a:pt x="59" y="331"/>
                            </a:lnTo>
                            <a:lnTo>
                              <a:pt x="59" y="331"/>
                            </a:lnTo>
                            <a:lnTo>
                              <a:pt x="59" y="331"/>
                            </a:lnTo>
                            <a:lnTo>
                              <a:pt x="56" y="353"/>
                            </a:lnTo>
                            <a:lnTo>
                              <a:pt x="56" y="354"/>
                            </a:lnTo>
                            <a:lnTo>
                              <a:pt x="56" y="354"/>
                            </a:lnTo>
                            <a:lnTo>
                              <a:pt x="40" y="366"/>
                            </a:lnTo>
                            <a:lnTo>
                              <a:pt x="35" y="378"/>
                            </a:lnTo>
                            <a:lnTo>
                              <a:pt x="42" y="391"/>
                            </a:lnTo>
                            <a:lnTo>
                              <a:pt x="50" y="393"/>
                            </a:lnTo>
                            <a:lnTo>
                              <a:pt x="51" y="375"/>
                            </a:lnTo>
                            <a:lnTo>
                              <a:pt x="51" y="374"/>
                            </a:lnTo>
                            <a:lnTo>
                              <a:pt x="52" y="374"/>
                            </a:lnTo>
                            <a:lnTo>
                              <a:pt x="63" y="370"/>
                            </a:lnTo>
                            <a:lnTo>
                              <a:pt x="64" y="370"/>
                            </a:lnTo>
                            <a:lnTo>
                              <a:pt x="65" y="371"/>
                            </a:lnTo>
                            <a:lnTo>
                              <a:pt x="71" y="383"/>
                            </a:lnTo>
                            <a:lnTo>
                              <a:pt x="77" y="384"/>
                            </a:lnTo>
                            <a:lnTo>
                              <a:pt x="78" y="369"/>
                            </a:lnTo>
                            <a:lnTo>
                              <a:pt x="79" y="368"/>
                            </a:lnTo>
                            <a:lnTo>
                              <a:pt x="80" y="367"/>
                            </a:lnTo>
                            <a:lnTo>
                              <a:pt x="93" y="366"/>
                            </a:lnTo>
                            <a:lnTo>
                              <a:pt x="94" y="366"/>
                            </a:lnTo>
                            <a:lnTo>
                              <a:pt x="95" y="368"/>
                            </a:lnTo>
                            <a:lnTo>
                              <a:pt x="103" y="393"/>
                            </a:lnTo>
                            <a:lnTo>
                              <a:pt x="118" y="396"/>
                            </a:lnTo>
                            <a:lnTo>
                              <a:pt x="119" y="396"/>
                            </a:lnTo>
                            <a:lnTo>
                              <a:pt x="119" y="397"/>
                            </a:lnTo>
                            <a:lnTo>
                              <a:pt x="144" y="429"/>
                            </a:lnTo>
                            <a:lnTo>
                              <a:pt x="148" y="419"/>
                            </a:lnTo>
                            <a:lnTo>
                              <a:pt x="145" y="388"/>
                            </a:lnTo>
                            <a:lnTo>
                              <a:pt x="145" y="388"/>
                            </a:lnTo>
                            <a:lnTo>
                              <a:pt x="145" y="387"/>
                            </a:lnTo>
                            <a:lnTo>
                              <a:pt x="157" y="365"/>
                            </a:lnTo>
                            <a:lnTo>
                              <a:pt x="157" y="365"/>
                            </a:lnTo>
                            <a:lnTo>
                              <a:pt x="157" y="365"/>
                            </a:lnTo>
                            <a:lnTo>
                              <a:pt x="197" y="321"/>
                            </a:lnTo>
                            <a:lnTo>
                              <a:pt x="198" y="321"/>
                            </a:lnTo>
                            <a:lnTo>
                              <a:pt x="199" y="321"/>
                            </a:lnTo>
                            <a:lnTo>
                              <a:pt x="222" y="326"/>
                            </a:lnTo>
                            <a:lnTo>
                              <a:pt x="223" y="326"/>
                            </a:lnTo>
                            <a:lnTo>
                              <a:pt x="224" y="327"/>
                            </a:lnTo>
                            <a:lnTo>
                              <a:pt x="231" y="341"/>
                            </a:lnTo>
                            <a:lnTo>
                              <a:pt x="232" y="341"/>
                            </a:lnTo>
                            <a:lnTo>
                              <a:pt x="232" y="342"/>
                            </a:lnTo>
                            <a:lnTo>
                              <a:pt x="228" y="366"/>
                            </a:lnTo>
                            <a:lnTo>
                              <a:pt x="227" y="366"/>
                            </a:lnTo>
                            <a:lnTo>
                              <a:pt x="227" y="367"/>
                            </a:lnTo>
                            <a:lnTo>
                              <a:pt x="210" y="384"/>
                            </a:lnTo>
                            <a:lnTo>
                              <a:pt x="180" y="417"/>
                            </a:lnTo>
                            <a:lnTo>
                              <a:pt x="173" y="445"/>
                            </a:lnTo>
                            <a:lnTo>
                              <a:pt x="192" y="445"/>
                            </a:lnTo>
                            <a:lnTo>
                              <a:pt x="194" y="445"/>
                            </a:lnTo>
                            <a:lnTo>
                              <a:pt x="194" y="447"/>
                            </a:lnTo>
                            <a:lnTo>
                              <a:pt x="194" y="472"/>
                            </a:lnTo>
                            <a:lnTo>
                              <a:pt x="210" y="478"/>
                            </a:lnTo>
                            <a:lnTo>
                              <a:pt x="221" y="465"/>
                            </a:lnTo>
                            <a:lnTo>
                              <a:pt x="222" y="464"/>
                            </a:lnTo>
                            <a:lnTo>
                              <a:pt x="222" y="464"/>
                            </a:lnTo>
                            <a:lnTo>
                              <a:pt x="237" y="464"/>
                            </a:lnTo>
                            <a:lnTo>
                              <a:pt x="243" y="438"/>
                            </a:lnTo>
                            <a:lnTo>
                              <a:pt x="243" y="437"/>
                            </a:lnTo>
                            <a:lnTo>
                              <a:pt x="243" y="437"/>
                            </a:lnTo>
                            <a:lnTo>
                              <a:pt x="271" y="409"/>
                            </a:lnTo>
                            <a:lnTo>
                              <a:pt x="264" y="398"/>
                            </a:lnTo>
                            <a:lnTo>
                              <a:pt x="264" y="398"/>
                            </a:lnTo>
                            <a:lnTo>
                              <a:pt x="255" y="383"/>
                            </a:lnTo>
                            <a:lnTo>
                              <a:pt x="255" y="382"/>
                            </a:lnTo>
                            <a:lnTo>
                              <a:pt x="255" y="381"/>
                            </a:lnTo>
                            <a:lnTo>
                              <a:pt x="261" y="360"/>
                            </a:lnTo>
                            <a:lnTo>
                              <a:pt x="262" y="359"/>
                            </a:lnTo>
                            <a:lnTo>
                              <a:pt x="262" y="359"/>
                            </a:lnTo>
                            <a:lnTo>
                              <a:pt x="288" y="332"/>
                            </a:lnTo>
                            <a:lnTo>
                              <a:pt x="291" y="318"/>
                            </a:lnTo>
                            <a:lnTo>
                              <a:pt x="291" y="316"/>
                            </a:lnTo>
                            <a:lnTo>
                              <a:pt x="293" y="317"/>
                            </a:lnTo>
                            <a:lnTo>
                              <a:pt x="311" y="321"/>
                            </a:lnTo>
                            <a:lnTo>
                              <a:pt x="322" y="324"/>
                            </a:lnTo>
                            <a:lnTo>
                              <a:pt x="336" y="309"/>
                            </a:lnTo>
                            <a:lnTo>
                              <a:pt x="336" y="308"/>
                            </a:lnTo>
                            <a:lnTo>
                              <a:pt x="337" y="308"/>
                            </a:lnTo>
                            <a:lnTo>
                              <a:pt x="339" y="307"/>
                            </a:lnTo>
                            <a:lnTo>
                              <a:pt x="339" y="307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46" name="Google Shape;146;p2"/>
                      <p:cNvSpPr/>
                      <p:nvPr/>
                    </p:nvSpPr>
                    <p:spPr>
                      <a:xfrm>
                        <a:off x="1436432" y="1187108"/>
                        <a:ext cx="909056" cy="51711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86" h="504" extrusionOk="0">
                            <a:moveTo>
                              <a:pt x="347" y="0"/>
                            </a:moveTo>
                            <a:lnTo>
                              <a:pt x="310" y="46"/>
                            </a:lnTo>
                            <a:lnTo>
                              <a:pt x="323" y="66"/>
                            </a:lnTo>
                            <a:lnTo>
                              <a:pt x="324" y="67"/>
                            </a:lnTo>
                            <a:lnTo>
                              <a:pt x="323" y="68"/>
                            </a:lnTo>
                            <a:lnTo>
                              <a:pt x="315" y="83"/>
                            </a:lnTo>
                            <a:lnTo>
                              <a:pt x="321" y="108"/>
                            </a:lnTo>
                            <a:lnTo>
                              <a:pt x="321" y="109"/>
                            </a:lnTo>
                            <a:lnTo>
                              <a:pt x="320" y="110"/>
                            </a:lnTo>
                            <a:lnTo>
                              <a:pt x="297" y="123"/>
                            </a:lnTo>
                            <a:lnTo>
                              <a:pt x="296" y="124"/>
                            </a:lnTo>
                            <a:lnTo>
                              <a:pt x="295" y="123"/>
                            </a:lnTo>
                            <a:lnTo>
                              <a:pt x="265" y="104"/>
                            </a:lnTo>
                            <a:lnTo>
                              <a:pt x="236" y="105"/>
                            </a:lnTo>
                            <a:lnTo>
                              <a:pt x="234" y="106"/>
                            </a:lnTo>
                            <a:lnTo>
                              <a:pt x="234" y="104"/>
                            </a:lnTo>
                            <a:lnTo>
                              <a:pt x="229" y="83"/>
                            </a:lnTo>
                            <a:lnTo>
                              <a:pt x="157" y="27"/>
                            </a:lnTo>
                            <a:lnTo>
                              <a:pt x="149" y="39"/>
                            </a:lnTo>
                            <a:lnTo>
                              <a:pt x="169" y="72"/>
                            </a:lnTo>
                            <a:lnTo>
                              <a:pt x="169" y="73"/>
                            </a:lnTo>
                            <a:lnTo>
                              <a:pt x="169" y="74"/>
                            </a:lnTo>
                            <a:lnTo>
                              <a:pt x="163" y="102"/>
                            </a:lnTo>
                            <a:lnTo>
                              <a:pt x="163" y="102"/>
                            </a:lnTo>
                            <a:lnTo>
                              <a:pt x="163" y="103"/>
                            </a:lnTo>
                            <a:lnTo>
                              <a:pt x="145" y="120"/>
                            </a:lnTo>
                            <a:lnTo>
                              <a:pt x="153" y="133"/>
                            </a:lnTo>
                            <a:lnTo>
                              <a:pt x="154" y="133"/>
                            </a:lnTo>
                            <a:lnTo>
                              <a:pt x="154" y="134"/>
                            </a:lnTo>
                            <a:lnTo>
                              <a:pt x="155" y="149"/>
                            </a:lnTo>
                            <a:lnTo>
                              <a:pt x="155" y="151"/>
                            </a:lnTo>
                            <a:lnTo>
                              <a:pt x="153" y="151"/>
                            </a:lnTo>
                            <a:lnTo>
                              <a:pt x="125" y="152"/>
                            </a:lnTo>
                            <a:lnTo>
                              <a:pt x="102" y="181"/>
                            </a:lnTo>
                            <a:lnTo>
                              <a:pt x="101" y="199"/>
                            </a:lnTo>
                            <a:lnTo>
                              <a:pt x="128" y="210"/>
                            </a:lnTo>
                            <a:lnTo>
                              <a:pt x="139" y="197"/>
                            </a:lnTo>
                            <a:lnTo>
                              <a:pt x="139" y="196"/>
                            </a:lnTo>
                            <a:lnTo>
                              <a:pt x="140" y="196"/>
                            </a:lnTo>
                            <a:lnTo>
                              <a:pt x="166" y="187"/>
                            </a:lnTo>
                            <a:lnTo>
                              <a:pt x="167" y="187"/>
                            </a:lnTo>
                            <a:lnTo>
                              <a:pt x="168" y="188"/>
                            </a:lnTo>
                            <a:lnTo>
                              <a:pt x="184" y="220"/>
                            </a:lnTo>
                            <a:lnTo>
                              <a:pt x="184" y="221"/>
                            </a:lnTo>
                            <a:lnTo>
                              <a:pt x="184" y="222"/>
                            </a:lnTo>
                            <a:lnTo>
                              <a:pt x="124" y="270"/>
                            </a:lnTo>
                            <a:lnTo>
                              <a:pt x="123" y="295"/>
                            </a:lnTo>
                            <a:lnTo>
                              <a:pt x="123" y="296"/>
                            </a:lnTo>
                            <a:lnTo>
                              <a:pt x="122" y="297"/>
                            </a:lnTo>
                            <a:lnTo>
                              <a:pt x="101" y="313"/>
                            </a:lnTo>
                            <a:lnTo>
                              <a:pt x="101" y="313"/>
                            </a:lnTo>
                            <a:lnTo>
                              <a:pt x="100" y="313"/>
                            </a:lnTo>
                            <a:lnTo>
                              <a:pt x="74" y="302"/>
                            </a:lnTo>
                            <a:lnTo>
                              <a:pt x="56" y="317"/>
                            </a:lnTo>
                            <a:lnTo>
                              <a:pt x="0" y="379"/>
                            </a:lnTo>
                            <a:lnTo>
                              <a:pt x="6" y="392"/>
                            </a:lnTo>
                            <a:lnTo>
                              <a:pt x="6" y="392"/>
                            </a:lnTo>
                            <a:lnTo>
                              <a:pt x="6" y="393"/>
                            </a:lnTo>
                            <a:lnTo>
                              <a:pt x="6" y="433"/>
                            </a:lnTo>
                            <a:lnTo>
                              <a:pt x="15" y="441"/>
                            </a:lnTo>
                            <a:lnTo>
                              <a:pt x="38" y="415"/>
                            </a:lnTo>
                            <a:lnTo>
                              <a:pt x="39" y="414"/>
                            </a:lnTo>
                            <a:lnTo>
                              <a:pt x="40" y="414"/>
                            </a:lnTo>
                            <a:lnTo>
                              <a:pt x="110" y="441"/>
                            </a:lnTo>
                            <a:lnTo>
                              <a:pt x="134" y="430"/>
                            </a:lnTo>
                            <a:lnTo>
                              <a:pt x="147" y="396"/>
                            </a:lnTo>
                            <a:lnTo>
                              <a:pt x="148" y="395"/>
                            </a:lnTo>
                            <a:lnTo>
                              <a:pt x="149" y="395"/>
                            </a:lnTo>
                            <a:lnTo>
                              <a:pt x="195" y="399"/>
                            </a:lnTo>
                            <a:lnTo>
                              <a:pt x="196" y="399"/>
                            </a:lnTo>
                            <a:lnTo>
                              <a:pt x="197" y="400"/>
                            </a:lnTo>
                            <a:lnTo>
                              <a:pt x="231" y="439"/>
                            </a:lnTo>
                            <a:lnTo>
                              <a:pt x="268" y="458"/>
                            </a:lnTo>
                            <a:lnTo>
                              <a:pt x="321" y="464"/>
                            </a:lnTo>
                            <a:lnTo>
                              <a:pt x="342" y="453"/>
                            </a:lnTo>
                            <a:lnTo>
                              <a:pt x="343" y="452"/>
                            </a:lnTo>
                            <a:lnTo>
                              <a:pt x="344" y="453"/>
                            </a:lnTo>
                            <a:lnTo>
                              <a:pt x="401" y="499"/>
                            </a:lnTo>
                            <a:lnTo>
                              <a:pt x="435" y="504"/>
                            </a:lnTo>
                            <a:lnTo>
                              <a:pt x="499" y="396"/>
                            </a:lnTo>
                            <a:lnTo>
                              <a:pt x="499" y="396"/>
                            </a:lnTo>
                            <a:lnTo>
                              <a:pt x="499" y="396"/>
                            </a:lnTo>
                            <a:lnTo>
                              <a:pt x="546" y="354"/>
                            </a:lnTo>
                            <a:lnTo>
                              <a:pt x="554" y="328"/>
                            </a:lnTo>
                            <a:lnTo>
                              <a:pt x="554" y="327"/>
                            </a:lnTo>
                            <a:lnTo>
                              <a:pt x="554" y="327"/>
                            </a:lnTo>
                            <a:lnTo>
                              <a:pt x="601" y="285"/>
                            </a:lnTo>
                            <a:lnTo>
                              <a:pt x="603" y="284"/>
                            </a:lnTo>
                            <a:lnTo>
                              <a:pt x="603" y="285"/>
                            </a:lnTo>
                            <a:lnTo>
                              <a:pt x="613" y="300"/>
                            </a:lnTo>
                            <a:lnTo>
                              <a:pt x="639" y="299"/>
                            </a:lnTo>
                            <a:lnTo>
                              <a:pt x="670" y="272"/>
                            </a:lnTo>
                            <a:lnTo>
                              <a:pt x="671" y="271"/>
                            </a:lnTo>
                            <a:lnTo>
                              <a:pt x="672" y="271"/>
                            </a:lnTo>
                            <a:lnTo>
                              <a:pt x="719" y="271"/>
                            </a:lnTo>
                            <a:lnTo>
                              <a:pt x="753" y="242"/>
                            </a:lnTo>
                            <a:lnTo>
                              <a:pt x="754" y="242"/>
                            </a:lnTo>
                            <a:lnTo>
                              <a:pt x="755" y="242"/>
                            </a:lnTo>
                            <a:lnTo>
                              <a:pt x="822" y="239"/>
                            </a:lnTo>
                            <a:lnTo>
                              <a:pt x="840" y="218"/>
                            </a:lnTo>
                            <a:lnTo>
                              <a:pt x="840" y="217"/>
                            </a:lnTo>
                            <a:lnTo>
                              <a:pt x="841" y="217"/>
                            </a:lnTo>
                            <a:lnTo>
                              <a:pt x="868" y="208"/>
                            </a:lnTo>
                            <a:lnTo>
                              <a:pt x="884" y="184"/>
                            </a:lnTo>
                            <a:lnTo>
                              <a:pt x="873" y="150"/>
                            </a:lnTo>
                            <a:lnTo>
                              <a:pt x="873" y="149"/>
                            </a:lnTo>
                            <a:lnTo>
                              <a:pt x="873" y="148"/>
                            </a:lnTo>
                            <a:lnTo>
                              <a:pt x="886" y="126"/>
                            </a:lnTo>
                            <a:lnTo>
                              <a:pt x="873" y="123"/>
                            </a:lnTo>
                            <a:lnTo>
                              <a:pt x="864" y="136"/>
                            </a:lnTo>
                            <a:lnTo>
                              <a:pt x="864" y="137"/>
                            </a:lnTo>
                            <a:lnTo>
                              <a:pt x="863" y="137"/>
                            </a:lnTo>
                            <a:lnTo>
                              <a:pt x="847" y="137"/>
                            </a:lnTo>
                            <a:lnTo>
                              <a:pt x="826" y="157"/>
                            </a:lnTo>
                            <a:lnTo>
                              <a:pt x="825" y="157"/>
                            </a:lnTo>
                            <a:lnTo>
                              <a:pt x="824" y="157"/>
                            </a:lnTo>
                            <a:lnTo>
                              <a:pt x="799" y="151"/>
                            </a:lnTo>
                            <a:lnTo>
                              <a:pt x="780" y="173"/>
                            </a:lnTo>
                            <a:lnTo>
                              <a:pt x="780" y="174"/>
                            </a:lnTo>
                            <a:lnTo>
                              <a:pt x="779" y="174"/>
                            </a:lnTo>
                            <a:lnTo>
                              <a:pt x="722" y="178"/>
                            </a:lnTo>
                            <a:lnTo>
                              <a:pt x="722" y="178"/>
                            </a:lnTo>
                            <a:lnTo>
                              <a:pt x="721" y="178"/>
                            </a:lnTo>
                            <a:lnTo>
                              <a:pt x="477" y="3"/>
                            </a:lnTo>
                            <a:lnTo>
                              <a:pt x="453" y="10"/>
                            </a:lnTo>
                            <a:lnTo>
                              <a:pt x="453" y="11"/>
                            </a:lnTo>
                            <a:lnTo>
                              <a:pt x="452" y="11"/>
                            </a:lnTo>
                            <a:lnTo>
                              <a:pt x="347" y="0"/>
                            </a:lnTo>
                            <a:lnTo>
                              <a:pt x="347" y="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47" name="Google Shape;147;p2"/>
                      <p:cNvSpPr/>
                      <p:nvPr/>
                    </p:nvSpPr>
                    <p:spPr>
                      <a:xfrm>
                        <a:off x="1408729" y="894692"/>
                        <a:ext cx="18468" cy="2462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8" h="24" extrusionOk="0">
                            <a:moveTo>
                              <a:pt x="0" y="16"/>
                            </a:moveTo>
                            <a:lnTo>
                              <a:pt x="8" y="24"/>
                            </a:lnTo>
                            <a:lnTo>
                              <a:pt x="18" y="17"/>
                            </a:lnTo>
                            <a:lnTo>
                              <a:pt x="15" y="5"/>
                            </a:lnTo>
                            <a:lnTo>
                              <a:pt x="7" y="0"/>
                            </a:lnTo>
                            <a:lnTo>
                              <a:pt x="1" y="8"/>
                            </a:lnTo>
                            <a:lnTo>
                              <a:pt x="0" y="16"/>
                            </a:lnTo>
                            <a:lnTo>
                              <a:pt x="0" y="16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48" name="Google Shape;148;p2"/>
                      <p:cNvSpPr/>
                      <p:nvPr/>
                    </p:nvSpPr>
                    <p:spPr>
                      <a:xfrm>
                        <a:off x="2160803" y="904952"/>
                        <a:ext cx="15391" cy="3488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5" h="34" extrusionOk="0">
                            <a:moveTo>
                              <a:pt x="2" y="34"/>
                            </a:moveTo>
                            <a:lnTo>
                              <a:pt x="15" y="24"/>
                            </a:lnTo>
                            <a:lnTo>
                              <a:pt x="15" y="4"/>
                            </a:lnTo>
                            <a:lnTo>
                              <a:pt x="0" y="0"/>
                            </a:lnTo>
                            <a:lnTo>
                              <a:pt x="2" y="34"/>
                            </a:lnTo>
                            <a:lnTo>
                              <a:pt x="2" y="34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49" name="Google Shape;149;p2"/>
                      <p:cNvSpPr/>
                      <p:nvPr/>
                    </p:nvSpPr>
                    <p:spPr>
                      <a:xfrm>
                        <a:off x="1703197" y="902900"/>
                        <a:ext cx="667941" cy="46376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651" h="452" extrusionOk="0">
                            <a:moveTo>
                              <a:pt x="651" y="332"/>
                            </a:moveTo>
                            <a:lnTo>
                              <a:pt x="632" y="297"/>
                            </a:lnTo>
                            <a:lnTo>
                              <a:pt x="583" y="244"/>
                            </a:lnTo>
                            <a:lnTo>
                              <a:pt x="545" y="244"/>
                            </a:lnTo>
                            <a:lnTo>
                              <a:pt x="540" y="266"/>
                            </a:lnTo>
                            <a:lnTo>
                              <a:pt x="540" y="298"/>
                            </a:lnTo>
                            <a:lnTo>
                              <a:pt x="513" y="314"/>
                            </a:lnTo>
                            <a:lnTo>
                              <a:pt x="498" y="311"/>
                            </a:lnTo>
                            <a:lnTo>
                              <a:pt x="488" y="326"/>
                            </a:lnTo>
                            <a:lnTo>
                              <a:pt x="469" y="311"/>
                            </a:lnTo>
                            <a:lnTo>
                              <a:pt x="491" y="291"/>
                            </a:lnTo>
                            <a:lnTo>
                              <a:pt x="491" y="269"/>
                            </a:lnTo>
                            <a:lnTo>
                              <a:pt x="421" y="268"/>
                            </a:lnTo>
                            <a:lnTo>
                              <a:pt x="387" y="243"/>
                            </a:lnTo>
                            <a:lnTo>
                              <a:pt x="333" y="248"/>
                            </a:lnTo>
                            <a:lnTo>
                              <a:pt x="314" y="222"/>
                            </a:lnTo>
                            <a:lnTo>
                              <a:pt x="346" y="219"/>
                            </a:lnTo>
                            <a:lnTo>
                              <a:pt x="363" y="187"/>
                            </a:lnTo>
                            <a:lnTo>
                              <a:pt x="320" y="177"/>
                            </a:lnTo>
                            <a:lnTo>
                              <a:pt x="300" y="200"/>
                            </a:lnTo>
                            <a:lnTo>
                              <a:pt x="291" y="183"/>
                            </a:lnTo>
                            <a:lnTo>
                              <a:pt x="182" y="156"/>
                            </a:lnTo>
                            <a:lnTo>
                              <a:pt x="168" y="170"/>
                            </a:lnTo>
                            <a:lnTo>
                              <a:pt x="152" y="155"/>
                            </a:lnTo>
                            <a:lnTo>
                              <a:pt x="95" y="188"/>
                            </a:lnTo>
                            <a:lnTo>
                              <a:pt x="66" y="160"/>
                            </a:lnTo>
                            <a:lnTo>
                              <a:pt x="74" y="134"/>
                            </a:lnTo>
                            <a:lnTo>
                              <a:pt x="66" y="109"/>
                            </a:lnTo>
                            <a:lnTo>
                              <a:pt x="101" y="97"/>
                            </a:lnTo>
                            <a:lnTo>
                              <a:pt x="134" y="119"/>
                            </a:lnTo>
                            <a:lnTo>
                              <a:pt x="150" y="94"/>
                            </a:lnTo>
                            <a:lnTo>
                              <a:pt x="148" y="47"/>
                            </a:lnTo>
                            <a:lnTo>
                              <a:pt x="105" y="0"/>
                            </a:lnTo>
                            <a:lnTo>
                              <a:pt x="92" y="46"/>
                            </a:lnTo>
                            <a:lnTo>
                              <a:pt x="33" y="85"/>
                            </a:lnTo>
                            <a:lnTo>
                              <a:pt x="28" y="115"/>
                            </a:lnTo>
                            <a:lnTo>
                              <a:pt x="0" y="140"/>
                            </a:lnTo>
                            <a:lnTo>
                              <a:pt x="11" y="199"/>
                            </a:lnTo>
                            <a:lnTo>
                              <a:pt x="42" y="246"/>
                            </a:lnTo>
                            <a:lnTo>
                              <a:pt x="70" y="249"/>
                            </a:lnTo>
                            <a:lnTo>
                              <a:pt x="71" y="249"/>
                            </a:lnTo>
                            <a:lnTo>
                              <a:pt x="72" y="250"/>
                            </a:lnTo>
                            <a:lnTo>
                              <a:pt x="87" y="272"/>
                            </a:lnTo>
                            <a:lnTo>
                              <a:pt x="192" y="284"/>
                            </a:lnTo>
                            <a:lnTo>
                              <a:pt x="216" y="277"/>
                            </a:lnTo>
                            <a:lnTo>
                              <a:pt x="217" y="276"/>
                            </a:lnTo>
                            <a:lnTo>
                              <a:pt x="218" y="277"/>
                            </a:lnTo>
                            <a:lnTo>
                              <a:pt x="463" y="452"/>
                            </a:lnTo>
                            <a:lnTo>
                              <a:pt x="518" y="447"/>
                            </a:lnTo>
                            <a:lnTo>
                              <a:pt x="537" y="425"/>
                            </a:lnTo>
                            <a:lnTo>
                              <a:pt x="538" y="424"/>
                            </a:lnTo>
                            <a:lnTo>
                              <a:pt x="539" y="424"/>
                            </a:lnTo>
                            <a:lnTo>
                              <a:pt x="564" y="430"/>
                            </a:lnTo>
                            <a:lnTo>
                              <a:pt x="585" y="411"/>
                            </a:lnTo>
                            <a:lnTo>
                              <a:pt x="585" y="410"/>
                            </a:lnTo>
                            <a:lnTo>
                              <a:pt x="586" y="410"/>
                            </a:lnTo>
                            <a:lnTo>
                              <a:pt x="602" y="410"/>
                            </a:lnTo>
                            <a:lnTo>
                              <a:pt x="610" y="398"/>
                            </a:lnTo>
                            <a:lnTo>
                              <a:pt x="611" y="397"/>
                            </a:lnTo>
                            <a:lnTo>
                              <a:pt x="612" y="397"/>
                            </a:lnTo>
                            <a:lnTo>
                              <a:pt x="628" y="400"/>
                            </a:lnTo>
                            <a:lnTo>
                              <a:pt x="640" y="377"/>
                            </a:lnTo>
                            <a:lnTo>
                              <a:pt x="627" y="354"/>
                            </a:lnTo>
                            <a:lnTo>
                              <a:pt x="626" y="352"/>
                            </a:lnTo>
                            <a:lnTo>
                              <a:pt x="628" y="351"/>
                            </a:lnTo>
                            <a:lnTo>
                              <a:pt x="651" y="332"/>
                            </a:lnTo>
                            <a:lnTo>
                              <a:pt x="651" y="332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50" name="Google Shape;150;p2"/>
                      <p:cNvSpPr/>
                      <p:nvPr/>
                    </p:nvSpPr>
                    <p:spPr>
                      <a:xfrm>
                        <a:off x="2241860" y="1076298"/>
                        <a:ext cx="41041" cy="6464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0" h="63" extrusionOk="0">
                            <a:moveTo>
                              <a:pt x="40" y="60"/>
                            </a:moveTo>
                            <a:lnTo>
                              <a:pt x="17" y="63"/>
                            </a:lnTo>
                            <a:lnTo>
                              <a:pt x="0" y="34"/>
                            </a:lnTo>
                            <a:lnTo>
                              <a:pt x="5" y="7"/>
                            </a:lnTo>
                            <a:lnTo>
                              <a:pt x="32" y="0"/>
                            </a:lnTo>
                            <a:lnTo>
                              <a:pt x="40" y="30"/>
                            </a:lnTo>
                            <a:lnTo>
                              <a:pt x="40" y="60"/>
                            </a:lnTo>
                            <a:lnTo>
                              <a:pt x="40" y="6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51" name="Google Shape;151;p2"/>
                      <p:cNvSpPr/>
                      <p:nvPr/>
                    </p:nvSpPr>
                    <p:spPr>
                      <a:xfrm>
                        <a:off x="1934053" y="960358"/>
                        <a:ext cx="63613" cy="6258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62" h="61" extrusionOk="0">
                            <a:moveTo>
                              <a:pt x="0" y="37"/>
                            </a:moveTo>
                            <a:lnTo>
                              <a:pt x="17" y="60"/>
                            </a:lnTo>
                            <a:lnTo>
                              <a:pt x="57" y="61"/>
                            </a:lnTo>
                            <a:lnTo>
                              <a:pt x="62" y="46"/>
                            </a:lnTo>
                            <a:lnTo>
                              <a:pt x="59" y="24"/>
                            </a:lnTo>
                            <a:lnTo>
                              <a:pt x="38" y="0"/>
                            </a:lnTo>
                            <a:lnTo>
                              <a:pt x="8" y="11"/>
                            </a:lnTo>
                            <a:lnTo>
                              <a:pt x="0" y="37"/>
                            </a:lnTo>
                            <a:lnTo>
                              <a:pt x="0" y="37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52" name="Google Shape;152;p2"/>
                      <p:cNvSpPr/>
                      <p:nvPr/>
                    </p:nvSpPr>
                    <p:spPr>
                      <a:xfrm>
                        <a:off x="2164908" y="662811"/>
                        <a:ext cx="587911" cy="36629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73" h="357" extrusionOk="0">
                            <a:moveTo>
                              <a:pt x="73" y="357"/>
                            </a:moveTo>
                            <a:lnTo>
                              <a:pt x="82" y="270"/>
                            </a:lnTo>
                            <a:lnTo>
                              <a:pt x="89" y="236"/>
                            </a:lnTo>
                            <a:lnTo>
                              <a:pt x="118" y="205"/>
                            </a:lnTo>
                            <a:lnTo>
                              <a:pt x="153" y="193"/>
                            </a:lnTo>
                            <a:lnTo>
                              <a:pt x="166" y="174"/>
                            </a:lnTo>
                            <a:lnTo>
                              <a:pt x="158" y="149"/>
                            </a:lnTo>
                            <a:lnTo>
                              <a:pt x="184" y="166"/>
                            </a:lnTo>
                            <a:lnTo>
                              <a:pt x="207" y="163"/>
                            </a:lnTo>
                            <a:lnTo>
                              <a:pt x="213" y="146"/>
                            </a:lnTo>
                            <a:lnTo>
                              <a:pt x="228" y="147"/>
                            </a:lnTo>
                            <a:lnTo>
                              <a:pt x="228" y="130"/>
                            </a:lnTo>
                            <a:lnTo>
                              <a:pt x="247" y="137"/>
                            </a:lnTo>
                            <a:lnTo>
                              <a:pt x="251" y="119"/>
                            </a:lnTo>
                            <a:lnTo>
                              <a:pt x="264" y="134"/>
                            </a:lnTo>
                            <a:lnTo>
                              <a:pt x="275" y="121"/>
                            </a:lnTo>
                            <a:lnTo>
                              <a:pt x="278" y="100"/>
                            </a:lnTo>
                            <a:lnTo>
                              <a:pt x="298" y="113"/>
                            </a:lnTo>
                            <a:lnTo>
                              <a:pt x="311" y="102"/>
                            </a:lnTo>
                            <a:lnTo>
                              <a:pt x="337" y="108"/>
                            </a:lnTo>
                            <a:lnTo>
                              <a:pt x="359" y="83"/>
                            </a:lnTo>
                            <a:lnTo>
                              <a:pt x="528" y="79"/>
                            </a:lnTo>
                            <a:lnTo>
                              <a:pt x="568" y="57"/>
                            </a:lnTo>
                            <a:lnTo>
                              <a:pt x="573" y="27"/>
                            </a:lnTo>
                            <a:lnTo>
                              <a:pt x="555" y="6"/>
                            </a:lnTo>
                            <a:lnTo>
                              <a:pt x="515" y="17"/>
                            </a:lnTo>
                            <a:lnTo>
                              <a:pt x="508" y="32"/>
                            </a:lnTo>
                            <a:lnTo>
                              <a:pt x="439" y="26"/>
                            </a:lnTo>
                            <a:lnTo>
                              <a:pt x="409" y="0"/>
                            </a:lnTo>
                            <a:lnTo>
                              <a:pt x="382" y="15"/>
                            </a:lnTo>
                            <a:lnTo>
                              <a:pt x="356" y="4"/>
                            </a:lnTo>
                            <a:lnTo>
                              <a:pt x="322" y="26"/>
                            </a:lnTo>
                            <a:lnTo>
                              <a:pt x="294" y="26"/>
                            </a:lnTo>
                            <a:lnTo>
                              <a:pt x="281" y="38"/>
                            </a:lnTo>
                            <a:lnTo>
                              <a:pt x="262" y="18"/>
                            </a:lnTo>
                            <a:lnTo>
                              <a:pt x="253" y="58"/>
                            </a:lnTo>
                            <a:lnTo>
                              <a:pt x="232" y="59"/>
                            </a:lnTo>
                            <a:lnTo>
                              <a:pt x="230" y="75"/>
                            </a:lnTo>
                            <a:lnTo>
                              <a:pt x="178" y="92"/>
                            </a:lnTo>
                            <a:lnTo>
                              <a:pt x="159" y="83"/>
                            </a:lnTo>
                            <a:lnTo>
                              <a:pt x="148" y="98"/>
                            </a:lnTo>
                            <a:lnTo>
                              <a:pt x="163" y="112"/>
                            </a:lnTo>
                            <a:lnTo>
                              <a:pt x="142" y="132"/>
                            </a:lnTo>
                            <a:lnTo>
                              <a:pt x="109" y="118"/>
                            </a:lnTo>
                            <a:lnTo>
                              <a:pt x="104" y="144"/>
                            </a:lnTo>
                            <a:lnTo>
                              <a:pt x="80" y="142"/>
                            </a:lnTo>
                            <a:lnTo>
                              <a:pt x="79" y="162"/>
                            </a:lnTo>
                            <a:lnTo>
                              <a:pt x="45" y="179"/>
                            </a:lnTo>
                            <a:lnTo>
                              <a:pt x="24" y="172"/>
                            </a:lnTo>
                            <a:lnTo>
                              <a:pt x="1" y="190"/>
                            </a:lnTo>
                            <a:lnTo>
                              <a:pt x="0" y="215"/>
                            </a:lnTo>
                            <a:lnTo>
                              <a:pt x="22" y="237"/>
                            </a:lnTo>
                            <a:lnTo>
                              <a:pt x="23" y="270"/>
                            </a:lnTo>
                            <a:lnTo>
                              <a:pt x="2" y="291"/>
                            </a:lnTo>
                            <a:lnTo>
                              <a:pt x="19" y="327"/>
                            </a:lnTo>
                            <a:lnTo>
                              <a:pt x="37" y="329"/>
                            </a:lnTo>
                            <a:lnTo>
                              <a:pt x="38" y="346"/>
                            </a:lnTo>
                            <a:lnTo>
                              <a:pt x="59" y="350"/>
                            </a:lnTo>
                            <a:lnTo>
                              <a:pt x="73" y="357"/>
                            </a:lnTo>
                            <a:lnTo>
                              <a:pt x="73" y="357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53" name="Google Shape;153;p2"/>
                      <p:cNvSpPr/>
                      <p:nvPr/>
                    </p:nvSpPr>
                    <p:spPr>
                      <a:xfrm>
                        <a:off x="1204550" y="939837"/>
                        <a:ext cx="584833" cy="568417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70" h="554" extrusionOk="0">
                            <a:moveTo>
                              <a:pt x="483" y="107"/>
                            </a:moveTo>
                            <a:lnTo>
                              <a:pt x="453" y="134"/>
                            </a:lnTo>
                            <a:lnTo>
                              <a:pt x="439" y="108"/>
                            </a:lnTo>
                            <a:lnTo>
                              <a:pt x="459" y="104"/>
                            </a:lnTo>
                            <a:lnTo>
                              <a:pt x="434" y="58"/>
                            </a:lnTo>
                            <a:lnTo>
                              <a:pt x="396" y="64"/>
                            </a:lnTo>
                            <a:lnTo>
                              <a:pt x="359" y="51"/>
                            </a:lnTo>
                            <a:lnTo>
                              <a:pt x="312" y="58"/>
                            </a:lnTo>
                            <a:lnTo>
                              <a:pt x="287" y="122"/>
                            </a:lnTo>
                            <a:lnTo>
                              <a:pt x="268" y="111"/>
                            </a:lnTo>
                            <a:lnTo>
                              <a:pt x="242" y="49"/>
                            </a:lnTo>
                            <a:lnTo>
                              <a:pt x="245" y="0"/>
                            </a:lnTo>
                            <a:lnTo>
                              <a:pt x="202" y="5"/>
                            </a:lnTo>
                            <a:lnTo>
                              <a:pt x="190" y="47"/>
                            </a:lnTo>
                            <a:lnTo>
                              <a:pt x="209" y="69"/>
                            </a:lnTo>
                            <a:lnTo>
                              <a:pt x="191" y="93"/>
                            </a:lnTo>
                            <a:lnTo>
                              <a:pt x="163" y="78"/>
                            </a:lnTo>
                            <a:lnTo>
                              <a:pt x="158" y="44"/>
                            </a:lnTo>
                            <a:lnTo>
                              <a:pt x="157" y="44"/>
                            </a:lnTo>
                            <a:lnTo>
                              <a:pt x="142" y="60"/>
                            </a:lnTo>
                            <a:lnTo>
                              <a:pt x="141" y="61"/>
                            </a:lnTo>
                            <a:lnTo>
                              <a:pt x="140" y="61"/>
                            </a:lnTo>
                            <a:lnTo>
                              <a:pt x="128" y="58"/>
                            </a:lnTo>
                            <a:lnTo>
                              <a:pt x="128" y="58"/>
                            </a:lnTo>
                            <a:lnTo>
                              <a:pt x="112" y="54"/>
                            </a:lnTo>
                            <a:lnTo>
                              <a:pt x="109" y="67"/>
                            </a:lnTo>
                            <a:lnTo>
                              <a:pt x="109" y="67"/>
                            </a:lnTo>
                            <a:lnTo>
                              <a:pt x="109" y="68"/>
                            </a:lnTo>
                            <a:lnTo>
                              <a:pt x="83" y="94"/>
                            </a:lnTo>
                            <a:lnTo>
                              <a:pt x="77" y="115"/>
                            </a:lnTo>
                            <a:lnTo>
                              <a:pt x="85" y="129"/>
                            </a:lnTo>
                            <a:lnTo>
                              <a:pt x="92" y="141"/>
                            </a:lnTo>
                            <a:lnTo>
                              <a:pt x="93" y="142"/>
                            </a:lnTo>
                            <a:lnTo>
                              <a:pt x="92" y="143"/>
                            </a:lnTo>
                            <a:lnTo>
                              <a:pt x="64" y="172"/>
                            </a:lnTo>
                            <a:lnTo>
                              <a:pt x="58" y="200"/>
                            </a:lnTo>
                            <a:lnTo>
                              <a:pt x="58" y="201"/>
                            </a:lnTo>
                            <a:lnTo>
                              <a:pt x="56" y="201"/>
                            </a:lnTo>
                            <a:lnTo>
                              <a:pt x="41" y="201"/>
                            </a:lnTo>
                            <a:lnTo>
                              <a:pt x="30" y="214"/>
                            </a:lnTo>
                            <a:lnTo>
                              <a:pt x="30" y="214"/>
                            </a:lnTo>
                            <a:lnTo>
                              <a:pt x="5" y="243"/>
                            </a:lnTo>
                            <a:lnTo>
                              <a:pt x="0" y="278"/>
                            </a:lnTo>
                            <a:lnTo>
                              <a:pt x="64" y="351"/>
                            </a:lnTo>
                            <a:lnTo>
                              <a:pt x="86" y="371"/>
                            </a:lnTo>
                            <a:lnTo>
                              <a:pt x="109" y="386"/>
                            </a:lnTo>
                            <a:lnTo>
                              <a:pt x="109" y="386"/>
                            </a:lnTo>
                            <a:lnTo>
                              <a:pt x="109" y="386"/>
                            </a:lnTo>
                            <a:lnTo>
                              <a:pt x="133" y="413"/>
                            </a:lnTo>
                            <a:lnTo>
                              <a:pt x="171" y="415"/>
                            </a:lnTo>
                            <a:lnTo>
                              <a:pt x="173" y="415"/>
                            </a:lnTo>
                            <a:lnTo>
                              <a:pt x="173" y="416"/>
                            </a:lnTo>
                            <a:lnTo>
                              <a:pt x="188" y="454"/>
                            </a:lnTo>
                            <a:lnTo>
                              <a:pt x="200" y="449"/>
                            </a:lnTo>
                            <a:lnTo>
                              <a:pt x="201" y="449"/>
                            </a:lnTo>
                            <a:lnTo>
                              <a:pt x="201" y="449"/>
                            </a:lnTo>
                            <a:lnTo>
                              <a:pt x="223" y="457"/>
                            </a:lnTo>
                            <a:lnTo>
                              <a:pt x="225" y="457"/>
                            </a:lnTo>
                            <a:lnTo>
                              <a:pt x="224" y="459"/>
                            </a:lnTo>
                            <a:lnTo>
                              <a:pt x="218" y="477"/>
                            </a:lnTo>
                            <a:lnTo>
                              <a:pt x="238" y="487"/>
                            </a:lnTo>
                            <a:lnTo>
                              <a:pt x="239" y="487"/>
                            </a:lnTo>
                            <a:lnTo>
                              <a:pt x="239" y="489"/>
                            </a:lnTo>
                            <a:lnTo>
                              <a:pt x="239" y="510"/>
                            </a:lnTo>
                            <a:lnTo>
                              <a:pt x="260" y="507"/>
                            </a:lnTo>
                            <a:lnTo>
                              <a:pt x="261" y="507"/>
                            </a:lnTo>
                            <a:lnTo>
                              <a:pt x="262" y="507"/>
                            </a:lnTo>
                            <a:lnTo>
                              <a:pt x="279" y="528"/>
                            </a:lnTo>
                            <a:lnTo>
                              <a:pt x="279" y="528"/>
                            </a:lnTo>
                            <a:lnTo>
                              <a:pt x="279" y="529"/>
                            </a:lnTo>
                            <a:lnTo>
                              <a:pt x="282" y="554"/>
                            </a:lnTo>
                            <a:lnTo>
                              <a:pt x="298" y="540"/>
                            </a:lnTo>
                            <a:lnTo>
                              <a:pt x="299" y="539"/>
                            </a:lnTo>
                            <a:lnTo>
                              <a:pt x="300" y="540"/>
                            </a:lnTo>
                            <a:lnTo>
                              <a:pt x="326" y="550"/>
                            </a:lnTo>
                            <a:lnTo>
                              <a:pt x="346" y="536"/>
                            </a:lnTo>
                            <a:lnTo>
                              <a:pt x="346" y="509"/>
                            </a:lnTo>
                            <a:lnTo>
                              <a:pt x="346" y="509"/>
                            </a:lnTo>
                            <a:lnTo>
                              <a:pt x="347" y="508"/>
                            </a:lnTo>
                            <a:lnTo>
                              <a:pt x="406" y="462"/>
                            </a:lnTo>
                            <a:lnTo>
                              <a:pt x="391" y="433"/>
                            </a:lnTo>
                            <a:lnTo>
                              <a:pt x="368" y="440"/>
                            </a:lnTo>
                            <a:lnTo>
                              <a:pt x="356" y="454"/>
                            </a:lnTo>
                            <a:lnTo>
                              <a:pt x="355" y="456"/>
                            </a:lnTo>
                            <a:lnTo>
                              <a:pt x="354" y="455"/>
                            </a:lnTo>
                            <a:lnTo>
                              <a:pt x="325" y="443"/>
                            </a:lnTo>
                            <a:lnTo>
                              <a:pt x="323" y="443"/>
                            </a:lnTo>
                            <a:lnTo>
                              <a:pt x="323" y="441"/>
                            </a:lnTo>
                            <a:lnTo>
                              <a:pt x="325" y="422"/>
                            </a:lnTo>
                            <a:lnTo>
                              <a:pt x="325" y="421"/>
                            </a:lnTo>
                            <a:lnTo>
                              <a:pt x="325" y="420"/>
                            </a:lnTo>
                            <a:lnTo>
                              <a:pt x="348" y="390"/>
                            </a:lnTo>
                            <a:lnTo>
                              <a:pt x="349" y="389"/>
                            </a:lnTo>
                            <a:lnTo>
                              <a:pt x="350" y="389"/>
                            </a:lnTo>
                            <a:lnTo>
                              <a:pt x="377" y="388"/>
                            </a:lnTo>
                            <a:lnTo>
                              <a:pt x="376" y="376"/>
                            </a:lnTo>
                            <a:lnTo>
                              <a:pt x="368" y="361"/>
                            </a:lnTo>
                            <a:lnTo>
                              <a:pt x="367" y="360"/>
                            </a:lnTo>
                            <a:lnTo>
                              <a:pt x="368" y="359"/>
                            </a:lnTo>
                            <a:lnTo>
                              <a:pt x="386" y="341"/>
                            </a:lnTo>
                            <a:lnTo>
                              <a:pt x="392" y="315"/>
                            </a:lnTo>
                            <a:lnTo>
                              <a:pt x="371" y="281"/>
                            </a:lnTo>
                            <a:lnTo>
                              <a:pt x="370" y="280"/>
                            </a:lnTo>
                            <a:lnTo>
                              <a:pt x="371" y="279"/>
                            </a:lnTo>
                            <a:lnTo>
                              <a:pt x="381" y="264"/>
                            </a:lnTo>
                            <a:lnTo>
                              <a:pt x="382" y="263"/>
                            </a:lnTo>
                            <a:lnTo>
                              <a:pt x="384" y="264"/>
                            </a:lnTo>
                            <a:lnTo>
                              <a:pt x="458" y="321"/>
                            </a:lnTo>
                            <a:lnTo>
                              <a:pt x="459" y="322"/>
                            </a:lnTo>
                            <a:lnTo>
                              <a:pt x="459" y="322"/>
                            </a:lnTo>
                            <a:lnTo>
                              <a:pt x="464" y="343"/>
                            </a:lnTo>
                            <a:lnTo>
                              <a:pt x="491" y="342"/>
                            </a:lnTo>
                            <a:lnTo>
                              <a:pt x="492" y="342"/>
                            </a:lnTo>
                            <a:lnTo>
                              <a:pt x="492" y="342"/>
                            </a:lnTo>
                            <a:lnTo>
                              <a:pt x="522" y="361"/>
                            </a:lnTo>
                            <a:lnTo>
                              <a:pt x="543" y="349"/>
                            </a:lnTo>
                            <a:lnTo>
                              <a:pt x="537" y="325"/>
                            </a:lnTo>
                            <a:lnTo>
                              <a:pt x="537" y="324"/>
                            </a:lnTo>
                            <a:lnTo>
                              <a:pt x="538" y="323"/>
                            </a:lnTo>
                            <a:lnTo>
                              <a:pt x="545" y="308"/>
                            </a:lnTo>
                            <a:lnTo>
                              <a:pt x="533" y="288"/>
                            </a:lnTo>
                            <a:lnTo>
                              <a:pt x="532" y="287"/>
                            </a:lnTo>
                            <a:lnTo>
                              <a:pt x="533" y="286"/>
                            </a:lnTo>
                            <a:lnTo>
                              <a:pt x="570" y="238"/>
                            </a:lnTo>
                            <a:lnTo>
                              <a:pt x="555" y="217"/>
                            </a:lnTo>
                            <a:lnTo>
                              <a:pt x="527" y="213"/>
                            </a:lnTo>
                            <a:lnTo>
                              <a:pt x="526" y="213"/>
                            </a:lnTo>
                            <a:lnTo>
                              <a:pt x="525" y="212"/>
                            </a:lnTo>
                            <a:lnTo>
                              <a:pt x="494" y="165"/>
                            </a:lnTo>
                            <a:lnTo>
                              <a:pt x="493" y="165"/>
                            </a:lnTo>
                            <a:lnTo>
                              <a:pt x="493" y="164"/>
                            </a:lnTo>
                            <a:lnTo>
                              <a:pt x="483" y="107"/>
                            </a:lnTo>
                            <a:lnTo>
                              <a:pt x="483" y="107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54" name="Google Shape;154;p2"/>
                      <p:cNvSpPr/>
                      <p:nvPr/>
                    </p:nvSpPr>
                    <p:spPr>
                      <a:xfrm>
                        <a:off x="2712804" y="342692"/>
                        <a:ext cx="29755" cy="26677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9" h="26" extrusionOk="0">
                            <a:moveTo>
                              <a:pt x="0" y="15"/>
                            </a:moveTo>
                            <a:lnTo>
                              <a:pt x="12" y="26"/>
                            </a:lnTo>
                            <a:lnTo>
                              <a:pt x="29" y="12"/>
                            </a:lnTo>
                            <a:lnTo>
                              <a:pt x="21" y="0"/>
                            </a:lnTo>
                            <a:lnTo>
                              <a:pt x="9" y="3"/>
                            </a:lnTo>
                            <a:lnTo>
                              <a:pt x="0" y="15"/>
                            </a:lnTo>
                            <a:lnTo>
                              <a:pt x="0" y="15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55" name="Google Shape;155;p2"/>
                      <p:cNvSpPr/>
                      <p:nvPr/>
                    </p:nvSpPr>
                    <p:spPr>
                      <a:xfrm>
                        <a:off x="2740506" y="344744"/>
                        <a:ext cx="30781" cy="31807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0" h="31" extrusionOk="0">
                            <a:moveTo>
                              <a:pt x="0" y="23"/>
                            </a:moveTo>
                            <a:lnTo>
                              <a:pt x="9" y="31"/>
                            </a:lnTo>
                            <a:lnTo>
                              <a:pt x="25" y="22"/>
                            </a:lnTo>
                            <a:lnTo>
                              <a:pt x="30" y="3"/>
                            </a:lnTo>
                            <a:lnTo>
                              <a:pt x="17" y="0"/>
                            </a:lnTo>
                            <a:lnTo>
                              <a:pt x="0" y="23"/>
                            </a:lnTo>
                            <a:lnTo>
                              <a:pt x="0" y="23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56" name="Google Shape;156;p2"/>
                      <p:cNvSpPr/>
                      <p:nvPr/>
                    </p:nvSpPr>
                    <p:spPr>
                      <a:xfrm>
                        <a:off x="2785651" y="336536"/>
                        <a:ext cx="49249" cy="4411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8" h="43" extrusionOk="0">
                            <a:moveTo>
                              <a:pt x="0" y="29"/>
                            </a:moveTo>
                            <a:lnTo>
                              <a:pt x="16" y="43"/>
                            </a:lnTo>
                            <a:lnTo>
                              <a:pt x="48" y="27"/>
                            </a:lnTo>
                            <a:lnTo>
                              <a:pt x="42" y="9"/>
                            </a:lnTo>
                            <a:lnTo>
                              <a:pt x="20" y="0"/>
                            </a:lnTo>
                            <a:lnTo>
                              <a:pt x="0" y="16"/>
                            </a:lnTo>
                            <a:lnTo>
                              <a:pt x="0" y="29"/>
                            </a:lnTo>
                            <a:lnTo>
                              <a:pt x="0" y="29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57" name="Google Shape;157;p2"/>
                      <p:cNvSpPr/>
                      <p:nvPr/>
                    </p:nvSpPr>
                    <p:spPr>
                      <a:xfrm>
                        <a:off x="2820536" y="316015"/>
                        <a:ext cx="23599" cy="21547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3" h="21" extrusionOk="0">
                            <a:moveTo>
                              <a:pt x="0" y="14"/>
                            </a:moveTo>
                            <a:lnTo>
                              <a:pt x="14" y="21"/>
                            </a:lnTo>
                            <a:lnTo>
                              <a:pt x="23" y="10"/>
                            </a:lnTo>
                            <a:lnTo>
                              <a:pt x="12" y="0"/>
                            </a:lnTo>
                            <a:lnTo>
                              <a:pt x="0" y="14"/>
                            </a:lnTo>
                            <a:lnTo>
                              <a:pt x="0" y="14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58" name="Google Shape;158;p2"/>
                      <p:cNvSpPr/>
                      <p:nvPr/>
                    </p:nvSpPr>
                    <p:spPr>
                      <a:xfrm>
                        <a:off x="2883123" y="283183"/>
                        <a:ext cx="18468" cy="2257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8" h="22" extrusionOk="0">
                            <a:moveTo>
                              <a:pt x="0" y="8"/>
                            </a:moveTo>
                            <a:lnTo>
                              <a:pt x="4" y="22"/>
                            </a:lnTo>
                            <a:lnTo>
                              <a:pt x="18" y="17"/>
                            </a:lnTo>
                            <a:lnTo>
                              <a:pt x="13" y="0"/>
                            </a:lnTo>
                            <a:lnTo>
                              <a:pt x="0" y="8"/>
                            </a:lnTo>
                            <a:lnTo>
                              <a:pt x="0" y="8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59" name="Google Shape;159;p2"/>
                      <p:cNvSpPr/>
                      <p:nvPr/>
                    </p:nvSpPr>
                    <p:spPr>
                      <a:xfrm>
                        <a:off x="2830796" y="239063"/>
                        <a:ext cx="22572" cy="2257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2" h="22" extrusionOk="0">
                            <a:moveTo>
                              <a:pt x="5" y="15"/>
                            </a:moveTo>
                            <a:lnTo>
                              <a:pt x="13" y="22"/>
                            </a:lnTo>
                            <a:lnTo>
                              <a:pt x="22" y="14"/>
                            </a:lnTo>
                            <a:lnTo>
                              <a:pt x="8" y="0"/>
                            </a:lnTo>
                            <a:lnTo>
                              <a:pt x="0" y="6"/>
                            </a:lnTo>
                            <a:lnTo>
                              <a:pt x="5" y="15"/>
                            </a:lnTo>
                            <a:lnTo>
                              <a:pt x="5" y="15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60" name="Google Shape;160;p2"/>
                      <p:cNvSpPr/>
                      <p:nvPr/>
                    </p:nvSpPr>
                    <p:spPr>
                      <a:xfrm>
                        <a:off x="2793860" y="254454"/>
                        <a:ext cx="26677" cy="3078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6" h="30" extrusionOk="0">
                            <a:moveTo>
                              <a:pt x="0" y="9"/>
                            </a:moveTo>
                            <a:lnTo>
                              <a:pt x="2" y="21"/>
                            </a:lnTo>
                            <a:lnTo>
                              <a:pt x="17" y="30"/>
                            </a:lnTo>
                            <a:lnTo>
                              <a:pt x="26" y="17"/>
                            </a:lnTo>
                            <a:lnTo>
                              <a:pt x="18" y="0"/>
                            </a:lnTo>
                            <a:lnTo>
                              <a:pt x="0" y="9"/>
                            </a:lnTo>
                            <a:lnTo>
                              <a:pt x="0" y="9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61" name="Google Shape;161;p2"/>
                      <p:cNvSpPr/>
                      <p:nvPr/>
                    </p:nvSpPr>
                    <p:spPr>
                      <a:xfrm>
                        <a:off x="2738454" y="276000"/>
                        <a:ext cx="54380" cy="5027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3" h="49" extrusionOk="0">
                            <a:moveTo>
                              <a:pt x="24" y="0"/>
                            </a:moveTo>
                            <a:lnTo>
                              <a:pt x="53" y="27"/>
                            </a:lnTo>
                            <a:lnTo>
                              <a:pt x="49" y="49"/>
                            </a:lnTo>
                            <a:lnTo>
                              <a:pt x="19" y="39"/>
                            </a:lnTo>
                            <a:lnTo>
                              <a:pt x="0" y="17"/>
                            </a:lnTo>
                            <a:lnTo>
                              <a:pt x="24" y="0"/>
                            </a:lnTo>
                            <a:lnTo>
                              <a:pt x="24" y="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62" name="Google Shape;162;p2"/>
                      <p:cNvSpPr/>
                      <p:nvPr/>
                    </p:nvSpPr>
                    <p:spPr>
                      <a:xfrm>
                        <a:off x="2846186" y="338588"/>
                        <a:ext cx="50275" cy="4001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9" h="39" extrusionOk="0">
                            <a:moveTo>
                              <a:pt x="0" y="23"/>
                            </a:moveTo>
                            <a:lnTo>
                              <a:pt x="3" y="39"/>
                            </a:lnTo>
                            <a:lnTo>
                              <a:pt x="36" y="39"/>
                            </a:lnTo>
                            <a:lnTo>
                              <a:pt x="49" y="17"/>
                            </a:lnTo>
                            <a:lnTo>
                              <a:pt x="38" y="0"/>
                            </a:lnTo>
                            <a:lnTo>
                              <a:pt x="24" y="20"/>
                            </a:lnTo>
                            <a:lnTo>
                              <a:pt x="3" y="15"/>
                            </a:lnTo>
                            <a:lnTo>
                              <a:pt x="0" y="23"/>
                            </a:lnTo>
                            <a:lnTo>
                              <a:pt x="0" y="23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63" name="Google Shape;163;p2"/>
                      <p:cNvSpPr/>
                      <p:nvPr/>
                    </p:nvSpPr>
                    <p:spPr>
                      <a:xfrm>
                        <a:off x="2755896" y="389889"/>
                        <a:ext cx="16416" cy="2462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6" h="24" extrusionOk="0">
                            <a:moveTo>
                              <a:pt x="0" y="11"/>
                            </a:moveTo>
                            <a:lnTo>
                              <a:pt x="8" y="24"/>
                            </a:lnTo>
                            <a:lnTo>
                              <a:pt x="16" y="14"/>
                            </a:lnTo>
                            <a:lnTo>
                              <a:pt x="8" y="0"/>
                            </a:lnTo>
                            <a:lnTo>
                              <a:pt x="0" y="11"/>
                            </a:lnTo>
                            <a:lnTo>
                              <a:pt x="0" y="11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64" name="Google Shape;164;p2"/>
                      <p:cNvSpPr/>
                      <p:nvPr/>
                    </p:nvSpPr>
                    <p:spPr>
                      <a:xfrm>
                        <a:off x="2673815" y="303703"/>
                        <a:ext cx="28729" cy="3385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8" h="33" extrusionOk="0">
                            <a:moveTo>
                              <a:pt x="0" y="11"/>
                            </a:moveTo>
                            <a:lnTo>
                              <a:pt x="13" y="33"/>
                            </a:lnTo>
                            <a:lnTo>
                              <a:pt x="28" y="19"/>
                            </a:lnTo>
                            <a:lnTo>
                              <a:pt x="21" y="0"/>
                            </a:lnTo>
                            <a:lnTo>
                              <a:pt x="0" y="11"/>
                            </a:lnTo>
                            <a:lnTo>
                              <a:pt x="0" y="11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65" name="Google Shape;165;p2"/>
                      <p:cNvSpPr/>
                      <p:nvPr/>
                    </p:nvSpPr>
                    <p:spPr>
                      <a:xfrm>
                        <a:off x="2712804" y="299599"/>
                        <a:ext cx="11287" cy="21547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1" h="21" extrusionOk="0">
                            <a:moveTo>
                              <a:pt x="0" y="8"/>
                            </a:moveTo>
                            <a:lnTo>
                              <a:pt x="2" y="21"/>
                            </a:lnTo>
                            <a:lnTo>
                              <a:pt x="11" y="15"/>
                            </a:lnTo>
                            <a:lnTo>
                              <a:pt x="4" y="0"/>
                            </a:lnTo>
                            <a:lnTo>
                              <a:pt x="0" y="8"/>
                            </a:lnTo>
                            <a:lnTo>
                              <a:pt x="0" y="8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66" name="Google Shape;166;p2"/>
                      <p:cNvSpPr/>
                      <p:nvPr/>
                    </p:nvSpPr>
                    <p:spPr>
                      <a:xfrm>
                        <a:off x="2697414" y="223673"/>
                        <a:ext cx="20520" cy="2359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0" h="23" extrusionOk="0">
                            <a:moveTo>
                              <a:pt x="0" y="9"/>
                            </a:moveTo>
                            <a:lnTo>
                              <a:pt x="10" y="23"/>
                            </a:lnTo>
                            <a:lnTo>
                              <a:pt x="20" y="14"/>
                            </a:lnTo>
                            <a:lnTo>
                              <a:pt x="5" y="0"/>
                            </a:lnTo>
                            <a:lnTo>
                              <a:pt x="0" y="9"/>
                            </a:lnTo>
                            <a:lnTo>
                              <a:pt x="0" y="9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67" name="Google Shape;167;p2"/>
                      <p:cNvSpPr/>
                      <p:nvPr/>
                    </p:nvSpPr>
                    <p:spPr>
                      <a:xfrm>
                        <a:off x="2605071" y="205205"/>
                        <a:ext cx="59509" cy="3796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8" h="37" extrusionOk="0">
                            <a:moveTo>
                              <a:pt x="0" y="0"/>
                            </a:moveTo>
                            <a:lnTo>
                              <a:pt x="5" y="18"/>
                            </a:lnTo>
                            <a:lnTo>
                              <a:pt x="19" y="29"/>
                            </a:lnTo>
                            <a:lnTo>
                              <a:pt x="39" y="27"/>
                            </a:lnTo>
                            <a:lnTo>
                              <a:pt x="51" y="37"/>
                            </a:lnTo>
                            <a:lnTo>
                              <a:pt x="58" y="28"/>
                            </a:lnTo>
                            <a:lnTo>
                              <a:pt x="43" y="14"/>
                            </a:lnTo>
                            <a:lnTo>
                              <a:pt x="29" y="18"/>
                            </a:lnTo>
                            <a:lnTo>
                              <a:pt x="0" y="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68" name="Google Shape;168;p2"/>
                      <p:cNvSpPr/>
                      <p:nvPr/>
                    </p:nvSpPr>
                    <p:spPr>
                      <a:xfrm>
                        <a:off x="2607124" y="242142"/>
                        <a:ext cx="94394" cy="6156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2" h="60" extrusionOk="0">
                            <a:moveTo>
                              <a:pt x="2" y="10"/>
                            </a:moveTo>
                            <a:lnTo>
                              <a:pt x="0" y="26"/>
                            </a:lnTo>
                            <a:lnTo>
                              <a:pt x="15" y="41"/>
                            </a:lnTo>
                            <a:lnTo>
                              <a:pt x="29" y="60"/>
                            </a:lnTo>
                            <a:lnTo>
                              <a:pt x="34" y="51"/>
                            </a:lnTo>
                            <a:lnTo>
                              <a:pt x="30" y="33"/>
                            </a:lnTo>
                            <a:lnTo>
                              <a:pt x="50" y="29"/>
                            </a:lnTo>
                            <a:lnTo>
                              <a:pt x="76" y="37"/>
                            </a:lnTo>
                            <a:lnTo>
                              <a:pt x="92" y="21"/>
                            </a:lnTo>
                            <a:lnTo>
                              <a:pt x="77" y="4"/>
                            </a:lnTo>
                            <a:lnTo>
                              <a:pt x="65" y="0"/>
                            </a:lnTo>
                            <a:lnTo>
                              <a:pt x="52" y="10"/>
                            </a:lnTo>
                            <a:lnTo>
                              <a:pt x="34" y="12"/>
                            </a:lnTo>
                            <a:lnTo>
                              <a:pt x="24" y="16"/>
                            </a:lnTo>
                            <a:lnTo>
                              <a:pt x="2" y="10"/>
                            </a:lnTo>
                            <a:lnTo>
                              <a:pt x="2" y="1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69" name="Google Shape;169;p2"/>
                      <p:cNvSpPr/>
                      <p:nvPr/>
                    </p:nvSpPr>
                    <p:spPr>
                      <a:xfrm>
                        <a:off x="2637904" y="314989"/>
                        <a:ext cx="13339" cy="1846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3" h="18" extrusionOk="0">
                            <a:moveTo>
                              <a:pt x="4" y="0"/>
                            </a:moveTo>
                            <a:lnTo>
                              <a:pt x="0" y="11"/>
                            </a:lnTo>
                            <a:lnTo>
                              <a:pt x="12" y="18"/>
                            </a:lnTo>
                            <a:lnTo>
                              <a:pt x="13" y="3"/>
                            </a:lnTo>
                            <a:lnTo>
                              <a:pt x="4" y="0"/>
                            </a:lnTo>
                            <a:lnTo>
                              <a:pt x="4" y="0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70" name="Google Shape;170;p2"/>
                      <p:cNvSpPr/>
                      <p:nvPr/>
                    </p:nvSpPr>
                    <p:spPr>
                      <a:xfrm>
                        <a:off x="309859" y="795168"/>
                        <a:ext cx="114915" cy="16006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12" h="156" extrusionOk="0">
                            <a:moveTo>
                              <a:pt x="0" y="11"/>
                            </a:moveTo>
                            <a:lnTo>
                              <a:pt x="67" y="156"/>
                            </a:lnTo>
                            <a:lnTo>
                              <a:pt x="108" y="134"/>
                            </a:lnTo>
                            <a:lnTo>
                              <a:pt x="112" y="54"/>
                            </a:lnTo>
                            <a:lnTo>
                              <a:pt x="92" y="24"/>
                            </a:lnTo>
                            <a:lnTo>
                              <a:pt x="83" y="60"/>
                            </a:lnTo>
                            <a:lnTo>
                              <a:pt x="63" y="47"/>
                            </a:lnTo>
                            <a:lnTo>
                              <a:pt x="47" y="0"/>
                            </a:lnTo>
                            <a:lnTo>
                              <a:pt x="27" y="13"/>
                            </a:lnTo>
                            <a:lnTo>
                              <a:pt x="0" y="11"/>
                            </a:lnTo>
                            <a:lnTo>
                              <a:pt x="0" y="11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71" name="Google Shape;171;p2"/>
                      <p:cNvSpPr/>
                      <p:nvPr/>
                    </p:nvSpPr>
                    <p:spPr>
                      <a:xfrm>
                        <a:off x="329354" y="1895064"/>
                        <a:ext cx="314989" cy="33345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07" h="325" extrusionOk="0">
                            <a:moveTo>
                              <a:pt x="216" y="0"/>
                            </a:moveTo>
                            <a:lnTo>
                              <a:pt x="215" y="10"/>
                            </a:lnTo>
                            <a:lnTo>
                              <a:pt x="185" y="9"/>
                            </a:lnTo>
                            <a:lnTo>
                              <a:pt x="173" y="27"/>
                            </a:lnTo>
                            <a:lnTo>
                              <a:pt x="157" y="29"/>
                            </a:lnTo>
                            <a:lnTo>
                              <a:pt x="139" y="63"/>
                            </a:lnTo>
                            <a:lnTo>
                              <a:pt x="107" y="75"/>
                            </a:lnTo>
                            <a:lnTo>
                              <a:pt x="84" y="41"/>
                            </a:lnTo>
                            <a:lnTo>
                              <a:pt x="31" y="34"/>
                            </a:lnTo>
                            <a:lnTo>
                              <a:pt x="6" y="60"/>
                            </a:lnTo>
                            <a:lnTo>
                              <a:pt x="60" y="92"/>
                            </a:lnTo>
                            <a:lnTo>
                              <a:pt x="44" y="102"/>
                            </a:lnTo>
                            <a:lnTo>
                              <a:pt x="16" y="86"/>
                            </a:lnTo>
                            <a:lnTo>
                              <a:pt x="0" y="98"/>
                            </a:lnTo>
                            <a:lnTo>
                              <a:pt x="10" y="117"/>
                            </a:lnTo>
                            <a:lnTo>
                              <a:pt x="29" y="117"/>
                            </a:lnTo>
                            <a:lnTo>
                              <a:pt x="30" y="117"/>
                            </a:lnTo>
                            <a:lnTo>
                              <a:pt x="30" y="117"/>
                            </a:lnTo>
                            <a:lnTo>
                              <a:pt x="54" y="146"/>
                            </a:lnTo>
                            <a:lnTo>
                              <a:pt x="55" y="147"/>
                            </a:lnTo>
                            <a:lnTo>
                              <a:pt x="54" y="148"/>
                            </a:lnTo>
                            <a:lnTo>
                              <a:pt x="37" y="181"/>
                            </a:lnTo>
                            <a:lnTo>
                              <a:pt x="59" y="209"/>
                            </a:lnTo>
                            <a:lnTo>
                              <a:pt x="60" y="210"/>
                            </a:lnTo>
                            <a:lnTo>
                              <a:pt x="60" y="211"/>
                            </a:lnTo>
                            <a:lnTo>
                              <a:pt x="54" y="222"/>
                            </a:lnTo>
                            <a:lnTo>
                              <a:pt x="53" y="244"/>
                            </a:lnTo>
                            <a:lnTo>
                              <a:pt x="66" y="260"/>
                            </a:lnTo>
                            <a:lnTo>
                              <a:pt x="78" y="246"/>
                            </a:lnTo>
                            <a:lnTo>
                              <a:pt x="79" y="245"/>
                            </a:lnTo>
                            <a:lnTo>
                              <a:pt x="80" y="246"/>
                            </a:lnTo>
                            <a:lnTo>
                              <a:pt x="101" y="254"/>
                            </a:lnTo>
                            <a:lnTo>
                              <a:pt x="108" y="241"/>
                            </a:lnTo>
                            <a:lnTo>
                              <a:pt x="109" y="240"/>
                            </a:lnTo>
                            <a:lnTo>
                              <a:pt x="110" y="240"/>
                            </a:lnTo>
                            <a:lnTo>
                              <a:pt x="127" y="247"/>
                            </a:lnTo>
                            <a:lnTo>
                              <a:pt x="128" y="248"/>
                            </a:lnTo>
                            <a:lnTo>
                              <a:pt x="128" y="249"/>
                            </a:lnTo>
                            <a:lnTo>
                              <a:pt x="128" y="274"/>
                            </a:lnTo>
                            <a:lnTo>
                              <a:pt x="148" y="283"/>
                            </a:lnTo>
                            <a:lnTo>
                              <a:pt x="149" y="283"/>
                            </a:lnTo>
                            <a:lnTo>
                              <a:pt x="149" y="285"/>
                            </a:lnTo>
                            <a:lnTo>
                              <a:pt x="149" y="309"/>
                            </a:lnTo>
                            <a:lnTo>
                              <a:pt x="159" y="325"/>
                            </a:lnTo>
                            <a:lnTo>
                              <a:pt x="183" y="323"/>
                            </a:lnTo>
                            <a:lnTo>
                              <a:pt x="191" y="308"/>
                            </a:lnTo>
                            <a:lnTo>
                              <a:pt x="191" y="307"/>
                            </a:lnTo>
                            <a:lnTo>
                              <a:pt x="192" y="307"/>
                            </a:lnTo>
                            <a:lnTo>
                              <a:pt x="231" y="307"/>
                            </a:lnTo>
                            <a:lnTo>
                              <a:pt x="255" y="281"/>
                            </a:lnTo>
                            <a:lnTo>
                              <a:pt x="254" y="268"/>
                            </a:lnTo>
                            <a:lnTo>
                              <a:pt x="232" y="266"/>
                            </a:lnTo>
                            <a:lnTo>
                              <a:pt x="230" y="265"/>
                            </a:lnTo>
                            <a:lnTo>
                              <a:pt x="230" y="264"/>
                            </a:lnTo>
                            <a:lnTo>
                              <a:pt x="229" y="245"/>
                            </a:lnTo>
                            <a:lnTo>
                              <a:pt x="208" y="217"/>
                            </a:lnTo>
                            <a:lnTo>
                              <a:pt x="208" y="216"/>
                            </a:lnTo>
                            <a:lnTo>
                              <a:pt x="208" y="216"/>
                            </a:lnTo>
                            <a:lnTo>
                              <a:pt x="219" y="176"/>
                            </a:lnTo>
                            <a:lnTo>
                              <a:pt x="206" y="157"/>
                            </a:lnTo>
                            <a:lnTo>
                              <a:pt x="205" y="155"/>
                            </a:lnTo>
                            <a:lnTo>
                              <a:pt x="206" y="154"/>
                            </a:lnTo>
                            <a:lnTo>
                              <a:pt x="235" y="137"/>
                            </a:lnTo>
                            <a:lnTo>
                              <a:pt x="237" y="137"/>
                            </a:lnTo>
                            <a:lnTo>
                              <a:pt x="237" y="138"/>
                            </a:lnTo>
                            <a:lnTo>
                              <a:pt x="248" y="148"/>
                            </a:lnTo>
                            <a:lnTo>
                              <a:pt x="268" y="147"/>
                            </a:lnTo>
                            <a:lnTo>
                              <a:pt x="280" y="124"/>
                            </a:lnTo>
                            <a:lnTo>
                              <a:pt x="276" y="84"/>
                            </a:lnTo>
                            <a:lnTo>
                              <a:pt x="275" y="83"/>
                            </a:lnTo>
                            <a:lnTo>
                              <a:pt x="276" y="83"/>
                            </a:lnTo>
                            <a:lnTo>
                              <a:pt x="307" y="63"/>
                            </a:lnTo>
                            <a:lnTo>
                              <a:pt x="301" y="14"/>
                            </a:lnTo>
                            <a:lnTo>
                              <a:pt x="278" y="14"/>
                            </a:lnTo>
                            <a:lnTo>
                              <a:pt x="261" y="25"/>
                            </a:lnTo>
                            <a:lnTo>
                              <a:pt x="259" y="26"/>
                            </a:lnTo>
                            <a:lnTo>
                              <a:pt x="258" y="25"/>
                            </a:lnTo>
                            <a:lnTo>
                              <a:pt x="239" y="13"/>
                            </a:lnTo>
                            <a:lnTo>
                              <a:pt x="216" y="0"/>
                            </a:lnTo>
                            <a:lnTo>
                              <a:pt x="216" y="0"/>
                            </a:lnTo>
                            <a:close/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72" name="Google Shape;172;p2"/>
                      <p:cNvSpPr/>
                      <p:nvPr/>
                    </p:nvSpPr>
                    <p:spPr>
                      <a:xfrm>
                        <a:off x="544818" y="1870439"/>
                        <a:ext cx="329354" cy="32524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21" h="317" extrusionOk="0">
                            <a:moveTo>
                              <a:pt x="212" y="317"/>
                            </a:moveTo>
                            <a:lnTo>
                              <a:pt x="245" y="306"/>
                            </a:lnTo>
                            <a:lnTo>
                              <a:pt x="250" y="280"/>
                            </a:lnTo>
                            <a:lnTo>
                              <a:pt x="279" y="264"/>
                            </a:lnTo>
                            <a:lnTo>
                              <a:pt x="309" y="257"/>
                            </a:lnTo>
                            <a:lnTo>
                              <a:pt x="321" y="253"/>
                            </a:lnTo>
                            <a:lnTo>
                              <a:pt x="319" y="211"/>
                            </a:lnTo>
                            <a:lnTo>
                              <a:pt x="301" y="208"/>
                            </a:lnTo>
                            <a:lnTo>
                              <a:pt x="300" y="207"/>
                            </a:lnTo>
                            <a:lnTo>
                              <a:pt x="300" y="207"/>
                            </a:lnTo>
                            <a:lnTo>
                              <a:pt x="291" y="194"/>
                            </a:lnTo>
                            <a:lnTo>
                              <a:pt x="290" y="193"/>
                            </a:lnTo>
                            <a:lnTo>
                              <a:pt x="290" y="193"/>
                            </a:lnTo>
                            <a:lnTo>
                              <a:pt x="289" y="168"/>
                            </a:lnTo>
                            <a:lnTo>
                              <a:pt x="278" y="173"/>
                            </a:lnTo>
                            <a:lnTo>
                              <a:pt x="277" y="173"/>
                            </a:lnTo>
                            <a:lnTo>
                              <a:pt x="277" y="173"/>
                            </a:lnTo>
                            <a:lnTo>
                              <a:pt x="263" y="172"/>
                            </a:lnTo>
                            <a:lnTo>
                              <a:pt x="261" y="172"/>
                            </a:lnTo>
                            <a:lnTo>
                              <a:pt x="261" y="170"/>
                            </a:lnTo>
                            <a:lnTo>
                              <a:pt x="262" y="152"/>
                            </a:lnTo>
                            <a:lnTo>
                              <a:pt x="262" y="151"/>
                            </a:lnTo>
                            <a:lnTo>
                              <a:pt x="263" y="151"/>
                            </a:lnTo>
                            <a:lnTo>
                              <a:pt x="277" y="134"/>
                            </a:lnTo>
                            <a:lnTo>
                              <a:pt x="277" y="112"/>
                            </a:lnTo>
                            <a:lnTo>
                              <a:pt x="245" y="80"/>
                            </a:lnTo>
                            <a:lnTo>
                              <a:pt x="226" y="76"/>
                            </a:lnTo>
                            <a:lnTo>
                              <a:pt x="225" y="76"/>
                            </a:lnTo>
                            <a:lnTo>
                              <a:pt x="225" y="76"/>
                            </a:lnTo>
                            <a:lnTo>
                              <a:pt x="212" y="58"/>
                            </a:lnTo>
                            <a:lnTo>
                              <a:pt x="211" y="58"/>
                            </a:lnTo>
                            <a:lnTo>
                              <a:pt x="211" y="58"/>
                            </a:lnTo>
                            <a:lnTo>
                              <a:pt x="210" y="33"/>
                            </a:lnTo>
                            <a:lnTo>
                              <a:pt x="182" y="23"/>
                            </a:lnTo>
                            <a:lnTo>
                              <a:pt x="182" y="23"/>
                            </a:lnTo>
                            <a:lnTo>
                              <a:pt x="181" y="23"/>
                            </a:lnTo>
                            <a:lnTo>
                              <a:pt x="170" y="0"/>
                            </a:lnTo>
                            <a:lnTo>
                              <a:pt x="155" y="4"/>
                            </a:lnTo>
                            <a:lnTo>
                              <a:pt x="155" y="4"/>
                            </a:lnTo>
                            <a:lnTo>
                              <a:pt x="155" y="4"/>
                            </a:lnTo>
                            <a:lnTo>
                              <a:pt x="126" y="1"/>
                            </a:lnTo>
                            <a:lnTo>
                              <a:pt x="123" y="20"/>
                            </a:lnTo>
                            <a:lnTo>
                              <a:pt x="123" y="21"/>
                            </a:lnTo>
                            <a:lnTo>
                              <a:pt x="122" y="21"/>
                            </a:lnTo>
                            <a:lnTo>
                              <a:pt x="95" y="38"/>
                            </a:lnTo>
                            <a:lnTo>
                              <a:pt x="101" y="87"/>
                            </a:lnTo>
                            <a:lnTo>
                              <a:pt x="101" y="88"/>
                            </a:lnTo>
                            <a:lnTo>
                              <a:pt x="100" y="89"/>
                            </a:lnTo>
                            <a:lnTo>
                              <a:pt x="69" y="109"/>
                            </a:lnTo>
                            <a:lnTo>
                              <a:pt x="73" y="148"/>
                            </a:lnTo>
                            <a:lnTo>
                              <a:pt x="73" y="148"/>
                            </a:lnTo>
                            <a:lnTo>
                              <a:pt x="73" y="149"/>
                            </a:lnTo>
                            <a:lnTo>
                              <a:pt x="61" y="174"/>
                            </a:lnTo>
                            <a:lnTo>
                              <a:pt x="60" y="175"/>
                            </a:lnTo>
                            <a:lnTo>
                              <a:pt x="59" y="175"/>
                            </a:lnTo>
                            <a:lnTo>
                              <a:pt x="37" y="176"/>
                            </a:lnTo>
                            <a:lnTo>
                              <a:pt x="37" y="176"/>
                            </a:lnTo>
                            <a:lnTo>
                              <a:pt x="36" y="176"/>
                            </a:lnTo>
                            <a:lnTo>
                              <a:pt x="26" y="166"/>
                            </a:lnTo>
                            <a:lnTo>
                              <a:pt x="0" y="180"/>
                            </a:lnTo>
                            <a:lnTo>
                              <a:pt x="13" y="199"/>
                            </a:lnTo>
                            <a:lnTo>
                              <a:pt x="13" y="200"/>
                            </a:lnTo>
                            <a:lnTo>
                              <a:pt x="13" y="200"/>
                            </a:lnTo>
                            <a:lnTo>
                              <a:pt x="2" y="240"/>
                            </a:lnTo>
                            <a:lnTo>
                              <a:pt x="22" y="267"/>
                            </a:lnTo>
                            <a:lnTo>
                              <a:pt x="70" y="272"/>
                            </a:lnTo>
                            <a:lnTo>
                              <a:pt x="75" y="259"/>
                            </a:lnTo>
                            <a:lnTo>
                              <a:pt x="76" y="257"/>
                            </a:lnTo>
                            <a:lnTo>
                              <a:pt x="77" y="257"/>
                            </a:lnTo>
                            <a:lnTo>
                              <a:pt x="93" y="259"/>
                            </a:lnTo>
                            <a:lnTo>
                              <a:pt x="95" y="259"/>
                            </a:lnTo>
                            <a:lnTo>
                              <a:pt x="95" y="260"/>
                            </a:lnTo>
                            <a:lnTo>
                              <a:pt x="100" y="285"/>
                            </a:lnTo>
                            <a:lnTo>
                              <a:pt x="119" y="287"/>
                            </a:lnTo>
                            <a:lnTo>
                              <a:pt x="136" y="277"/>
                            </a:lnTo>
                            <a:lnTo>
                              <a:pt x="136" y="277"/>
                            </a:lnTo>
                            <a:lnTo>
                              <a:pt x="137" y="277"/>
                            </a:lnTo>
                            <a:lnTo>
                              <a:pt x="195" y="289"/>
                            </a:lnTo>
                            <a:lnTo>
                              <a:pt x="196" y="289"/>
                            </a:lnTo>
                            <a:lnTo>
                              <a:pt x="197" y="290"/>
                            </a:lnTo>
                            <a:lnTo>
                              <a:pt x="212" y="317"/>
                            </a:lnTo>
                            <a:lnTo>
                              <a:pt x="212" y="317"/>
                            </a:lnTo>
                            <a:close/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73" name="Google Shape;173;p2"/>
                      <p:cNvSpPr/>
                      <p:nvPr/>
                    </p:nvSpPr>
                    <p:spPr>
                      <a:xfrm>
                        <a:off x="594067" y="2157726"/>
                        <a:ext cx="168268" cy="28113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64" h="274" extrusionOk="0">
                            <a:moveTo>
                              <a:pt x="20" y="263"/>
                            </a:moveTo>
                            <a:lnTo>
                              <a:pt x="51" y="274"/>
                            </a:lnTo>
                            <a:lnTo>
                              <a:pt x="134" y="272"/>
                            </a:lnTo>
                            <a:lnTo>
                              <a:pt x="127" y="239"/>
                            </a:lnTo>
                            <a:lnTo>
                              <a:pt x="148" y="235"/>
                            </a:lnTo>
                            <a:lnTo>
                              <a:pt x="164" y="147"/>
                            </a:lnTo>
                            <a:lnTo>
                              <a:pt x="150" y="128"/>
                            </a:lnTo>
                            <a:lnTo>
                              <a:pt x="129" y="123"/>
                            </a:lnTo>
                            <a:lnTo>
                              <a:pt x="132" y="106"/>
                            </a:lnTo>
                            <a:lnTo>
                              <a:pt x="158" y="82"/>
                            </a:lnTo>
                            <a:lnTo>
                              <a:pt x="135" y="50"/>
                            </a:lnTo>
                            <a:lnTo>
                              <a:pt x="146" y="45"/>
                            </a:lnTo>
                            <a:lnTo>
                              <a:pt x="161" y="38"/>
                            </a:lnTo>
                            <a:lnTo>
                              <a:pt x="146" y="12"/>
                            </a:lnTo>
                            <a:lnTo>
                              <a:pt x="89" y="0"/>
                            </a:lnTo>
                            <a:lnTo>
                              <a:pt x="73" y="10"/>
                            </a:lnTo>
                            <a:lnTo>
                              <a:pt x="84" y="38"/>
                            </a:lnTo>
                            <a:lnTo>
                              <a:pt x="84" y="38"/>
                            </a:lnTo>
                            <a:lnTo>
                              <a:pt x="84" y="38"/>
                            </a:lnTo>
                            <a:lnTo>
                              <a:pt x="73" y="90"/>
                            </a:lnTo>
                            <a:lnTo>
                              <a:pt x="87" y="114"/>
                            </a:lnTo>
                            <a:lnTo>
                              <a:pt x="87" y="115"/>
                            </a:lnTo>
                            <a:lnTo>
                              <a:pt x="87" y="116"/>
                            </a:lnTo>
                            <a:lnTo>
                              <a:pt x="73" y="155"/>
                            </a:lnTo>
                            <a:lnTo>
                              <a:pt x="78" y="179"/>
                            </a:lnTo>
                            <a:lnTo>
                              <a:pt x="79" y="181"/>
                            </a:lnTo>
                            <a:lnTo>
                              <a:pt x="77" y="181"/>
                            </a:lnTo>
                            <a:lnTo>
                              <a:pt x="53" y="178"/>
                            </a:lnTo>
                            <a:lnTo>
                              <a:pt x="40" y="184"/>
                            </a:lnTo>
                            <a:lnTo>
                              <a:pt x="39" y="185"/>
                            </a:lnTo>
                            <a:lnTo>
                              <a:pt x="38" y="183"/>
                            </a:lnTo>
                            <a:lnTo>
                              <a:pt x="29" y="170"/>
                            </a:lnTo>
                            <a:lnTo>
                              <a:pt x="21" y="180"/>
                            </a:lnTo>
                            <a:lnTo>
                              <a:pt x="34" y="210"/>
                            </a:lnTo>
                            <a:lnTo>
                              <a:pt x="34" y="211"/>
                            </a:lnTo>
                            <a:lnTo>
                              <a:pt x="33" y="212"/>
                            </a:lnTo>
                            <a:lnTo>
                              <a:pt x="16" y="226"/>
                            </a:lnTo>
                            <a:lnTo>
                              <a:pt x="16" y="226"/>
                            </a:lnTo>
                            <a:lnTo>
                              <a:pt x="15" y="226"/>
                            </a:lnTo>
                            <a:lnTo>
                              <a:pt x="0" y="235"/>
                            </a:lnTo>
                            <a:lnTo>
                              <a:pt x="20" y="263"/>
                            </a:lnTo>
                            <a:lnTo>
                              <a:pt x="20" y="263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74" name="Google Shape;174;p2"/>
                      <p:cNvSpPr/>
                      <p:nvPr/>
                    </p:nvSpPr>
                    <p:spPr>
                      <a:xfrm>
                        <a:off x="400149" y="2138231"/>
                        <a:ext cx="279078" cy="302677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72" h="295" extrusionOk="0">
                            <a:moveTo>
                              <a:pt x="144" y="294"/>
                            </a:moveTo>
                            <a:lnTo>
                              <a:pt x="175" y="295"/>
                            </a:lnTo>
                            <a:lnTo>
                              <a:pt x="204" y="281"/>
                            </a:lnTo>
                            <a:lnTo>
                              <a:pt x="185" y="254"/>
                            </a:lnTo>
                            <a:lnTo>
                              <a:pt x="184" y="252"/>
                            </a:lnTo>
                            <a:lnTo>
                              <a:pt x="186" y="251"/>
                            </a:lnTo>
                            <a:lnTo>
                              <a:pt x="203" y="242"/>
                            </a:lnTo>
                            <a:lnTo>
                              <a:pt x="219" y="229"/>
                            </a:lnTo>
                            <a:lnTo>
                              <a:pt x="206" y="199"/>
                            </a:lnTo>
                            <a:lnTo>
                              <a:pt x="206" y="198"/>
                            </a:lnTo>
                            <a:lnTo>
                              <a:pt x="206" y="197"/>
                            </a:lnTo>
                            <a:lnTo>
                              <a:pt x="217" y="185"/>
                            </a:lnTo>
                            <a:lnTo>
                              <a:pt x="218" y="183"/>
                            </a:lnTo>
                            <a:lnTo>
                              <a:pt x="219" y="185"/>
                            </a:lnTo>
                            <a:lnTo>
                              <a:pt x="229" y="199"/>
                            </a:lnTo>
                            <a:lnTo>
                              <a:pt x="241" y="194"/>
                            </a:lnTo>
                            <a:lnTo>
                              <a:pt x="241" y="194"/>
                            </a:lnTo>
                            <a:lnTo>
                              <a:pt x="242" y="194"/>
                            </a:lnTo>
                            <a:lnTo>
                              <a:pt x="263" y="196"/>
                            </a:lnTo>
                            <a:lnTo>
                              <a:pt x="258" y="174"/>
                            </a:lnTo>
                            <a:lnTo>
                              <a:pt x="258" y="174"/>
                            </a:lnTo>
                            <a:lnTo>
                              <a:pt x="259" y="173"/>
                            </a:lnTo>
                            <a:lnTo>
                              <a:pt x="272" y="134"/>
                            </a:lnTo>
                            <a:lnTo>
                              <a:pt x="259" y="110"/>
                            </a:lnTo>
                            <a:lnTo>
                              <a:pt x="258" y="110"/>
                            </a:lnTo>
                            <a:lnTo>
                              <a:pt x="258" y="109"/>
                            </a:lnTo>
                            <a:lnTo>
                              <a:pt x="269" y="57"/>
                            </a:lnTo>
                            <a:lnTo>
                              <a:pt x="259" y="30"/>
                            </a:lnTo>
                            <a:lnTo>
                              <a:pt x="240" y="28"/>
                            </a:lnTo>
                            <a:lnTo>
                              <a:pt x="238" y="27"/>
                            </a:lnTo>
                            <a:lnTo>
                              <a:pt x="238" y="26"/>
                            </a:lnTo>
                            <a:lnTo>
                              <a:pt x="233" y="1"/>
                            </a:lnTo>
                            <a:lnTo>
                              <a:pt x="219" y="0"/>
                            </a:lnTo>
                            <a:lnTo>
                              <a:pt x="214" y="14"/>
                            </a:lnTo>
                            <a:lnTo>
                              <a:pt x="213" y="15"/>
                            </a:lnTo>
                            <a:lnTo>
                              <a:pt x="212" y="15"/>
                            </a:lnTo>
                            <a:lnTo>
                              <a:pt x="163" y="10"/>
                            </a:lnTo>
                            <a:lnTo>
                              <a:pt x="165" y="25"/>
                            </a:lnTo>
                            <a:lnTo>
                              <a:pt x="187" y="28"/>
                            </a:lnTo>
                            <a:lnTo>
                              <a:pt x="188" y="28"/>
                            </a:lnTo>
                            <a:lnTo>
                              <a:pt x="188" y="29"/>
                            </a:lnTo>
                            <a:lnTo>
                              <a:pt x="189" y="45"/>
                            </a:lnTo>
                            <a:lnTo>
                              <a:pt x="189" y="45"/>
                            </a:lnTo>
                            <a:lnTo>
                              <a:pt x="189" y="46"/>
                            </a:lnTo>
                            <a:lnTo>
                              <a:pt x="164" y="73"/>
                            </a:lnTo>
                            <a:lnTo>
                              <a:pt x="164" y="74"/>
                            </a:lnTo>
                            <a:lnTo>
                              <a:pt x="163" y="74"/>
                            </a:lnTo>
                            <a:lnTo>
                              <a:pt x="124" y="74"/>
                            </a:lnTo>
                            <a:lnTo>
                              <a:pt x="117" y="88"/>
                            </a:lnTo>
                            <a:lnTo>
                              <a:pt x="116" y="89"/>
                            </a:lnTo>
                            <a:lnTo>
                              <a:pt x="115" y="89"/>
                            </a:lnTo>
                            <a:lnTo>
                              <a:pt x="89" y="92"/>
                            </a:lnTo>
                            <a:lnTo>
                              <a:pt x="88" y="92"/>
                            </a:lnTo>
                            <a:lnTo>
                              <a:pt x="87" y="91"/>
                            </a:lnTo>
                            <a:lnTo>
                              <a:pt x="76" y="73"/>
                            </a:lnTo>
                            <a:lnTo>
                              <a:pt x="76" y="72"/>
                            </a:lnTo>
                            <a:lnTo>
                              <a:pt x="76" y="72"/>
                            </a:lnTo>
                            <a:lnTo>
                              <a:pt x="76" y="48"/>
                            </a:lnTo>
                            <a:lnTo>
                              <a:pt x="57" y="39"/>
                            </a:lnTo>
                            <a:lnTo>
                              <a:pt x="55" y="39"/>
                            </a:lnTo>
                            <a:lnTo>
                              <a:pt x="55" y="38"/>
                            </a:lnTo>
                            <a:lnTo>
                              <a:pt x="55" y="13"/>
                            </a:lnTo>
                            <a:lnTo>
                              <a:pt x="42" y="7"/>
                            </a:lnTo>
                            <a:lnTo>
                              <a:pt x="34" y="20"/>
                            </a:lnTo>
                            <a:lnTo>
                              <a:pt x="34" y="21"/>
                            </a:lnTo>
                            <a:lnTo>
                              <a:pt x="32" y="20"/>
                            </a:lnTo>
                            <a:lnTo>
                              <a:pt x="11" y="13"/>
                            </a:lnTo>
                            <a:lnTo>
                              <a:pt x="0" y="26"/>
                            </a:lnTo>
                            <a:lnTo>
                              <a:pt x="13" y="43"/>
                            </a:lnTo>
                            <a:lnTo>
                              <a:pt x="27" y="40"/>
                            </a:lnTo>
                            <a:lnTo>
                              <a:pt x="28" y="40"/>
                            </a:lnTo>
                            <a:lnTo>
                              <a:pt x="29" y="41"/>
                            </a:lnTo>
                            <a:lnTo>
                              <a:pt x="38" y="54"/>
                            </a:lnTo>
                            <a:lnTo>
                              <a:pt x="56" y="59"/>
                            </a:lnTo>
                            <a:lnTo>
                              <a:pt x="57" y="60"/>
                            </a:lnTo>
                            <a:lnTo>
                              <a:pt x="58" y="61"/>
                            </a:lnTo>
                            <a:lnTo>
                              <a:pt x="66" y="82"/>
                            </a:lnTo>
                            <a:lnTo>
                              <a:pt x="85" y="115"/>
                            </a:lnTo>
                            <a:lnTo>
                              <a:pt x="85" y="116"/>
                            </a:lnTo>
                            <a:lnTo>
                              <a:pt x="85" y="117"/>
                            </a:lnTo>
                            <a:lnTo>
                              <a:pt x="80" y="149"/>
                            </a:lnTo>
                            <a:lnTo>
                              <a:pt x="100" y="185"/>
                            </a:lnTo>
                            <a:lnTo>
                              <a:pt x="100" y="185"/>
                            </a:lnTo>
                            <a:lnTo>
                              <a:pt x="100" y="185"/>
                            </a:lnTo>
                            <a:lnTo>
                              <a:pt x="107" y="215"/>
                            </a:lnTo>
                            <a:lnTo>
                              <a:pt x="107" y="215"/>
                            </a:lnTo>
                            <a:lnTo>
                              <a:pt x="107" y="215"/>
                            </a:lnTo>
                            <a:lnTo>
                              <a:pt x="106" y="244"/>
                            </a:lnTo>
                            <a:lnTo>
                              <a:pt x="137" y="275"/>
                            </a:lnTo>
                            <a:lnTo>
                              <a:pt x="137" y="275"/>
                            </a:lnTo>
                            <a:lnTo>
                              <a:pt x="137" y="276"/>
                            </a:lnTo>
                            <a:lnTo>
                              <a:pt x="144" y="294"/>
                            </a:lnTo>
                            <a:lnTo>
                              <a:pt x="144" y="294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75" name="Google Shape;175;p2"/>
                      <p:cNvSpPr/>
                      <p:nvPr/>
                    </p:nvSpPr>
                    <p:spPr>
                      <a:xfrm>
                        <a:off x="341666" y="2391659"/>
                        <a:ext cx="203152" cy="33037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8" h="322" extrusionOk="0">
                            <a:moveTo>
                              <a:pt x="10" y="150"/>
                            </a:moveTo>
                            <a:lnTo>
                              <a:pt x="0" y="160"/>
                            </a:lnTo>
                            <a:lnTo>
                              <a:pt x="2" y="190"/>
                            </a:lnTo>
                            <a:lnTo>
                              <a:pt x="29" y="229"/>
                            </a:lnTo>
                            <a:lnTo>
                              <a:pt x="28" y="271"/>
                            </a:lnTo>
                            <a:lnTo>
                              <a:pt x="23" y="291"/>
                            </a:lnTo>
                            <a:lnTo>
                              <a:pt x="48" y="322"/>
                            </a:lnTo>
                            <a:lnTo>
                              <a:pt x="59" y="317"/>
                            </a:lnTo>
                            <a:lnTo>
                              <a:pt x="66" y="305"/>
                            </a:lnTo>
                            <a:lnTo>
                              <a:pt x="81" y="313"/>
                            </a:lnTo>
                            <a:lnTo>
                              <a:pt x="97" y="317"/>
                            </a:lnTo>
                            <a:lnTo>
                              <a:pt x="116" y="306"/>
                            </a:lnTo>
                            <a:lnTo>
                              <a:pt x="116" y="253"/>
                            </a:lnTo>
                            <a:lnTo>
                              <a:pt x="128" y="179"/>
                            </a:lnTo>
                            <a:lnTo>
                              <a:pt x="176" y="134"/>
                            </a:lnTo>
                            <a:lnTo>
                              <a:pt x="180" y="86"/>
                            </a:lnTo>
                            <a:lnTo>
                              <a:pt x="175" y="66"/>
                            </a:lnTo>
                            <a:lnTo>
                              <a:pt x="198" y="48"/>
                            </a:lnTo>
                            <a:lnTo>
                              <a:pt x="191" y="31"/>
                            </a:lnTo>
                            <a:lnTo>
                              <a:pt x="161" y="0"/>
                            </a:lnTo>
                            <a:lnTo>
                              <a:pt x="150" y="9"/>
                            </a:lnTo>
                            <a:lnTo>
                              <a:pt x="149" y="9"/>
                            </a:lnTo>
                            <a:lnTo>
                              <a:pt x="149" y="9"/>
                            </a:lnTo>
                            <a:lnTo>
                              <a:pt x="117" y="8"/>
                            </a:lnTo>
                            <a:lnTo>
                              <a:pt x="99" y="22"/>
                            </a:lnTo>
                            <a:lnTo>
                              <a:pt x="105" y="34"/>
                            </a:lnTo>
                            <a:lnTo>
                              <a:pt x="106" y="36"/>
                            </a:lnTo>
                            <a:lnTo>
                              <a:pt x="104" y="37"/>
                            </a:lnTo>
                            <a:lnTo>
                              <a:pt x="89" y="46"/>
                            </a:lnTo>
                            <a:lnTo>
                              <a:pt x="108" y="75"/>
                            </a:lnTo>
                            <a:lnTo>
                              <a:pt x="130" y="78"/>
                            </a:lnTo>
                            <a:lnTo>
                              <a:pt x="131" y="79"/>
                            </a:lnTo>
                            <a:lnTo>
                              <a:pt x="131" y="80"/>
                            </a:lnTo>
                            <a:lnTo>
                              <a:pt x="138" y="106"/>
                            </a:lnTo>
                            <a:lnTo>
                              <a:pt x="138" y="107"/>
                            </a:lnTo>
                            <a:lnTo>
                              <a:pt x="137" y="108"/>
                            </a:lnTo>
                            <a:lnTo>
                              <a:pt x="121" y="115"/>
                            </a:lnTo>
                            <a:lnTo>
                              <a:pt x="120" y="115"/>
                            </a:lnTo>
                            <a:lnTo>
                              <a:pt x="120" y="115"/>
                            </a:lnTo>
                            <a:lnTo>
                              <a:pt x="103" y="114"/>
                            </a:lnTo>
                            <a:lnTo>
                              <a:pt x="82" y="155"/>
                            </a:lnTo>
                            <a:lnTo>
                              <a:pt x="81" y="157"/>
                            </a:lnTo>
                            <a:lnTo>
                              <a:pt x="79" y="156"/>
                            </a:lnTo>
                            <a:lnTo>
                              <a:pt x="63" y="142"/>
                            </a:lnTo>
                            <a:lnTo>
                              <a:pt x="53" y="153"/>
                            </a:lnTo>
                            <a:lnTo>
                              <a:pt x="52" y="154"/>
                            </a:lnTo>
                            <a:lnTo>
                              <a:pt x="51" y="154"/>
                            </a:lnTo>
                            <a:lnTo>
                              <a:pt x="10" y="150"/>
                            </a:lnTo>
                            <a:lnTo>
                              <a:pt x="10" y="15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76" name="Google Shape;176;p2"/>
                      <p:cNvSpPr/>
                      <p:nvPr/>
                    </p:nvSpPr>
                    <p:spPr>
                      <a:xfrm>
                        <a:off x="343718" y="2428596"/>
                        <a:ext cx="135435" cy="11799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32" h="115" extrusionOk="0">
                            <a:moveTo>
                              <a:pt x="0" y="77"/>
                            </a:moveTo>
                            <a:lnTo>
                              <a:pt x="7" y="96"/>
                            </a:lnTo>
                            <a:lnTo>
                              <a:pt x="10" y="110"/>
                            </a:lnTo>
                            <a:lnTo>
                              <a:pt x="49" y="114"/>
                            </a:lnTo>
                            <a:lnTo>
                              <a:pt x="59" y="102"/>
                            </a:lnTo>
                            <a:lnTo>
                              <a:pt x="60" y="101"/>
                            </a:lnTo>
                            <a:lnTo>
                              <a:pt x="61" y="102"/>
                            </a:lnTo>
                            <a:lnTo>
                              <a:pt x="77" y="115"/>
                            </a:lnTo>
                            <a:lnTo>
                              <a:pt x="98" y="75"/>
                            </a:lnTo>
                            <a:lnTo>
                              <a:pt x="99" y="74"/>
                            </a:lnTo>
                            <a:lnTo>
                              <a:pt x="100" y="74"/>
                            </a:lnTo>
                            <a:lnTo>
                              <a:pt x="118" y="75"/>
                            </a:lnTo>
                            <a:lnTo>
                              <a:pt x="132" y="69"/>
                            </a:lnTo>
                            <a:lnTo>
                              <a:pt x="126" y="46"/>
                            </a:lnTo>
                            <a:lnTo>
                              <a:pt x="105" y="42"/>
                            </a:lnTo>
                            <a:lnTo>
                              <a:pt x="105" y="42"/>
                            </a:lnTo>
                            <a:lnTo>
                              <a:pt x="104" y="41"/>
                            </a:lnTo>
                            <a:lnTo>
                              <a:pt x="75" y="1"/>
                            </a:lnTo>
                            <a:lnTo>
                              <a:pt x="54" y="0"/>
                            </a:lnTo>
                            <a:lnTo>
                              <a:pt x="43" y="4"/>
                            </a:lnTo>
                            <a:lnTo>
                              <a:pt x="55" y="49"/>
                            </a:lnTo>
                            <a:lnTo>
                              <a:pt x="56" y="51"/>
                            </a:lnTo>
                            <a:lnTo>
                              <a:pt x="54" y="51"/>
                            </a:lnTo>
                            <a:lnTo>
                              <a:pt x="0" y="77"/>
                            </a:lnTo>
                            <a:lnTo>
                              <a:pt x="0" y="77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77" name="Google Shape;177;p2"/>
                      <p:cNvSpPr/>
                      <p:nvPr/>
                    </p:nvSpPr>
                    <p:spPr>
                      <a:xfrm>
                        <a:off x="330379" y="2434752"/>
                        <a:ext cx="65665" cy="6977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64" h="68" extrusionOk="0">
                            <a:moveTo>
                              <a:pt x="0" y="52"/>
                            </a:moveTo>
                            <a:lnTo>
                              <a:pt x="0" y="60"/>
                            </a:lnTo>
                            <a:lnTo>
                              <a:pt x="10" y="68"/>
                            </a:lnTo>
                            <a:lnTo>
                              <a:pt x="64" y="43"/>
                            </a:lnTo>
                            <a:lnTo>
                              <a:pt x="53" y="0"/>
                            </a:lnTo>
                            <a:lnTo>
                              <a:pt x="43" y="4"/>
                            </a:lnTo>
                            <a:lnTo>
                              <a:pt x="34" y="33"/>
                            </a:lnTo>
                            <a:lnTo>
                              <a:pt x="34" y="34"/>
                            </a:lnTo>
                            <a:lnTo>
                              <a:pt x="33" y="34"/>
                            </a:lnTo>
                            <a:lnTo>
                              <a:pt x="19" y="45"/>
                            </a:lnTo>
                            <a:lnTo>
                              <a:pt x="19" y="45"/>
                            </a:lnTo>
                            <a:lnTo>
                              <a:pt x="19" y="45"/>
                            </a:lnTo>
                            <a:lnTo>
                              <a:pt x="0" y="52"/>
                            </a:lnTo>
                            <a:lnTo>
                              <a:pt x="0" y="52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78" name="Google Shape;178;p2"/>
                      <p:cNvSpPr/>
                      <p:nvPr/>
                    </p:nvSpPr>
                    <p:spPr>
                      <a:xfrm>
                        <a:off x="287286" y="2411153"/>
                        <a:ext cx="107733" cy="7284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05" h="71" extrusionOk="0">
                            <a:moveTo>
                              <a:pt x="0" y="13"/>
                            </a:moveTo>
                            <a:lnTo>
                              <a:pt x="2" y="47"/>
                            </a:lnTo>
                            <a:lnTo>
                              <a:pt x="41" y="65"/>
                            </a:lnTo>
                            <a:lnTo>
                              <a:pt x="42" y="71"/>
                            </a:lnTo>
                            <a:lnTo>
                              <a:pt x="60" y="65"/>
                            </a:lnTo>
                            <a:lnTo>
                              <a:pt x="72" y="55"/>
                            </a:lnTo>
                            <a:lnTo>
                              <a:pt x="82" y="25"/>
                            </a:lnTo>
                            <a:lnTo>
                              <a:pt x="82" y="24"/>
                            </a:lnTo>
                            <a:lnTo>
                              <a:pt x="83" y="24"/>
                            </a:lnTo>
                            <a:lnTo>
                              <a:pt x="105" y="14"/>
                            </a:lnTo>
                            <a:lnTo>
                              <a:pt x="88" y="0"/>
                            </a:lnTo>
                            <a:lnTo>
                              <a:pt x="81" y="12"/>
                            </a:lnTo>
                            <a:lnTo>
                              <a:pt x="81" y="13"/>
                            </a:lnTo>
                            <a:lnTo>
                              <a:pt x="79" y="12"/>
                            </a:lnTo>
                            <a:lnTo>
                              <a:pt x="34" y="2"/>
                            </a:lnTo>
                            <a:lnTo>
                              <a:pt x="1" y="12"/>
                            </a:lnTo>
                            <a:lnTo>
                              <a:pt x="0" y="13"/>
                            </a:lnTo>
                            <a:lnTo>
                              <a:pt x="0" y="13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79" name="Google Shape;179;p2"/>
                      <p:cNvSpPr/>
                      <p:nvPr/>
                    </p:nvSpPr>
                    <p:spPr>
                      <a:xfrm>
                        <a:off x="257532" y="2335228"/>
                        <a:ext cx="125175" cy="8516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22" h="83" extrusionOk="0">
                            <a:moveTo>
                              <a:pt x="0" y="18"/>
                            </a:moveTo>
                            <a:lnTo>
                              <a:pt x="21" y="42"/>
                            </a:lnTo>
                            <a:lnTo>
                              <a:pt x="21" y="73"/>
                            </a:lnTo>
                            <a:lnTo>
                              <a:pt x="28" y="83"/>
                            </a:lnTo>
                            <a:lnTo>
                              <a:pt x="28" y="83"/>
                            </a:lnTo>
                            <a:lnTo>
                              <a:pt x="28" y="83"/>
                            </a:lnTo>
                            <a:lnTo>
                              <a:pt x="63" y="72"/>
                            </a:lnTo>
                            <a:lnTo>
                              <a:pt x="63" y="72"/>
                            </a:lnTo>
                            <a:lnTo>
                              <a:pt x="64" y="72"/>
                            </a:lnTo>
                            <a:lnTo>
                              <a:pt x="108" y="82"/>
                            </a:lnTo>
                            <a:lnTo>
                              <a:pt x="122" y="58"/>
                            </a:lnTo>
                            <a:lnTo>
                              <a:pt x="115" y="38"/>
                            </a:lnTo>
                            <a:lnTo>
                              <a:pt x="95" y="38"/>
                            </a:lnTo>
                            <a:lnTo>
                              <a:pt x="94" y="38"/>
                            </a:lnTo>
                            <a:lnTo>
                              <a:pt x="94" y="38"/>
                            </a:lnTo>
                            <a:lnTo>
                              <a:pt x="53" y="1"/>
                            </a:lnTo>
                            <a:lnTo>
                              <a:pt x="24" y="0"/>
                            </a:lnTo>
                            <a:lnTo>
                              <a:pt x="0" y="18"/>
                            </a:lnTo>
                            <a:lnTo>
                              <a:pt x="0" y="18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80" name="Google Shape;180;p2"/>
                      <p:cNvSpPr/>
                      <p:nvPr/>
                    </p:nvSpPr>
                    <p:spPr>
                      <a:xfrm>
                        <a:off x="205205" y="2241859"/>
                        <a:ext cx="120045" cy="10978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17" h="107" extrusionOk="0">
                            <a:moveTo>
                              <a:pt x="0" y="15"/>
                            </a:moveTo>
                            <a:lnTo>
                              <a:pt x="24" y="55"/>
                            </a:lnTo>
                            <a:lnTo>
                              <a:pt x="24" y="80"/>
                            </a:lnTo>
                            <a:lnTo>
                              <a:pt x="48" y="107"/>
                            </a:lnTo>
                            <a:lnTo>
                              <a:pt x="73" y="88"/>
                            </a:lnTo>
                            <a:lnTo>
                              <a:pt x="74" y="87"/>
                            </a:lnTo>
                            <a:lnTo>
                              <a:pt x="75" y="87"/>
                            </a:lnTo>
                            <a:lnTo>
                              <a:pt x="103" y="89"/>
                            </a:lnTo>
                            <a:lnTo>
                              <a:pt x="102" y="59"/>
                            </a:lnTo>
                            <a:lnTo>
                              <a:pt x="102" y="58"/>
                            </a:lnTo>
                            <a:lnTo>
                              <a:pt x="102" y="57"/>
                            </a:lnTo>
                            <a:lnTo>
                              <a:pt x="117" y="47"/>
                            </a:lnTo>
                            <a:lnTo>
                              <a:pt x="96" y="7"/>
                            </a:lnTo>
                            <a:lnTo>
                              <a:pt x="88" y="21"/>
                            </a:lnTo>
                            <a:lnTo>
                              <a:pt x="88" y="22"/>
                            </a:lnTo>
                            <a:lnTo>
                              <a:pt x="87" y="22"/>
                            </a:lnTo>
                            <a:lnTo>
                              <a:pt x="61" y="20"/>
                            </a:lnTo>
                            <a:lnTo>
                              <a:pt x="60" y="20"/>
                            </a:lnTo>
                            <a:lnTo>
                              <a:pt x="59" y="19"/>
                            </a:lnTo>
                            <a:lnTo>
                              <a:pt x="45" y="0"/>
                            </a:lnTo>
                            <a:lnTo>
                              <a:pt x="0" y="15"/>
                            </a:lnTo>
                            <a:lnTo>
                              <a:pt x="0" y="15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81" name="Google Shape;181;p2"/>
                      <p:cNvSpPr/>
                      <p:nvPr/>
                    </p:nvSpPr>
                    <p:spPr>
                      <a:xfrm>
                        <a:off x="148774" y="1959704"/>
                        <a:ext cx="237012" cy="30165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09" h="647" extrusionOk="0">
                            <a:moveTo>
                              <a:pt x="101" y="546"/>
                            </a:moveTo>
                            <a:lnTo>
                              <a:pt x="98" y="494"/>
                            </a:lnTo>
                            <a:lnTo>
                              <a:pt x="98" y="494"/>
                            </a:lnTo>
                            <a:lnTo>
                              <a:pt x="98" y="491"/>
                            </a:lnTo>
                            <a:lnTo>
                              <a:pt x="98" y="487"/>
                            </a:lnTo>
                            <a:lnTo>
                              <a:pt x="102" y="486"/>
                            </a:lnTo>
                            <a:lnTo>
                              <a:pt x="105" y="486"/>
                            </a:lnTo>
                            <a:lnTo>
                              <a:pt x="159" y="481"/>
                            </a:lnTo>
                            <a:lnTo>
                              <a:pt x="159" y="449"/>
                            </a:lnTo>
                            <a:lnTo>
                              <a:pt x="158" y="449"/>
                            </a:lnTo>
                            <a:lnTo>
                              <a:pt x="158" y="447"/>
                            </a:lnTo>
                            <a:lnTo>
                              <a:pt x="158" y="445"/>
                            </a:lnTo>
                            <a:lnTo>
                              <a:pt x="160" y="443"/>
                            </a:lnTo>
                            <a:lnTo>
                              <a:pt x="162" y="442"/>
                            </a:lnTo>
                            <a:lnTo>
                              <a:pt x="162" y="442"/>
                            </a:lnTo>
                            <a:lnTo>
                              <a:pt x="222" y="398"/>
                            </a:lnTo>
                            <a:lnTo>
                              <a:pt x="183" y="374"/>
                            </a:lnTo>
                            <a:lnTo>
                              <a:pt x="183" y="374"/>
                            </a:lnTo>
                            <a:lnTo>
                              <a:pt x="183" y="374"/>
                            </a:lnTo>
                            <a:lnTo>
                              <a:pt x="182" y="373"/>
                            </a:lnTo>
                            <a:lnTo>
                              <a:pt x="182" y="373"/>
                            </a:lnTo>
                            <a:lnTo>
                              <a:pt x="182" y="372"/>
                            </a:lnTo>
                            <a:lnTo>
                              <a:pt x="182" y="372"/>
                            </a:lnTo>
                            <a:lnTo>
                              <a:pt x="133" y="315"/>
                            </a:lnTo>
                            <a:lnTo>
                              <a:pt x="133" y="315"/>
                            </a:lnTo>
                            <a:lnTo>
                              <a:pt x="132" y="313"/>
                            </a:lnTo>
                            <a:lnTo>
                              <a:pt x="131" y="312"/>
                            </a:lnTo>
                            <a:lnTo>
                              <a:pt x="131" y="310"/>
                            </a:lnTo>
                            <a:lnTo>
                              <a:pt x="131" y="309"/>
                            </a:lnTo>
                            <a:lnTo>
                              <a:pt x="137" y="263"/>
                            </a:lnTo>
                            <a:lnTo>
                              <a:pt x="137" y="263"/>
                            </a:lnTo>
                            <a:lnTo>
                              <a:pt x="138" y="258"/>
                            </a:lnTo>
                            <a:lnTo>
                              <a:pt x="139" y="253"/>
                            </a:lnTo>
                            <a:lnTo>
                              <a:pt x="143" y="255"/>
                            </a:lnTo>
                            <a:lnTo>
                              <a:pt x="148" y="257"/>
                            </a:lnTo>
                            <a:lnTo>
                              <a:pt x="190" y="272"/>
                            </a:lnTo>
                            <a:lnTo>
                              <a:pt x="190" y="272"/>
                            </a:lnTo>
                            <a:lnTo>
                              <a:pt x="192" y="272"/>
                            </a:lnTo>
                            <a:lnTo>
                              <a:pt x="193" y="273"/>
                            </a:lnTo>
                            <a:lnTo>
                              <a:pt x="194" y="274"/>
                            </a:lnTo>
                            <a:lnTo>
                              <a:pt x="195" y="275"/>
                            </a:lnTo>
                            <a:lnTo>
                              <a:pt x="195" y="275"/>
                            </a:lnTo>
                            <a:lnTo>
                              <a:pt x="228" y="329"/>
                            </a:lnTo>
                            <a:lnTo>
                              <a:pt x="275" y="329"/>
                            </a:lnTo>
                            <a:lnTo>
                              <a:pt x="275" y="329"/>
                            </a:lnTo>
                            <a:lnTo>
                              <a:pt x="279" y="329"/>
                            </a:lnTo>
                            <a:lnTo>
                              <a:pt x="283" y="329"/>
                            </a:lnTo>
                            <a:lnTo>
                              <a:pt x="283" y="333"/>
                            </a:lnTo>
                            <a:lnTo>
                              <a:pt x="283" y="336"/>
                            </a:lnTo>
                            <a:lnTo>
                              <a:pt x="286" y="384"/>
                            </a:lnTo>
                            <a:lnTo>
                              <a:pt x="320" y="412"/>
                            </a:lnTo>
                            <a:lnTo>
                              <a:pt x="321" y="414"/>
                            </a:lnTo>
                            <a:lnTo>
                              <a:pt x="323" y="415"/>
                            </a:lnTo>
                            <a:lnTo>
                              <a:pt x="323" y="417"/>
                            </a:lnTo>
                            <a:lnTo>
                              <a:pt x="323" y="419"/>
                            </a:lnTo>
                            <a:lnTo>
                              <a:pt x="320" y="485"/>
                            </a:lnTo>
                            <a:lnTo>
                              <a:pt x="320" y="487"/>
                            </a:lnTo>
                            <a:lnTo>
                              <a:pt x="320" y="488"/>
                            </a:lnTo>
                            <a:lnTo>
                              <a:pt x="319" y="489"/>
                            </a:lnTo>
                            <a:lnTo>
                              <a:pt x="318" y="490"/>
                            </a:lnTo>
                            <a:lnTo>
                              <a:pt x="270" y="553"/>
                            </a:lnTo>
                            <a:lnTo>
                              <a:pt x="264" y="561"/>
                            </a:lnTo>
                            <a:lnTo>
                              <a:pt x="258" y="569"/>
                            </a:lnTo>
                            <a:lnTo>
                              <a:pt x="256" y="559"/>
                            </a:lnTo>
                            <a:lnTo>
                              <a:pt x="255" y="549"/>
                            </a:lnTo>
                            <a:lnTo>
                              <a:pt x="248" y="494"/>
                            </a:lnTo>
                            <a:lnTo>
                              <a:pt x="173" y="578"/>
                            </a:lnTo>
                            <a:lnTo>
                              <a:pt x="171" y="580"/>
                            </a:lnTo>
                            <a:lnTo>
                              <a:pt x="169" y="582"/>
                            </a:lnTo>
                            <a:lnTo>
                              <a:pt x="166" y="581"/>
                            </a:lnTo>
                            <a:lnTo>
                              <a:pt x="163" y="580"/>
                            </a:lnTo>
                            <a:lnTo>
                              <a:pt x="106" y="553"/>
                            </a:lnTo>
                            <a:lnTo>
                              <a:pt x="104" y="552"/>
                            </a:lnTo>
                            <a:lnTo>
                              <a:pt x="101" y="551"/>
                            </a:lnTo>
                            <a:lnTo>
                              <a:pt x="101" y="548"/>
                            </a:lnTo>
                            <a:lnTo>
                              <a:pt x="101" y="546"/>
                            </a:lnTo>
                            <a:close/>
                            <a:moveTo>
                              <a:pt x="19" y="67"/>
                            </a:moveTo>
                            <a:lnTo>
                              <a:pt x="24" y="143"/>
                            </a:lnTo>
                            <a:lnTo>
                              <a:pt x="0" y="171"/>
                            </a:lnTo>
                            <a:lnTo>
                              <a:pt x="11" y="204"/>
                            </a:lnTo>
                            <a:lnTo>
                              <a:pt x="46" y="230"/>
                            </a:lnTo>
                            <a:lnTo>
                              <a:pt x="43" y="285"/>
                            </a:lnTo>
                            <a:lnTo>
                              <a:pt x="63" y="372"/>
                            </a:lnTo>
                            <a:lnTo>
                              <a:pt x="56" y="452"/>
                            </a:lnTo>
                            <a:lnTo>
                              <a:pt x="41" y="585"/>
                            </a:lnTo>
                            <a:lnTo>
                              <a:pt x="59" y="609"/>
                            </a:lnTo>
                            <a:lnTo>
                              <a:pt x="93" y="593"/>
                            </a:lnTo>
                            <a:lnTo>
                              <a:pt x="116" y="632"/>
                            </a:lnTo>
                            <a:lnTo>
                              <a:pt x="220" y="596"/>
                            </a:lnTo>
                            <a:lnTo>
                              <a:pt x="223" y="595"/>
                            </a:lnTo>
                            <a:lnTo>
                              <a:pt x="224" y="597"/>
                            </a:lnTo>
                            <a:lnTo>
                              <a:pt x="256" y="641"/>
                            </a:lnTo>
                            <a:lnTo>
                              <a:pt x="309" y="647"/>
                            </a:lnTo>
                            <a:lnTo>
                              <a:pt x="347" y="571"/>
                            </a:lnTo>
                            <a:lnTo>
                              <a:pt x="348" y="569"/>
                            </a:lnTo>
                            <a:lnTo>
                              <a:pt x="349" y="569"/>
                            </a:lnTo>
                            <a:lnTo>
                              <a:pt x="390" y="552"/>
                            </a:lnTo>
                            <a:lnTo>
                              <a:pt x="375" y="529"/>
                            </a:lnTo>
                            <a:lnTo>
                              <a:pt x="373" y="527"/>
                            </a:lnTo>
                            <a:lnTo>
                              <a:pt x="375" y="525"/>
                            </a:lnTo>
                            <a:lnTo>
                              <a:pt x="397" y="483"/>
                            </a:lnTo>
                            <a:lnTo>
                              <a:pt x="372" y="461"/>
                            </a:lnTo>
                            <a:lnTo>
                              <a:pt x="369" y="458"/>
                            </a:lnTo>
                            <a:lnTo>
                              <a:pt x="372" y="455"/>
                            </a:lnTo>
                            <a:lnTo>
                              <a:pt x="401" y="426"/>
                            </a:lnTo>
                            <a:lnTo>
                              <a:pt x="404" y="400"/>
                            </a:lnTo>
                            <a:lnTo>
                              <a:pt x="405" y="398"/>
                            </a:lnTo>
                            <a:lnTo>
                              <a:pt x="407" y="397"/>
                            </a:lnTo>
                            <a:lnTo>
                              <a:pt x="440" y="381"/>
                            </a:lnTo>
                            <a:lnTo>
                              <a:pt x="443" y="380"/>
                            </a:lnTo>
                            <a:lnTo>
                              <a:pt x="445" y="383"/>
                            </a:lnTo>
                            <a:lnTo>
                              <a:pt x="467" y="421"/>
                            </a:lnTo>
                            <a:lnTo>
                              <a:pt x="495" y="398"/>
                            </a:lnTo>
                            <a:lnTo>
                              <a:pt x="498" y="349"/>
                            </a:lnTo>
                            <a:lnTo>
                              <a:pt x="498" y="348"/>
                            </a:lnTo>
                            <a:lnTo>
                              <a:pt x="498" y="347"/>
                            </a:lnTo>
                            <a:lnTo>
                              <a:pt x="509" y="325"/>
                            </a:lnTo>
                            <a:lnTo>
                              <a:pt x="460" y="264"/>
                            </a:lnTo>
                            <a:lnTo>
                              <a:pt x="458" y="262"/>
                            </a:lnTo>
                            <a:lnTo>
                              <a:pt x="459" y="259"/>
                            </a:lnTo>
                            <a:lnTo>
                              <a:pt x="497" y="186"/>
                            </a:lnTo>
                            <a:lnTo>
                              <a:pt x="449" y="126"/>
                            </a:lnTo>
                            <a:lnTo>
                              <a:pt x="405" y="126"/>
                            </a:lnTo>
                            <a:lnTo>
                              <a:pt x="403" y="126"/>
                            </a:lnTo>
                            <a:lnTo>
                              <a:pt x="402" y="124"/>
                            </a:lnTo>
                            <a:lnTo>
                              <a:pt x="375" y="72"/>
                            </a:lnTo>
                            <a:lnTo>
                              <a:pt x="296" y="0"/>
                            </a:lnTo>
                            <a:lnTo>
                              <a:pt x="285" y="104"/>
                            </a:lnTo>
                            <a:lnTo>
                              <a:pt x="241" y="82"/>
                            </a:lnTo>
                            <a:lnTo>
                              <a:pt x="159" y="87"/>
                            </a:lnTo>
                            <a:lnTo>
                              <a:pt x="128" y="126"/>
                            </a:lnTo>
                            <a:lnTo>
                              <a:pt x="67" y="23"/>
                            </a:lnTo>
                            <a:lnTo>
                              <a:pt x="19" y="67"/>
                            </a:lnTo>
                            <a:lnTo>
                              <a:pt x="19" y="67"/>
                            </a:lnTo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82" name="Google Shape;182;p2"/>
                      <p:cNvSpPr/>
                      <p:nvPr/>
                    </p:nvSpPr>
                    <p:spPr>
                      <a:xfrm>
                        <a:off x="305755" y="2141309"/>
                        <a:ext cx="201100" cy="29446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6" h="287" extrusionOk="0">
                            <a:moveTo>
                              <a:pt x="73" y="7"/>
                            </a:moveTo>
                            <a:lnTo>
                              <a:pt x="60" y="19"/>
                            </a:lnTo>
                            <a:lnTo>
                              <a:pt x="58" y="20"/>
                            </a:lnTo>
                            <a:lnTo>
                              <a:pt x="57" y="18"/>
                            </a:lnTo>
                            <a:lnTo>
                              <a:pt x="47" y="0"/>
                            </a:lnTo>
                            <a:lnTo>
                              <a:pt x="34" y="6"/>
                            </a:lnTo>
                            <a:lnTo>
                              <a:pt x="33" y="17"/>
                            </a:lnTo>
                            <a:lnTo>
                              <a:pt x="33" y="18"/>
                            </a:lnTo>
                            <a:lnTo>
                              <a:pt x="33" y="18"/>
                            </a:lnTo>
                            <a:lnTo>
                              <a:pt x="20" y="31"/>
                            </a:lnTo>
                            <a:lnTo>
                              <a:pt x="31" y="40"/>
                            </a:lnTo>
                            <a:lnTo>
                              <a:pt x="32" y="41"/>
                            </a:lnTo>
                            <a:lnTo>
                              <a:pt x="32" y="43"/>
                            </a:lnTo>
                            <a:lnTo>
                              <a:pt x="21" y="62"/>
                            </a:lnTo>
                            <a:lnTo>
                              <a:pt x="29" y="74"/>
                            </a:lnTo>
                            <a:lnTo>
                              <a:pt x="30" y="75"/>
                            </a:lnTo>
                            <a:lnTo>
                              <a:pt x="28" y="76"/>
                            </a:lnTo>
                            <a:lnTo>
                              <a:pt x="8" y="84"/>
                            </a:lnTo>
                            <a:lnTo>
                              <a:pt x="0" y="101"/>
                            </a:lnTo>
                            <a:lnTo>
                              <a:pt x="24" y="145"/>
                            </a:lnTo>
                            <a:lnTo>
                              <a:pt x="24" y="147"/>
                            </a:lnTo>
                            <a:lnTo>
                              <a:pt x="23" y="148"/>
                            </a:lnTo>
                            <a:lnTo>
                              <a:pt x="7" y="158"/>
                            </a:lnTo>
                            <a:lnTo>
                              <a:pt x="9" y="187"/>
                            </a:lnTo>
                            <a:lnTo>
                              <a:pt x="48" y="224"/>
                            </a:lnTo>
                            <a:lnTo>
                              <a:pt x="70" y="224"/>
                            </a:lnTo>
                            <a:lnTo>
                              <a:pt x="71" y="224"/>
                            </a:lnTo>
                            <a:lnTo>
                              <a:pt x="72" y="225"/>
                            </a:lnTo>
                            <a:lnTo>
                              <a:pt x="78" y="247"/>
                            </a:lnTo>
                            <a:lnTo>
                              <a:pt x="78" y="248"/>
                            </a:lnTo>
                            <a:lnTo>
                              <a:pt x="78" y="248"/>
                            </a:lnTo>
                            <a:lnTo>
                              <a:pt x="72" y="260"/>
                            </a:lnTo>
                            <a:lnTo>
                              <a:pt x="91" y="276"/>
                            </a:lnTo>
                            <a:lnTo>
                              <a:pt x="114" y="277"/>
                            </a:lnTo>
                            <a:lnTo>
                              <a:pt x="115" y="277"/>
                            </a:lnTo>
                            <a:lnTo>
                              <a:pt x="115" y="278"/>
                            </a:lnTo>
                            <a:lnTo>
                              <a:pt x="122" y="287"/>
                            </a:lnTo>
                            <a:lnTo>
                              <a:pt x="136" y="278"/>
                            </a:lnTo>
                            <a:lnTo>
                              <a:pt x="130" y="266"/>
                            </a:lnTo>
                            <a:lnTo>
                              <a:pt x="129" y="265"/>
                            </a:lnTo>
                            <a:lnTo>
                              <a:pt x="130" y="264"/>
                            </a:lnTo>
                            <a:lnTo>
                              <a:pt x="150" y="249"/>
                            </a:lnTo>
                            <a:lnTo>
                              <a:pt x="150" y="248"/>
                            </a:lnTo>
                            <a:lnTo>
                              <a:pt x="151" y="248"/>
                            </a:lnTo>
                            <a:lnTo>
                              <a:pt x="183" y="250"/>
                            </a:lnTo>
                            <a:lnTo>
                              <a:pt x="194" y="241"/>
                            </a:lnTo>
                            <a:lnTo>
                              <a:pt x="196" y="212"/>
                            </a:lnTo>
                            <a:lnTo>
                              <a:pt x="189" y="184"/>
                            </a:lnTo>
                            <a:lnTo>
                              <a:pt x="168" y="147"/>
                            </a:lnTo>
                            <a:lnTo>
                              <a:pt x="168" y="146"/>
                            </a:lnTo>
                            <a:lnTo>
                              <a:pt x="168" y="146"/>
                            </a:lnTo>
                            <a:lnTo>
                              <a:pt x="173" y="114"/>
                            </a:lnTo>
                            <a:lnTo>
                              <a:pt x="155" y="81"/>
                            </a:lnTo>
                            <a:lnTo>
                              <a:pt x="155" y="81"/>
                            </a:lnTo>
                            <a:lnTo>
                              <a:pt x="155" y="81"/>
                            </a:lnTo>
                            <a:lnTo>
                              <a:pt x="147" y="59"/>
                            </a:lnTo>
                            <a:lnTo>
                              <a:pt x="128" y="54"/>
                            </a:lnTo>
                            <a:lnTo>
                              <a:pt x="127" y="54"/>
                            </a:lnTo>
                            <a:lnTo>
                              <a:pt x="127" y="54"/>
                            </a:lnTo>
                            <a:lnTo>
                              <a:pt x="118" y="41"/>
                            </a:lnTo>
                            <a:lnTo>
                              <a:pt x="104" y="44"/>
                            </a:lnTo>
                            <a:lnTo>
                              <a:pt x="103" y="44"/>
                            </a:lnTo>
                            <a:lnTo>
                              <a:pt x="103" y="43"/>
                            </a:lnTo>
                            <a:lnTo>
                              <a:pt x="73" y="7"/>
                            </a:lnTo>
                            <a:lnTo>
                              <a:pt x="73" y="7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rgbClr val="F2F2F2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83" name="Google Shape;183;p2"/>
                      <p:cNvSpPr/>
                      <p:nvPr/>
                    </p:nvSpPr>
                    <p:spPr>
                      <a:xfrm>
                        <a:off x="199048" y="2082826"/>
                        <a:ext cx="96446" cy="14364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4" h="140" extrusionOk="0">
                            <a:moveTo>
                              <a:pt x="0" y="104"/>
                            </a:moveTo>
                            <a:lnTo>
                              <a:pt x="1" y="127"/>
                            </a:lnTo>
                            <a:lnTo>
                              <a:pt x="27" y="140"/>
                            </a:lnTo>
                            <a:lnTo>
                              <a:pt x="64" y="99"/>
                            </a:lnTo>
                            <a:lnTo>
                              <a:pt x="67" y="96"/>
                            </a:lnTo>
                            <a:lnTo>
                              <a:pt x="67" y="100"/>
                            </a:lnTo>
                            <a:lnTo>
                              <a:pt x="71" y="129"/>
                            </a:lnTo>
                            <a:lnTo>
                              <a:pt x="93" y="100"/>
                            </a:lnTo>
                            <a:lnTo>
                              <a:pt x="94" y="70"/>
                            </a:lnTo>
                            <a:lnTo>
                              <a:pt x="78" y="57"/>
                            </a:lnTo>
                            <a:lnTo>
                              <a:pt x="78" y="56"/>
                            </a:lnTo>
                            <a:lnTo>
                              <a:pt x="78" y="55"/>
                            </a:lnTo>
                            <a:lnTo>
                              <a:pt x="76" y="33"/>
                            </a:lnTo>
                            <a:lnTo>
                              <a:pt x="76" y="33"/>
                            </a:lnTo>
                            <a:lnTo>
                              <a:pt x="54" y="33"/>
                            </a:lnTo>
                            <a:lnTo>
                              <a:pt x="53" y="33"/>
                            </a:lnTo>
                            <a:lnTo>
                              <a:pt x="53" y="32"/>
                            </a:lnTo>
                            <a:lnTo>
                              <a:pt x="37" y="7"/>
                            </a:lnTo>
                            <a:lnTo>
                              <a:pt x="17" y="0"/>
                            </a:lnTo>
                            <a:lnTo>
                              <a:pt x="17" y="0"/>
                            </a:lnTo>
                            <a:lnTo>
                              <a:pt x="14" y="21"/>
                            </a:lnTo>
                            <a:lnTo>
                              <a:pt x="14" y="21"/>
                            </a:lnTo>
                            <a:lnTo>
                              <a:pt x="14" y="21"/>
                            </a:lnTo>
                            <a:lnTo>
                              <a:pt x="37" y="47"/>
                            </a:lnTo>
                            <a:lnTo>
                              <a:pt x="37" y="47"/>
                            </a:lnTo>
                            <a:lnTo>
                              <a:pt x="37" y="47"/>
                            </a:lnTo>
                            <a:lnTo>
                              <a:pt x="56" y="59"/>
                            </a:lnTo>
                            <a:lnTo>
                              <a:pt x="59" y="60"/>
                            </a:lnTo>
                            <a:lnTo>
                              <a:pt x="56" y="62"/>
                            </a:lnTo>
                            <a:lnTo>
                              <a:pt x="27" y="84"/>
                            </a:lnTo>
                            <a:lnTo>
                              <a:pt x="27" y="84"/>
                            </a:lnTo>
                            <a:lnTo>
                              <a:pt x="27" y="100"/>
                            </a:lnTo>
                            <a:lnTo>
                              <a:pt x="27" y="102"/>
                            </a:lnTo>
                            <a:lnTo>
                              <a:pt x="25" y="102"/>
                            </a:lnTo>
                            <a:lnTo>
                              <a:pt x="0" y="104"/>
                            </a:lnTo>
                            <a:lnTo>
                              <a:pt x="0" y="104"/>
                            </a:lnTo>
                            <a:close/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84" name="Google Shape;184;p2"/>
                      <p:cNvSpPr/>
                      <p:nvPr/>
                    </p:nvSpPr>
                    <p:spPr>
                      <a:xfrm>
                        <a:off x="3349964" y="2418335"/>
                        <a:ext cx="858781" cy="65870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37" h="642" extrusionOk="0">
                            <a:moveTo>
                              <a:pt x="12" y="499"/>
                            </a:moveTo>
                            <a:lnTo>
                              <a:pt x="96" y="533"/>
                            </a:lnTo>
                            <a:lnTo>
                              <a:pt x="173" y="551"/>
                            </a:lnTo>
                            <a:lnTo>
                              <a:pt x="189" y="612"/>
                            </a:lnTo>
                            <a:lnTo>
                              <a:pt x="245" y="642"/>
                            </a:lnTo>
                            <a:lnTo>
                              <a:pt x="285" y="641"/>
                            </a:lnTo>
                            <a:lnTo>
                              <a:pt x="341" y="607"/>
                            </a:lnTo>
                            <a:lnTo>
                              <a:pt x="385" y="621"/>
                            </a:lnTo>
                            <a:lnTo>
                              <a:pt x="430" y="618"/>
                            </a:lnTo>
                            <a:lnTo>
                              <a:pt x="442" y="639"/>
                            </a:lnTo>
                            <a:lnTo>
                              <a:pt x="468" y="640"/>
                            </a:lnTo>
                            <a:lnTo>
                              <a:pt x="476" y="608"/>
                            </a:lnTo>
                            <a:lnTo>
                              <a:pt x="477" y="608"/>
                            </a:lnTo>
                            <a:lnTo>
                              <a:pt x="477" y="607"/>
                            </a:lnTo>
                            <a:lnTo>
                              <a:pt x="502" y="594"/>
                            </a:lnTo>
                            <a:lnTo>
                              <a:pt x="475" y="565"/>
                            </a:lnTo>
                            <a:lnTo>
                              <a:pt x="474" y="563"/>
                            </a:lnTo>
                            <a:lnTo>
                              <a:pt x="476" y="562"/>
                            </a:lnTo>
                            <a:lnTo>
                              <a:pt x="502" y="541"/>
                            </a:lnTo>
                            <a:lnTo>
                              <a:pt x="492" y="511"/>
                            </a:lnTo>
                            <a:lnTo>
                              <a:pt x="491" y="508"/>
                            </a:lnTo>
                            <a:lnTo>
                              <a:pt x="493" y="508"/>
                            </a:lnTo>
                            <a:lnTo>
                              <a:pt x="543" y="508"/>
                            </a:lnTo>
                            <a:lnTo>
                              <a:pt x="574" y="483"/>
                            </a:lnTo>
                            <a:lnTo>
                              <a:pt x="575" y="483"/>
                            </a:lnTo>
                            <a:lnTo>
                              <a:pt x="575" y="483"/>
                            </a:lnTo>
                            <a:lnTo>
                              <a:pt x="603" y="487"/>
                            </a:lnTo>
                            <a:lnTo>
                              <a:pt x="654" y="419"/>
                            </a:lnTo>
                            <a:lnTo>
                              <a:pt x="655" y="418"/>
                            </a:lnTo>
                            <a:lnTo>
                              <a:pt x="655" y="418"/>
                            </a:lnTo>
                            <a:lnTo>
                              <a:pt x="688" y="415"/>
                            </a:lnTo>
                            <a:lnTo>
                              <a:pt x="698" y="400"/>
                            </a:lnTo>
                            <a:lnTo>
                              <a:pt x="698" y="399"/>
                            </a:lnTo>
                            <a:lnTo>
                              <a:pt x="699" y="399"/>
                            </a:lnTo>
                            <a:lnTo>
                              <a:pt x="727" y="387"/>
                            </a:lnTo>
                            <a:lnTo>
                              <a:pt x="748" y="361"/>
                            </a:lnTo>
                            <a:lnTo>
                              <a:pt x="750" y="333"/>
                            </a:lnTo>
                            <a:lnTo>
                              <a:pt x="728" y="318"/>
                            </a:lnTo>
                            <a:lnTo>
                              <a:pt x="727" y="317"/>
                            </a:lnTo>
                            <a:lnTo>
                              <a:pt x="727" y="316"/>
                            </a:lnTo>
                            <a:lnTo>
                              <a:pt x="727" y="289"/>
                            </a:lnTo>
                            <a:lnTo>
                              <a:pt x="727" y="288"/>
                            </a:lnTo>
                            <a:lnTo>
                              <a:pt x="728" y="288"/>
                            </a:lnTo>
                            <a:lnTo>
                              <a:pt x="777" y="251"/>
                            </a:lnTo>
                            <a:lnTo>
                              <a:pt x="794" y="212"/>
                            </a:lnTo>
                            <a:lnTo>
                              <a:pt x="794" y="211"/>
                            </a:lnTo>
                            <a:lnTo>
                              <a:pt x="794" y="211"/>
                            </a:lnTo>
                            <a:lnTo>
                              <a:pt x="837" y="196"/>
                            </a:lnTo>
                            <a:lnTo>
                              <a:pt x="835" y="162"/>
                            </a:lnTo>
                            <a:lnTo>
                              <a:pt x="809" y="138"/>
                            </a:lnTo>
                            <a:lnTo>
                              <a:pt x="779" y="133"/>
                            </a:lnTo>
                            <a:lnTo>
                              <a:pt x="778" y="133"/>
                            </a:lnTo>
                            <a:lnTo>
                              <a:pt x="778" y="132"/>
                            </a:lnTo>
                            <a:lnTo>
                              <a:pt x="754" y="59"/>
                            </a:lnTo>
                            <a:lnTo>
                              <a:pt x="738" y="45"/>
                            </a:lnTo>
                            <a:lnTo>
                              <a:pt x="737" y="44"/>
                            </a:lnTo>
                            <a:lnTo>
                              <a:pt x="738" y="42"/>
                            </a:lnTo>
                            <a:lnTo>
                              <a:pt x="753" y="21"/>
                            </a:lnTo>
                            <a:lnTo>
                              <a:pt x="751" y="0"/>
                            </a:lnTo>
                            <a:lnTo>
                              <a:pt x="733" y="20"/>
                            </a:lnTo>
                            <a:lnTo>
                              <a:pt x="733" y="21"/>
                            </a:lnTo>
                            <a:lnTo>
                              <a:pt x="731" y="21"/>
                            </a:lnTo>
                            <a:lnTo>
                              <a:pt x="716" y="18"/>
                            </a:lnTo>
                            <a:lnTo>
                              <a:pt x="708" y="51"/>
                            </a:lnTo>
                            <a:lnTo>
                              <a:pt x="707" y="53"/>
                            </a:lnTo>
                            <a:lnTo>
                              <a:pt x="706" y="53"/>
                            </a:lnTo>
                            <a:lnTo>
                              <a:pt x="625" y="75"/>
                            </a:lnTo>
                            <a:lnTo>
                              <a:pt x="624" y="75"/>
                            </a:lnTo>
                            <a:lnTo>
                              <a:pt x="623" y="74"/>
                            </a:lnTo>
                            <a:lnTo>
                              <a:pt x="609" y="55"/>
                            </a:lnTo>
                            <a:lnTo>
                              <a:pt x="591" y="55"/>
                            </a:lnTo>
                            <a:lnTo>
                              <a:pt x="590" y="55"/>
                            </a:lnTo>
                            <a:lnTo>
                              <a:pt x="590" y="55"/>
                            </a:lnTo>
                            <a:lnTo>
                              <a:pt x="572" y="46"/>
                            </a:lnTo>
                            <a:lnTo>
                              <a:pt x="562" y="69"/>
                            </a:lnTo>
                            <a:lnTo>
                              <a:pt x="562" y="70"/>
                            </a:lnTo>
                            <a:lnTo>
                              <a:pt x="562" y="70"/>
                            </a:lnTo>
                            <a:lnTo>
                              <a:pt x="523" y="83"/>
                            </a:lnTo>
                            <a:lnTo>
                              <a:pt x="522" y="83"/>
                            </a:lnTo>
                            <a:lnTo>
                              <a:pt x="522" y="83"/>
                            </a:lnTo>
                            <a:lnTo>
                              <a:pt x="502" y="75"/>
                            </a:lnTo>
                            <a:lnTo>
                              <a:pt x="497" y="98"/>
                            </a:lnTo>
                            <a:lnTo>
                              <a:pt x="496" y="99"/>
                            </a:lnTo>
                            <a:lnTo>
                              <a:pt x="495" y="99"/>
                            </a:lnTo>
                            <a:lnTo>
                              <a:pt x="456" y="104"/>
                            </a:lnTo>
                            <a:lnTo>
                              <a:pt x="459" y="124"/>
                            </a:lnTo>
                            <a:lnTo>
                              <a:pt x="483" y="144"/>
                            </a:lnTo>
                            <a:lnTo>
                              <a:pt x="484" y="145"/>
                            </a:lnTo>
                            <a:lnTo>
                              <a:pt x="483" y="147"/>
                            </a:lnTo>
                            <a:lnTo>
                              <a:pt x="463" y="171"/>
                            </a:lnTo>
                            <a:lnTo>
                              <a:pt x="459" y="208"/>
                            </a:lnTo>
                            <a:lnTo>
                              <a:pt x="472" y="238"/>
                            </a:lnTo>
                            <a:lnTo>
                              <a:pt x="474" y="232"/>
                            </a:lnTo>
                            <a:lnTo>
                              <a:pt x="483" y="182"/>
                            </a:lnTo>
                            <a:lnTo>
                              <a:pt x="483" y="182"/>
                            </a:lnTo>
                            <a:lnTo>
                              <a:pt x="483" y="181"/>
                            </a:lnTo>
                            <a:lnTo>
                              <a:pt x="496" y="158"/>
                            </a:lnTo>
                            <a:lnTo>
                              <a:pt x="496" y="157"/>
                            </a:lnTo>
                            <a:lnTo>
                              <a:pt x="498" y="157"/>
                            </a:lnTo>
                            <a:lnTo>
                              <a:pt x="515" y="159"/>
                            </a:lnTo>
                            <a:lnTo>
                              <a:pt x="516" y="159"/>
                            </a:lnTo>
                            <a:lnTo>
                              <a:pt x="516" y="161"/>
                            </a:lnTo>
                            <a:lnTo>
                              <a:pt x="519" y="180"/>
                            </a:lnTo>
                            <a:lnTo>
                              <a:pt x="519" y="180"/>
                            </a:lnTo>
                            <a:lnTo>
                              <a:pt x="519" y="180"/>
                            </a:lnTo>
                            <a:lnTo>
                              <a:pt x="511" y="226"/>
                            </a:lnTo>
                            <a:lnTo>
                              <a:pt x="514" y="270"/>
                            </a:lnTo>
                            <a:lnTo>
                              <a:pt x="521" y="293"/>
                            </a:lnTo>
                            <a:lnTo>
                              <a:pt x="522" y="294"/>
                            </a:lnTo>
                            <a:lnTo>
                              <a:pt x="521" y="295"/>
                            </a:lnTo>
                            <a:lnTo>
                              <a:pt x="512" y="318"/>
                            </a:lnTo>
                            <a:lnTo>
                              <a:pt x="512" y="318"/>
                            </a:lnTo>
                            <a:lnTo>
                              <a:pt x="512" y="319"/>
                            </a:lnTo>
                            <a:lnTo>
                              <a:pt x="498" y="331"/>
                            </a:lnTo>
                            <a:lnTo>
                              <a:pt x="493" y="340"/>
                            </a:lnTo>
                            <a:lnTo>
                              <a:pt x="498" y="355"/>
                            </a:lnTo>
                            <a:lnTo>
                              <a:pt x="498" y="355"/>
                            </a:lnTo>
                            <a:lnTo>
                              <a:pt x="498" y="356"/>
                            </a:lnTo>
                            <a:lnTo>
                              <a:pt x="492" y="371"/>
                            </a:lnTo>
                            <a:lnTo>
                              <a:pt x="492" y="372"/>
                            </a:lnTo>
                            <a:lnTo>
                              <a:pt x="491" y="372"/>
                            </a:lnTo>
                            <a:lnTo>
                              <a:pt x="476" y="376"/>
                            </a:lnTo>
                            <a:lnTo>
                              <a:pt x="475" y="393"/>
                            </a:lnTo>
                            <a:lnTo>
                              <a:pt x="475" y="394"/>
                            </a:lnTo>
                            <a:lnTo>
                              <a:pt x="475" y="394"/>
                            </a:lnTo>
                            <a:lnTo>
                              <a:pt x="456" y="425"/>
                            </a:lnTo>
                            <a:lnTo>
                              <a:pt x="455" y="426"/>
                            </a:lnTo>
                            <a:lnTo>
                              <a:pt x="454" y="426"/>
                            </a:lnTo>
                            <a:lnTo>
                              <a:pt x="426" y="435"/>
                            </a:lnTo>
                            <a:lnTo>
                              <a:pt x="407" y="460"/>
                            </a:lnTo>
                            <a:lnTo>
                              <a:pt x="406" y="461"/>
                            </a:lnTo>
                            <a:lnTo>
                              <a:pt x="405" y="461"/>
                            </a:lnTo>
                            <a:lnTo>
                              <a:pt x="384" y="459"/>
                            </a:lnTo>
                            <a:lnTo>
                              <a:pt x="378" y="492"/>
                            </a:lnTo>
                            <a:lnTo>
                              <a:pt x="378" y="493"/>
                            </a:lnTo>
                            <a:lnTo>
                              <a:pt x="378" y="493"/>
                            </a:lnTo>
                            <a:lnTo>
                              <a:pt x="362" y="511"/>
                            </a:lnTo>
                            <a:lnTo>
                              <a:pt x="361" y="511"/>
                            </a:lnTo>
                            <a:lnTo>
                              <a:pt x="361" y="512"/>
                            </a:lnTo>
                            <a:lnTo>
                              <a:pt x="309" y="534"/>
                            </a:lnTo>
                            <a:lnTo>
                              <a:pt x="302" y="558"/>
                            </a:lnTo>
                            <a:lnTo>
                              <a:pt x="302" y="559"/>
                            </a:lnTo>
                            <a:lnTo>
                              <a:pt x="301" y="559"/>
                            </a:lnTo>
                            <a:lnTo>
                              <a:pt x="268" y="570"/>
                            </a:lnTo>
                            <a:lnTo>
                              <a:pt x="266" y="571"/>
                            </a:lnTo>
                            <a:lnTo>
                              <a:pt x="266" y="569"/>
                            </a:lnTo>
                            <a:lnTo>
                              <a:pt x="261" y="550"/>
                            </a:lnTo>
                            <a:lnTo>
                              <a:pt x="226" y="543"/>
                            </a:lnTo>
                            <a:lnTo>
                              <a:pt x="224" y="542"/>
                            </a:lnTo>
                            <a:lnTo>
                              <a:pt x="224" y="541"/>
                            </a:lnTo>
                            <a:lnTo>
                              <a:pt x="222" y="516"/>
                            </a:lnTo>
                            <a:lnTo>
                              <a:pt x="197" y="484"/>
                            </a:lnTo>
                            <a:lnTo>
                              <a:pt x="165" y="484"/>
                            </a:lnTo>
                            <a:lnTo>
                              <a:pt x="164" y="484"/>
                            </a:lnTo>
                            <a:lnTo>
                              <a:pt x="163" y="484"/>
                            </a:lnTo>
                            <a:lnTo>
                              <a:pt x="96" y="430"/>
                            </a:lnTo>
                            <a:lnTo>
                              <a:pt x="96" y="430"/>
                            </a:lnTo>
                            <a:lnTo>
                              <a:pt x="95" y="430"/>
                            </a:lnTo>
                            <a:lnTo>
                              <a:pt x="74" y="401"/>
                            </a:lnTo>
                            <a:lnTo>
                              <a:pt x="40" y="425"/>
                            </a:lnTo>
                            <a:lnTo>
                              <a:pt x="40" y="426"/>
                            </a:lnTo>
                            <a:lnTo>
                              <a:pt x="40" y="426"/>
                            </a:lnTo>
                            <a:lnTo>
                              <a:pt x="20" y="425"/>
                            </a:lnTo>
                            <a:lnTo>
                              <a:pt x="21" y="430"/>
                            </a:lnTo>
                            <a:lnTo>
                              <a:pt x="21" y="431"/>
                            </a:lnTo>
                            <a:lnTo>
                              <a:pt x="21" y="431"/>
                            </a:lnTo>
                            <a:lnTo>
                              <a:pt x="10" y="442"/>
                            </a:lnTo>
                            <a:lnTo>
                              <a:pt x="14" y="457"/>
                            </a:lnTo>
                            <a:lnTo>
                              <a:pt x="15" y="458"/>
                            </a:lnTo>
                            <a:lnTo>
                              <a:pt x="14" y="459"/>
                            </a:lnTo>
                            <a:lnTo>
                              <a:pt x="0" y="475"/>
                            </a:lnTo>
                            <a:lnTo>
                              <a:pt x="12" y="499"/>
                            </a:lnTo>
                            <a:lnTo>
                              <a:pt x="12" y="499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85" name="Google Shape;185;p2"/>
                      <p:cNvSpPr/>
                      <p:nvPr/>
                    </p:nvSpPr>
                    <p:spPr>
                      <a:xfrm>
                        <a:off x="2855421" y="2796938"/>
                        <a:ext cx="511986" cy="32627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99" h="318" extrusionOk="0">
                            <a:moveTo>
                              <a:pt x="16" y="273"/>
                            </a:moveTo>
                            <a:lnTo>
                              <a:pt x="143" y="226"/>
                            </a:lnTo>
                            <a:lnTo>
                              <a:pt x="189" y="223"/>
                            </a:lnTo>
                            <a:lnTo>
                              <a:pt x="197" y="234"/>
                            </a:lnTo>
                            <a:lnTo>
                              <a:pt x="265" y="249"/>
                            </a:lnTo>
                            <a:lnTo>
                              <a:pt x="270" y="280"/>
                            </a:lnTo>
                            <a:lnTo>
                              <a:pt x="295" y="293"/>
                            </a:lnTo>
                            <a:lnTo>
                              <a:pt x="368" y="301"/>
                            </a:lnTo>
                            <a:lnTo>
                              <a:pt x="396" y="305"/>
                            </a:lnTo>
                            <a:lnTo>
                              <a:pt x="411" y="318"/>
                            </a:lnTo>
                            <a:lnTo>
                              <a:pt x="434" y="311"/>
                            </a:lnTo>
                            <a:lnTo>
                              <a:pt x="454" y="293"/>
                            </a:lnTo>
                            <a:lnTo>
                              <a:pt x="469" y="256"/>
                            </a:lnTo>
                            <a:lnTo>
                              <a:pt x="445" y="227"/>
                            </a:lnTo>
                            <a:lnTo>
                              <a:pt x="448" y="181"/>
                            </a:lnTo>
                            <a:lnTo>
                              <a:pt x="463" y="176"/>
                            </a:lnTo>
                            <a:lnTo>
                              <a:pt x="464" y="155"/>
                            </a:lnTo>
                            <a:lnTo>
                              <a:pt x="485" y="154"/>
                            </a:lnTo>
                            <a:lnTo>
                              <a:pt x="491" y="132"/>
                            </a:lnTo>
                            <a:lnTo>
                              <a:pt x="477" y="106"/>
                            </a:lnTo>
                            <a:lnTo>
                              <a:pt x="477" y="105"/>
                            </a:lnTo>
                            <a:lnTo>
                              <a:pt x="478" y="105"/>
                            </a:lnTo>
                            <a:lnTo>
                              <a:pt x="492" y="88"/>
                            </a:lnTo>
                            <a:lnTo>
                              <a:pt x="488" y="73"/>
                            </a:lnTo>
                            <a:lnTo>
                              <a:pt x="488" y="72"/>
                            </a:lnTo>
                            <a:lnTo>
                              <a:pt x="489" y="71"/>
                            </a:lnTo>
                            <a:lnTo>
                              <a:pt x="499" y="60"/>
                            </a:lnTo>
                            <a:lnTo>
                              <a:pt x="497" y="50"/>
                            </a:lnTo>
                            <a:lnTo>
                              <a:pt x="467" y="52"/>
                            </a:lnTo>
                            <a:lnTo>
                              <a:pt x="467" y="52"/>
                            </a:lnTo>
                            <a:lnTo>
                              <a:pt x="466" y="51"/>
                            </a:lnTo>
                            <a:lnTo>
                              <a:pt x="392" y="0"/>
                            </a:lnTo>
                            <a:lnTo>
                              <a:pt x="387" y="20"/>
                            </a:lnTo>
                            <a:lnTo>
                              <a:pt x="387" y="21"/>
                            </a:lnTo>
                            <a:lnTo>
                              <a:pt x="386" y="21"/>
                            </a:lnTo>
                            <a:lnTo>
                              <a:pt x="295" y="30"/>
                            </a:lnTo>
                            <a:lnTo>
                              <a:pt x="290" y="54"/>
                            </a:lnTo>
                            <a:lnTo>
                              <a:pt x="289" y="55"/>
                            </a:lnTo>
                            <a:lnTo>
                              <a:pt x="288" y="55"/>
                            </a:lnTo>
                            <a:lnTo>
                              <a:pt x="270" y="60"/>
                            </a:lnTo>
                            <a:lnTo>
                              <a:pt x="272" y="76"/>
                            </a:lnTo>
                            <a:lnTo>
                              <a:pt x="272" y="77"/>
                            </a:lnTo>
                            <a:lnTo>
                              <a:pt x="271" y="78"/>
                            </a:lnTo>
                            <a:lnTo>
                              <a:pt x="247" y="94"/>
                            </a:lnTo>
                            <a:lnTo>
                              <a:pt x="246" y="109"/>
                            </a:lnTo>
                            <a:lnTo>
                              <a:pt x="246" y="111"/>
                            </a:lnTo>
                            <a:lnTo>
                              <a:pt x="245" y="111"/>
                            </a:lnTo>
                            <a:lnTo>
                              <a:pt x="228" y="115"/>
                            </a:lnTo>
                            <a:lnTo>
                              <a:pt x="198" y="140"/>
                            </a:lnTo>
                            <a:lnTo>
                              <a:pt x="197" y="141"/>
                            </a:lnTo>
                            <a:lnTo>
                              <a:pt x="196" y="141"/>
                            </a:lnTo>
                            <a:lnTo>
                              <a:pt x="127" y="132"/>
                            </a:lnTo>
                            <a:lnTo>
                              <a:pt x="127" y="131"/>
                            </a:lnTo>
                            <a:lnTo>
                              <a:pt x="126" y="131"/>
                            </a:lnTo>
                            <a:lnTo>
                              <a:pt x="83" y="101"/>
                            </a:lnTo>
                            <a:lnTo>
                              <a:pt x="64" y="100"/>
                            </a:lnTo>
                            <a:lnTo>
                              <a:pt x="51" y="133"/>
                            </a:lnTo>
                            <a:lnTo>
                              <a:pt x="51" y="134"/>
                            </a:lnTo>
                            <a:lnTo>
                              <a:pt x="49" y="134"/>
                            </a:lnTo>
                            <a:lnTo>
                              <a:pt x="0" y="138"/>
                            </a:lnTo>
                            <a:lnTo>
                              <a:pt x="3" y="172"/>
                            </a:lnTo>
                            <a:lnTo>
                              <a:pt x="33" y="224"/>
                            </a:lnTo>
                            <a:lnTo>
                              <a:pt x="33" y="226"/>
                            </a:lnTo>
                            <a:lnTo>
                              <a:pt x="32" y="227"/>
                            </a:lnTo>
                            <a:lnTo>
                              <a:pt x="12" y="241"/>
                            </a:lnTo>
                            <a:lnTo>
                              <a:pt x="16" y="273"/>
                            </a:lnTo>
                            <a:lnTo>
                              <a:pt x="16" y="273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86" name="Google Shape;186;p2"/>
                      <p:cNvSpPr/>
                      <p:nvPr/>
                    </p:nvSpPr>
                    <p:spPr>
                      <a:xfrm>
                        <a:off x="2590707" y="2503496"/>
                        <a:ext cx="331406" cy="625874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712" h="1345" extrusionOk="0">
                            <a:moveTo>
                              <a:pt x="470" y="827"/>
                            </a:moveTo>
                            <a:lnTo>
                              <a:pt x="519" y="809"/>
                            </a:lnTo>
                            <a:lnTo>
                              <a:pt x="554" y="792"/>
                            </a:lnTo>
                            <a:lnTo>
                              <a:pt x="614" y="732"/>
                            </a:lnTo>
                            <a:lnTo>
                              <a:pt x="600" y="694"/>
                            </a:lnTo>
                            <a:lnTo>
                              <a:pt x="600" y="693"/>
                            </a:lnTo>
                            <a:lnTo>
                              <a:pt x="600" y="692"/>
                            </a:lnTo>
                            <a:lnTo>
                              <a:pt x="611" y="649"/>
                            </a:lnTo>
                            <a:lnTo>
                              <a:pt x="596" y="592"/>
                            </a:lnTo>
                            <a:lnTo>
                              <a:pt x="596" y="590"/>
                            </a:lnTo>
                            <a:lnTo>
                              <a:pt x="597" y="588"/>
                            </a:lnTo>
                            <a:lnTo>
                              <a:pt x="637" y="538"/>
                            </a:lnTo>
                            <a:lnTo>
                              <a:pt x="657" y="476"/>
                            </a:lnTo>
                            <a:lnTo>
                              <a:pt x="599" y="456"/>
                            </a:lnTo>
                            <a:lnTo>
                              <a:pt x="597" y="455"/>
                            </a:lnTo>
                            <a:lnTo>
                              <a:pt x="596" y="453"/>
                            </a:lnTo>
                            <a:lnTo>
                              <a:pt x="585" y="417"/>
                            </a:lnTo>
                            <a:lnTo>
                              <a:pt x="585" y="415"/>
                            </a:lnTo>
                            <a:lnTo>
                              <a:pt x="586" y="413"/>
                            </a:lnTo>
                            <a:lnTo>
                              <a:pt x="632" y="353"/>
                            </a:lnTo>
                            <a:lnTo>
                              <a:pt x="607" y="293"/>
                            </a:lnTo>
                            <a:lnTo>
                              <a:pt x="607" y="292"/>
                            </a:lnTo>
                            <a:lnTo>
                              <a:pt x="607" y="291"/>
                            </a:lnTo>
                            <a:lnTo>
                              <a:pt x="618" y="243"/>
                            </a:lnTo>
                            <a:lnTo>
                              <a:pt x="619" y="241"/>
                            </a:lnTo>
                            <a:lnTo>
                              <a:pt x="620" y="241"/>
                            </a:lnTo>
                            <a:lnTo>
                              <a:pt x="682" y="212"/>
                            </a:lnTo>
                            <a:lnTo>
                              <a:pt x="712" y="181"/>
                            </a:lnTo>
                            <a:lnTo>
                              <a:pt x="648" y="56"/>
                            </a:lnTo>
                            <a:lnTo>
                              <a:pt x="647" y="55"/>
                            </a:lnTo>
                            <a:lnTo>
                              <a:pt x="647" y="54"/>
                            </a:lnTo>
                            <a:lnTo>
                              <a:pt x="657" y="10"/>
                            </a:lnTo>
                            <a:lnTo>
                              <a:pt x="587" y="40"/>
                            </a:lnTo>
                            <a:lnTo>
                              <a:pt x="586" y="41"/>
                            </a:lnTo>
                            <a:lnTo>
                              <a:pt x="584" y="40"/>
                            </a:lnTo>
                            <a:lnTo>
                              <a:pt x="494" y="0"/>
                            </a:lnTo>
                            <a:lnTo>
                              <a:pt x="391" y="15"/>
                            </a:lnTo>
                            <a:lnTo>
                              <a:pt x="352" y="61"/>
                            </a:lnTo>
                            <a:lnTo>
                              <a:pt x="350" y="62"/>
                            </a:lnTo>
                            <a:lnTo>
                              <a:pt x="349" y="62"/>
                            </a:lnTo>
                            <a:lnTo>
                              <a:pt x="243" y="62"/>
                            </a:lnTo>
                            <a:lnTo>
                              <a:pt x="240" y="347"/>
                            </a:lnTo>
                            <a:lnTo>
                              <a:pt x="279" y="342"/>
                            </a:lnTo>
                            <a:lnTo>
                              <a:pt x="283" y="342"/>
                            </a:lnTo>
                            <a:lnTo>
                              <a:pt x="283" y="346"/>
                            </a:lnTo>
                            <a:lnTo>
                              <a:pt x="290" y="403"/>
                            </a:lnTo>
                            <a:lnTo>
                              <a:pt x="344" y="460"/>
                            </a:lnTo>
                            <a:lnTo>
                              <a:pt x="345" y="461"/>
                            </a:lnTo>
                            <a:lnTo>
                              <a:pt x="345" y="462"/>
                            </a:lnTo>
                            <a:lnTo>
                              <a:pt x="363" y="512"/>
                            </a:lnTo>
                            <a:lnTo>
                              <a:pt x="413" y="547"/>
                            </a:lnTo>
                            <a:lnTo>
                              <a:pt x="417" y="550"/>
                            </a:lnTo>
                            <a:lnTo>
                              <a:pt x="414" y="553"/>
                            </a:lnTo>
                            <a:lnTo>
                              <a:pt x="376" y="598"/>
                            </a:lnTo>
                            <a:lnTo>
                              <a:pt x="406" y="632"/>
                            </a:lnTo>
                            <a:lnTo>
                              <a:pt x="408" y="633"/>
                            </a:lnTo>
                            <a:lnTo>
                              <a:pt x="407" y="635"/>
                            </a:lnTo>
                            <a:lnTo>
                              <a:pt x="393" y="694"/>
                            </a:lnTo>
                            <a:lnTo>
                              <a:pt x="392" y="695"/>
                            </a:lnTo>
                            <a:lnTo>
                              <a:pt x="391" y="696"/>
                            </a:lnTo>
                            <a:lnTo>
                              <a:pt x="353" y="721"/>
                            </a:lnTo>
                            <a:lnTo>
                              <a:pt x="349" y="789"/>
                            </a:lnTo>
                            <a:lnTo>
                              <a:pt x="438" y="792"/>
                            </a:lnTo>
                            <a:lnTo>
                              <a:pt x="440" y="792"/>
                            </a:lnTo>
                            <a:lnTo>
                              <a:pt x="441" y="793"/>
                            </a:lnTo>
                            <a:lnTo>
                              <a:pt x="470" y="827"/>
                            </a:lnTo>
                            <a:close/>
                            <a:moveTo>
                              <a:pt x="0" y="1012"/>
                            </a:moveTo>
                            <a:lnTo>
                              <a:pt x="7" y="1086"/>
                            </a:lnTo>
                            <a:lnTo>
                              <a:pt x="77" y="1126"/>
                            </a:lnTo>
                            <a:lnTo>
                              <a:pt x="79" y="1200"/>
                            </a:lnTo>
                            <a:lnTo>
                              <a:pt x="149" y="1215"/>
                            </a:lnTo>
                            <a:lnTo>
                              <a:pt x="177" y="1250"/>
                            </a:lnTo>
                            <a:lnTo>
                              <a:pt x="255" y="1208"/>
                            </a:lnTo>
                            <a:lnTo>
                              <a:pt x="271" y="1263"/>
                            </a:lnTo>
                            <a:lnTo>
                              <a:pt x="321" y="1337"/>
                            </a:lnTo>
                            <a:lnTo>
                              <a:pt x="399" y="1345"/>
                            </a:lnTo>
                            <a:lnTo>
                              <a:pt x="423" y="1293"/>
                            </a:lnTo>
                            <a:lnTo>
                              <a:pt x="527" y="1289"/>
                            </a:lnTo>
                            <a:lnTo>
                              <a:pt x="597" y="1237"/>
                            </a:lnTo>
                            <a:lnTo>
                              <a:pt x="585" y="1160"/>
                            </a:lnTo>
                            <a:lnTo>
                              <a:pt x="585" y="1158"/>
                            </a:lnTo>
                            <a:lnTo>
                              <a:pt x="587" y="1156"/>
                            </a:lnTo>
                            <a:lnTo>
                              <a:pt x="631" y="1126"/>
                            </a:lnTo>
                            <a:lnTo>
                              <a:pt x="568" y="1012"/>
                            </a:lnTo>
                            <a:lnTo>
                              <a:pt x="567" y="1011"/>
                            </a:lnTo>
                            <a:lnTo>
                              <a:pt x="567" y="1011"/>
                            </a:lnTo>
                            <a:lnTo>
                              <a:pt x="560" y="938"/>
                            </a:lnTo>
                            <a:lnTo>
                              <a:pt x="504" y="981"/>
                            </a:lnTo>
                            <a:lnTo>
                              <a:pt x="501" y="983"/>
                            </a:lnTo>
                            <a:lnTo>
                              <a:pt x="499" y="980"/>
                            </a:lnTo>
                            <a:lnTo>
                              <a:pt x="448" y="914"/>
                            </a:lnTo>
                            <a:lnTo>
                              <a:pt x="446" y="913"/>
                            </a:lnTo>
                            <a:lnTo>
                              <a:pt x="447" y="911"/>
                            </a:lnTo>
                            <a:lnTo>
                              <a:pt x="465" y="832"/>
                            </a:lnTo>
                            <a:lnTo>
                              <a:pt x="436" y="800"/>
                            </a:lnTo>
                            <a:lnTo>
                              <a:pt x="349" y="797"/>
                            </a:lnTo>
                            <a:lnTo>
                              <a:pt x="349" y="798"/>
                            </a:lnTo>
                            <a:lnTo>
                              <a:pt x="346" y="799"/>
                            </a:lnTo>
                            <a:lnTo>
                              <a:pt x="291" y="810"/>
                            </a:lnTo>
                            <a:lnTo>
                              <a:pt x="289" y="810"/>
                            </a:lnTo>
                            <a:lnTo>
                              <a:pt x="288" y="809"/>
                            </a:lnTo>
                            <a:lnTo>
                              <a:pt x="243" y="774"/>
                            </a:lnTo>
                            <a:lnTo>
                              <a:pt x="240" y="810"/>
                            </a:lnTo>
                            <a:lnTo>
                              <a:pt x="239" y="811"/>
                            </a:lnTo>
                            <a:lnTo>
                              <a:pt x="239" y="812"/>
                            </a:lnTo>
                            <a:lnTo>
                              <a:pt x="195" y="877"/>
                            </a:lnTo>
                            <a:lnTo>
                              <a:pt x="194" y="879"/>
                            </a:lnTo>
                            <a:lnTo>
                              <a:pt x="191" y="879"/>
                            </a:lnTo>
                            <a:lnTo>
                              <a:pt x="112" y="872"/>
                            </a:lnTo>
                            <a:lnTo>
                              <a:pt x="48" y="893"/>
                            </a:lnTo>
                            <a:lnTo>
                              <a:pt x="23" y="928"/>
                            </a:lnTo>
                            <a:lnTo>
                              <a:pt x="62" y="948"/>
                            </a:lnTo>
                            <a:lnTo>
                              <a:pt x="64" y="949"/>
                            </a:lnTo>
                            <a:lnTo>
                              <a:pt x="64" y="951"/>
                            </a:lnTo>
                            <a:lnTo>
                              <a:pt x="75" y="998"/>
                            </a:lnTo>
                            <a:lnTo>
                              <a:pt x="76" y="1003"/>
                            </a:lnTo>
                            <a:lnTo>
                              <a:pt x="72" y="1003"/>
                            </a:lnTo>
                            <a:lnTo>
                              <a:pt x="0" y="1012"/>
                            </a:lnTo>
                            <a:lnTo>
                              <a:pt x="0" y="1012"/>
                            </a:lnTo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87" name="Google Shape;187;p2"/>
                      <p:cNvSpPr/>
                      <p:nvPr/>
                    </p:nvSpPr>
                    <p:spPr>
                      <a:xfrm>
                        <a:off x="2334202" y="2638930"/>
                        <a:ext cx="445294" cy="33140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34" h="323" extrusionOk="0">
                            <a:moveTo>
                              <a:pt x="0" y="33"/>
                            </a:moveTo>
                            <a:lnTo>
                              <a:pt x="48" y="262"/>
                            </a:lnTo>
                            <a:lnTo>
                              <a:pt x="73" y="258"/>
                            </a:lnTo>
                            <a:lnTo>
                              <a:pt x="92" y="233"/>
                            </a:lnTo>
                            <a:lnTo>
                              <a:pt x="108" y="239"/>
                            </a:lnTo>
                            <a:lnTo>
                              <a:pt x="113" y="266"/>
                            </a:lnTo>
                            <a:lnTo>
                              <a:pt x="167" y="296"/>
                            </a:lnTo>
                            <a:lnTo>
                              <a:pt x="210" y="280"/>
                            </a:lnTo>
                            <a:lnTo>
                              <a:pt x="233" y="290"/>
                            </a:lnTo>
                            <a:lnTo>
                              <a:pt x="249" y="323"/>
                            </a:lnTo>
                            <a:lnTo>
                              <a:pt x="280" y="320"/>
                            </a:lnTo>
                            <a:lnTo>
                              <a:pt x="276" y="301"/>
                            </a:lnTo>
                            <a:lnTo>
                              <a:pt x="257" y="291"/>
                            </a:lnTo>
                            <a:lnTo>
                              <a:pt x="255" y="290"/>
                            </a:lnTo>
                            <a:lnTo>
                              <a:pt x="256" y="289"/>
                            </a:lnTo>
                            <a:lnTo>
                              <a:pt x="270" y="270"/>
                            </a:lnTo>
                            <a:lnTo>
                              <a:pt x="270" y="270"/>
                            </a:lnTo>
                            <a:lnTo>
                              <a:pt x="270" y="270"/>
                            </a:lnTo>
                            <a:lnTo>
                              <a:pt x="300" y="260"/>
                            </a:lnTo>
                            <a:lnTo>
                              <a:pt x="300" y="260"/>
                            </a:lnTo>
                            <a:lnTo>
                              <a:pt x="301" y="260"/>
                            </a:lnTo>
                            <a:lnTo>
                              <a:pt x="336" y="263"/>
                            </a:lnTo>
                            <a:lnTo>
                              <a:pt x="355" y="234"/>
                            </a:lnTo>
                            <a:lnTo>
                              <a:pt x="357" y="215"/>
                            </a:lnTo>
                            <a:lnTo>
                              <a:pt x="357" y="212"/>
                            </a:lnTo>
                            <a:lnTo>
                              <a:pt x="360" y="214"/>
                            </a:lnTo>
                            <a:lnTo>
                              <a:pt x="382" y="232"/>
                            </a:lnTo>
                            <a:lnTo>
                              <a:pt x="405" y="227"/>
                            </a:lnTo>
                            <a:lnTo>
                              <a:pt x="407" y="194"/>
                            </a:lnTo>
                            <a:lnTo>
                              <a:pt x="407" y="193"/>
                            </a:lnTo>
                            <a:lnTo>
                              <a:pt x="407" y="192"/>
                            </a:lnTo>
                            <a:lnTo>
                              <a:pt x="425" y="181"/>
                            </a:lnTo>
                            <a:lnTo>
                              <a:pt x="431" y="156"/>
                            </a:lnTo>
                            <a:lnTo>
                              <a:pt x="417" y="140"/>
                            </a:lnTo>
                            <a:lnTo>
                              <a:pt x="416" y="139"/>
                            </a:lnTo>
                            <a:lnTo>
                              <a:pt x="417" y="138"/>
                            </a:lnTo>
                            <a:lnTo>
                              <a:pt x="434" y="118"/>
                            </a:lnTo>
                            <a:lnTo>
                              <a:pt x="412" y="102"/>
                            </a:lnTo>
                            <a:lnTo>
                              <a:pt x="412" y="102"/>
                            </a:lnTo>
                            <a:lnTo>
                              <a:pt x="412" y="101"/>
                            </a:lnTo>
                            <a:lnTo>
                              <a:pt x="403" y="79"/>
                            </a:lnTo>
                            <a:lnTo>
                              <a:pt x="379" y="52"/>
                            </a:lnTo>
                            <a:lnTo>
                              <a:pt x="379" y="52"/>
                            </a:lnTo>
                            <a:lnTo>
                              <a:pt x="379" y="52"/>
                            </a:lnTo>
                            <a:lnTo>
                              <a:pt x="375" y="27"/>
                            </a:lnTo>
                            <a:lnTo>
                              <a:pt x="358" y="29"/>
                            </a:lnTo>
                            <a:lnTo>
                              <a:pt x="336" y="49"/>
                            </a:lnTo>
                            <a:lnTo>
                              <a:pt x="335" y="50"/>
                            </a:lnTo>
                            <a:lnTo>
                              <a:pt x="334" y="50"/>
                            </a:lnTo>
                            <a:lnTo>
                              <a:pt x="292" y="46"/>
                            </a:lnTo>
                            <a:lnTo>
                              <a:pt x="279" y="56"/>
                            </a:lnTo>
                            <a:lnTo>
                              <a:pt x="278" y="57"/>
                            </a:lnTo>
                            <a:lnTo>
                              <a:pt x="277" y="56"/>
                            </a:lnTo>
                            <a:lnTo>
                              <a:pt x="264" y="45"/>
                            </a:lnTo>
                            <a:lnTo>
                              <a:pt x="227" y="81"/>
                            </a:lnTo>
                            <a:lnTo>
                              <a:pt x="226" y="82"/>
                            </a:lnTo>
                            <a:lnTo>
                              <a:pt x="225" y="81"/>
                            </a:lnTo>
                            <a:lnTo>
                              <a:pt x="196" y="53"/>
                            </a:lnTo>
                            <a:lnTo>
                              <a:pt x="196" y="53"/>
                            </a:lnTo>
                            <a:lnTo>
                              <a:pt x="195" y="52"/>
                            </a:lnTo>
                            <a:lnTo>
                              <a:pt x="190" y="31"/>
                            </a:lnTo>
                            <a:lnTo>
                              <a:pt x="167" y="0"/>
                            </a:lnTo>
                            <a:lnTo>
                              <a:pt x="69" y="33"/>
                            </a:lnTo>
                            <a:lnTo>
                              <a:pt x="68" y="33"/>
                            </a:lnTo>
                            <a:lnTo>
                              <a:pt x="68" y="33"/>
                            </a:lnTo>
                            <a:lnTo>
                              <a:pt x="47" y="24"/>
                            </a:lnTo>
                            <a:lnTo>
                              <a:pt x="38" y="31"/>
                            </a:lnTo>
                            <a:lnTo>
                              <a:pt x="37" y="32"/>
                            </a:lnTo>
                            <a:lnTo>
                              <a:pt x="36" y="31"/>
                            </a:lnTo>
                            <a:lnTo>
                              <a:pt x="20" y="21"/>
                            </a:lnTo>
                            <a:lnTo>
                              <a:pt x="0" y="33"/>
                            </a:lnTo>
                            <a:lnTo>
                              <a:pt x="0" y="33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88" name="Google Shape;188;p2"/>
                      <p:cNvSpPr/>
                      <p:nvPr/>
                    </p:nvSpPr>
                    <p:spPr>
                      <a:xfrm>
                        <a:off x="2258276" y="2340358"/>
                        <a:ext cx="441190" cy="37757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30" h="368" extrusionOk="0">
                            <a:moveTo>
                              <a:pt x="0" y="227"/>
                            </a:moveTo>
                            <a:lnTo>
                              <a:pt x="51" y="228"/>
                            </a:lnTo>
                            <a:lnTo>
                              <a:pt x="30" y="250"/>
                            </a:lnTo>
                            <a:lnTo>
                              <a:pt x="73" y="321"/>
                            </a:lnTo>
                            <a:lnTo>
                              <a:pt x="93" y="308"/>
                            </a:lnTo>
                            <a:lnTo>
                              <a:pt x="94" y="308"/>
                            </a:lnTo>
                            <a:lnTo>
                              <a:pt x="95" y="308"/>
                            </a:lnTo>
                            <a:lnTo>
                              <a:pt x="111" y="318"/>
                            </a:lnTo>
                            <a:lnTo>
                              <a:pt x="120" y="312"/>
                            </a:lnTo>
                            <a:lnTo>
                              <a:pt x="121" y="311"/>
                            </a:lnTo>
                            <a:lnTo>
                              <a:pt x="122" y="312"/>
                            </a:lnTo>
                            <a:lnTo>
                              <a:pt x="143" y="321"/>
                            </a:lnTo>
                            <a:lnTo>
                              <a:pt x="241" y="287"/>
                            </a:lnTo>
                            <a:lnTo>
                              <a:pt x="242" y="286"/>
                            </a:lnTo>
                            <a:lnTo>
                              <a:pt x="243" y="288"/>
                            </a:lnTo>
                            <a:lnTo>
                              <a:pt x="267" y="320"/>
                            </a:lnTo>
                            <a:lnTo>
                              <a:pt x="268" y="321"/>
                            </a:lnTo>
                            <a:lnTo>
                              <a:pt x="268" y="321"/>
                            </a:lnTo>
                            <a:lnTo>
                              <a:pt x="273" y="342"/>
                            </a:lnTo>
                            <a:lnTo>
                              <a:pt x="300" y="368"/>
                            </a:lnTo>
                            <a:lnTo>
                              <a:pt x="337" y="333"/>
                            </a:lnTo>
                            <a:lnTo>
                              <a:pt x="338" y="331"/>
                            </a:lnTo>
                            <a:lnTo>
                              <a:pt x="339" y="333"/>
                            </a:lnTo>
                            <a:lnTo>
                              <a:pt x="352" y="343"/>
                            </a:lnTo>
                            <a:lnTo>
                              <a:pt x="364" y="333"/>
                            </a:lnTo>
                            <a:lnTo>
                              <a:pt x="365" y="333"/>
                            </a:lnTo>
                            <a:lnTo>
                              <a:pt x="366" y="333"/>
                            </a:lnTo>
                            <a:lnTo>
                              <a:pt x="408" y="337"/>
                            </a:lnTo>
                            <a:lnTo>
                              <a:pt x="429" y="318"/>
                            </a:lnTo>
                            <a:lnTo>
                              <a:pt x="430" y="187"/>
                            </a:lnTo>
                            <a:lnTo>
                              <a:pt x="413" y="187"/>
                            </a:lnTo>
                            <a:lnTo>
                              <a:pt x="389" y="207"/>
                            </a:lnTo>
                            <a:lnTo>
                              <a:pt x="388" y="208"/>
                            </a:lnTo>
                            <a:lnTo>
                              <a:pt x="387" y="206"/>
                            </a:lnTo>
                            <a:lnTo>
                              <a:pt x="376" y="193"/>
                            </a:lnTo>
                            <a:lnTo>
                              <a:pt x="376" y="193"/>
                            </a:lnTo>
                            <a:lnTo>
                              <a:pt x="376" y="192"/>
                            </a:lnTo>
                            <a:lnTo>
                              <a:pt x="379" y="142"/>
                            </a:lnTo>
                            <a:lnTo>
                              <a:pt x="308" y="141"/>
                            </a:lnTo>
                            <a:lnTo>
                              <a:pt x="307" y="141"/>
                            </a:lnTo>
                            <a:lnTo>
                              <a:pt x="306" y="140"/>
                            </a:lnTo>
                            <a:lnTo>
                              <a:pt x="294" y="116"/>
                            </a:lnTo>
                            <a:lnTo>
                              <a:pt x="257" y="117"/>
                            </a:lnTo>
                            <a:lnTo>
                              <a:pt x="255" y="117"/>
                            </a:lnTo>
                            <a:lnTo>
                              <a:pt x="255" y="116"/>
                            </a:lnTo>
                            <a:lnTo>
                              <a:pt x="248" y="89"/>
                            </a:lnTo>
                            <a:lnTo>
                              <a:pt x="225" y="59"/>
                            </a:lnTo>
                            <a:lnTo>
                              <a:pt x="100" y="0"/>
                            </a:lnTo>
                            <a:lnTo>
                              <a:pt x="100" y="40"/>
                            </a:lnTo>
                            <a:lnTo>
                              <a:pt x="100" y="41"/>
                            </a:lnTo>
                            <a:lnTo>
                              <a:pt x="99" y="42"/>
                            </a:lnTo>
                            <a:lnTo>
                              <a:pt x="76" y="55"/>
                            </a:lnTo>
                            <a:lnTo>
                              <a:pt x="83" y="82"/>
                            </a:lnTo>
                            <a:lnTo>
                              <a:pt x="83" y="84"/>
                            </a:lnTo>
                            <a:lnTo>
                              <a:pt x="81" y="84"/>
                            </a:lnTo>
                            <a:lnTo>
                              <a:pt x="50" y="82"/>
                            </a:lnTo>
                            <a:lnTo>
                              <a:pt x="27" y="92"/>
                            </a:lnTo>
                            <a:lnTo>
                              <a:pt x="13" y="116"/>
                            </a:lnTo>
                            <a:lnTo>
                              <a:pt x="16" y="188"/>
                            </a:lnTo>
                            <a:lnTo>
                              <a:pt x="16" y="188"/>
                            </a:lnTo>
                            <a:lnTo>
                              <a:pt x="16" y="189"/>
                            </a:lnTo>
                            <a:lnTo>
                              <a:pt x="0" y="227"/>
                            </a:lnTo>
                            <a:lnTo>
                              <a:pt x="0" y="227"/>
                            </a:lnTo>
                            <a:close/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89" name="Google Shape;189;p2"/>
                      <p:cNvSpPr/>
                      <p:nvPr/>
                    </p:nvSpPr>
                    <p:spPr>
                      <a:xfrm>
                        <a:off x="2053071" y="2165934"/>
                        <a:ext cx="305755" cy="43298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98" h="422" extrusionOk="0">
                            <a:moveTo>
                              <a:pt x="7" y="231"/>
                            </a:moveTo>
                            <a:lnTo>
                              <a:pt x="22" y="235"/>
                            </a:lnTo>
                            <a:lnTo>
                              <a:pt x="23" y="261"/>
                            </a:lnTo>
                            <a:lnTo>
                              <a:pt x="14" y="271"/>
                            </a:lnTo>
                            <a:lnTo>
                              <a:pt x="20" y="289"/>
                            </a:lnTo>
                            <a:lnTo>
                              <a:pt x="0" y="311"/>
                            </a:lnTo>
                            <a:lnTo>
                              <a:pt x="4" y="328"/>
                            </a:lnTo>
                            <a:lnTo>
                              <a:pt x="46" y="338"/>
                            </a:lnTo>
                            <a:lnTo>
                              <a:pt x="48" y="360"/>
                            </a:lnTo>
                            <a:lnTo>
                              <a:pt x="69" y="362"/>
                            </a:lnTo>
                            <a:lnTo>
                              <a:pt x="85" y="365"/>
                            </a:lnTo>
                            <a:lnTo>
                              <a:pt x="101" y="383"/>
                            </a:lnTo>
                            <a:lnTo>
                              <a:pt x="78" y="402"/>
                            </a:lnTo>
                            <a:lnTo>
                              <a:pt x="78" y="418"/>
                            </a:lnTo>
                            <a:lnTo>
                              <a:pt x="101" y="411"/>
                            </a:lnTo>
                            <a:lnTo>
                              <a:pt x="120" y="422"/>
                            </a:lnTo>
                            <a:lnTo>
                              <a:pt x="138" y="418"/>
                            </a:lnTo>
                            <a:lnTo>
                              <a:pt x="153" y="405"/>
                            </a:lnTo>
                            <a:lnTo>
                              <a:pt x="196" y="397"/>
                            </a:lnTo>
                            <a:lnTo>
                              <a:pt x="212" y="358"/>
                            </a:lnTo>
                            <a:lnTo>
                              <a:pt x="209" y="286"/>
                            </a:lnTo>
                            <a:lnTo>
                              <a:pt x="209" y="286"/>
                            </a:lnTo>
                            <a:lnTo>
                              <a:pt x="209" y="285"/>
                            </a:lnTo>
                            <a:lnTo>
                              <a:pt x="224" y="259"/>
                            </a:lnTo>
                            <a:lnTo>
                              <a:pt x="224" y="259"/>
                            </a:lnTo>
                            <a:lnTo>
                              <a:pt x="225" y="259"/>
                            </a:lnTo>
                            <a:lnTo>
                              <a:pt x="249" y="248"/>
                            </a:lnTo>
                            <a:lnTo>
                              <a:pt x="250" y="248"/>
                            </a:lnTo>
                            <a:lnTo>
                              <a:pt x="250" y="248"/>
                            </a:lnTo>
                            <a:lnTo>
                              <a:pt x="278" y="250"/>
                            </a:lnTo>
                            <a:lnTo>
                              <a:pt x="272" y="225"/>
                            </a:lnTo>
                            <a:lnTo>
                              <a:pt x="272" y="223"/>
                            </a:lnTo>
                            <a:lnTo>
                              <a:pt x="273" y="223"/>
                            </a:lnTo>
                            <a:lnTo>
                              <a:pt x="297" y="209"/>
                            </a:lnTo>
                            <a:lnTo>
                              <a:pt x="297" y="109"/>
                            </a:lnTo>
                            <a:lnTo>
                              <a:pt x="280" y="91"/>
                            </a:lnTo>
                            <a:lnTo>
                              <a:pt x="278" y="90"/>
                            </a:lnTo>
                            <a:lnTo>
                              <a:pt x="279" y="89"/>
                            </a:lnTo>
                            <a:lnTo>
                              <a:pt x="298" y="67"/>
                            </a:lnTo>
                            <a:lnTo>
                              <a:pt x="296" y="53"/>
                            </a:lnTo>
                            <a:lnTo>
                              <a:pt x="263" y="76"/>
                            </a:lnTo>
                            <a:lnTo>
                              <a:pt x="262" y="76"/>
                            </a:lnTo>
                            <a:lnTo>
                              <a:pt x="261" y="76"/>
                            </a:lnTo>
                            <a:lnTo>
                              <a:pt x="236" y="75"/>
                            </a:lnTo>
                            <a:lnTo>
                              <a:pt x="235" y="75"/>
                            </a:lnTo>
                            <a:lnTo>
                              <a:pt x="235" y="75"/>
                            </a:lnTo>
                            <a:lnTo>
                              <a:pt x="210" y="61"/>
                            </a:lnTo>
                            <a:lnTo>
                              <a:pt x="183" y="65"/>
                            </a:lnTo>
                            <a:lnTo>
                              <a:pt x="182" y="65"/>
                            </a:lnTo>
                            <a:lnTo>
                              <a:pt x="181" y="65"/>
                            </a:lnTo>
                            <a:lnTo>
                              <a:pt x="146" y="39"/>
                            </a:lnTo>
                            <a:lnTo>
                              <a:pt x="130" y="36"/>
                            </a:lnTo>
                            <a:lnTo>
                              <a:pt x="127" y="35"/>
                            </a:lnTo>
                            <a:lnTo>
                              <a:pt x="129" y="33"/>
                            </a:lnTo>
                            <a:lnTo>
                              <a:pt x="140" y="17"/>
                            </a:lnTo>
                            <a:lnTo>
                              <a:pt x="123" y="0"/>
                            </a:lnTo>
                            <a:lnTo>
                              <a:pt x="90" y="32"/>
                            </a:lnTo>
                            <a:lnTo>
                              <a:pt x="86" y="62"/>
                            </a:lnTo>
                            <a:lnTo>
                              <a:pt x="86" y="63"/>
                            </a:lnTo>
                            <a:lnTo>
                              <a:pt x="86" y="63"/>
                            </a:lnTo>
                            <a:lnTo>
                              <a:pt x="76" y="75"/>
                            </a:lnTo>
                            <a:lnTo>
                              <a:pt x="79" y="85"/>
                            </a:lnTo>
                            <a:lnTo>
                              <a:pt x="100" y="92"/>
                            </a:lnTo>
                            <a:lnTo>
                              <a:pt x="101" y="93"/>
                            </a:lnTo>
                            <a:lnTo>
                              <a:pt x="101" y="93"/>
                            </a:lnTo>
                            <a:lnTo>
                              <a:pt x="108" y="113"/>
                            </a:lnTo>
                            <a:lnTo>
                              <a:pt x="108" y="114"/>
                            </a:lnTo>
                            <a:lnTo>
                              <a:pt x="108" y="114"/>
                            </a:lnTo>
                            <a:lnTo>
                              <a:pt x="104" y="132"/>
                            </a:lnTo>
                            <a:lnTo>
                              <a:pt x="104" y="133"/>
                            </a:lnTo>
                            <a:lnTo>
                              <a:pt x="104" y="133"/>
                            </a:lnTo>
                            <a:lnTo>
                              <a:pt x="96" y="144"/>
                            </a:lnTo>
                            <a:lnTo>
                              <a:pt x="96" y="145"/>
                            </a:lnTo>
                            <a:lnTo>
                              <a:pt x="95" y="145"/>
                            </a:lnTo>
                            <a:lnTo>
                              <a:pt x="70" y="140"/>
                            </a:lnTo>
                            <a:lnTo>
                              <a:pt x="51" y="161"/>
                            </a:lnTo>
                            <a:lnTo>
                              <a:pt x="46" y="184"/>
                            </a:lnTo>
                            <a:lnTo>
                              <a:pt x="46" y="184"/>
                            </a:lnTo>
                            <a:lnTo>
                              <a:pt x="46" y="185"/>
                            </a:lnTo>
                            <a:lnTo>
                              <a:pt x="13" y="215"/>
                            </a:lnTo>
                            <a:lnTo>
                              <a:pt x="7" y="231"/>
                            </a:lnTo>
                            <a:lnTo>
                              <a:pt x="7" y="231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90" name="Google Shape;190;p2"/>
                      <p:cNvSpPr/>
                      <p:nvPr/>
                    </p:nvSpPr>
                    <p:spPr>
                      <a:xfrm>
                        <a:off x="2343435" y="2074618"/>
                        <a:ext cx="596119" cy="47402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81" h="462" extrusionOk="0">
                            <a:moveTo>
                              <a:pt x="414" y="60"/>
                            </a:moveTo>
                            <a:lnTo>
                              <a:pt x="387" y="41"/>
                            </a:lnTo>
                            <a:lnTo>
                              <a:pt x="334" y="71"/>
                            </a:lnTo>
                            <a:lnTo>
                              <a:pt x="333" y="71"/>
                            </a:lnTo>
                            <a:lnTo>
                              <a:pt x="332" y="71"/>
                            </a:lnTo>
                            <a:lnTo>
                              <a:pt x="287" y="38"/>
                            </a:lnTo>
                            <a:lnTo>
                              <a:pt x="223" y="37"/>
                            </a:lnTo>
                            <a:lnTo>
                              <a:pt x="222" y="37"/>
                            </a:lnTo>
                            <a:lnTo>
                              <a:pt x="222" y="37"/>
                            </a:lnTo>
                            <a:lnTo>
                              <a:pt x="180" y="9"/>
                            </a:lnTo>
                            <a:lnTo>
                              <a:pt x="150" y="0"/>
                            </a:lnTo>
                            <a:lnTo>
                              <a:pt x="122" y="21"/>
                            </a:lnTo>
                            <a:lnTo>
                              <a:pt x="101" y="88"/>
                            </a:lnTo>
                            <a:lnTo>
                              <a:pt x="100" y="90"/>
                            </a:lnTo>
                            <a:lnTo>
                              <a:pt x="99" y="90"/>
                            </a:lnTo>
                            <a:lnTo>
                              <a:pt x="74" y="86"/>
                            </a:lnTo>
                            <a:lnTo>
                              <a:pt x="55" y="99"/>
                            </a:lnTo>
                            <a:lnTo>
                              <a:pt x="51" y="119"/>
                            </a:lnTo>
                            <a:lnTo>
                              <a:pt x="51" y="120"/>
                            </a:lnTo>
                            <a:lnTo>
                              <a:pt x="50" y="120"/>
                            </a:lnTo>
                            <a:lnTo>
                              <a:pt x="16" y="140"/>
                            </a:lnTo>
                            <a:lnTo>
                              <a:pt x="18" y="156"/>
                            </a:lnTo>
                            <a:lnTo>
                              <a:pt x="19" y="157"/>
                            </a:lnTo>
                            <a:lnTo>
                              <a:pt x="18" y="158"/>
                            </a:lnTo>
                            <a:lnTo>
                              <a:pt x="0" y="179"/>
                            </a:lnTo>
                            <a:lnTo>
                              <a:pt x="17" y="196"/>
                            </a:lnTo>
                            <a:lnTo>
                              <a:pt x="17" y="197"/>
                            </a:lnTo>
                            <a:lnTo>
                              <a:pt x="17" y="198"/>
                            </a:lnTo>
                            <a:lnTo>
                              <a:pt x="17" y="255"/>
                            </a:lnTo>
                            <a:lnTo>
                              <a:pt x="143" y="315"/>
                            </a:lnTo>
                            <a:lnTo>
                              <a:pt x="144" y="315"/>
                            </a:lnTo>
                            <a:lnTo>
                              <a:pt x="144" y="316"/>
                            </a:lnTo>
                            <a:lnTo>
                              <a:pt x="168" y="346"/>
                            </a:lnTo>
                            <a:lnTo>
                              <a:pt x="168" y="346"/>
                            </a:lnTo>
                            <a:lnTo>
                              <a:pt x="168" y="347"/>
                            </a:lnTo>
                            <a:lnTo>
                              <a:pt x="175" y="372"/>
                            </a:lnTo>
                            <a:lnTo>
                              <a:pt x="212" y="371"/>
                            </a:lnTo>
                            <a:lnTo>
                              <a:pt x="213" y="371"/>
                            </a:lnTo>
                            <a:lnTo>
                              <a:pt x="213" y="372"/>
                            </a:lnTo>
                            <a:lnTo>
                              <a:pt x="226" y="396"/>
                            </a:lnTo>
                            <a:lnTo>
                              <a:pt x="298" y="398"/>
                            </a:lnTo>
                            <a:lnTo>
                              <a:pt x="300" y="398"/>
                            </a:lnTo>
                            <a:lnTo>
                              <a:pt x="300" y="400"/>
                            </a:lnTo>
                            <a:lnTo>
                              <a:pt x="297" y="450"/>
                            </a:lnTo>
                            <a:lnTo>
                              <a:pt x="306" y="462"/>
                            </a:lnTo>
                            <a:lnTo>
                              <a:pt x="329" y="443"/>
                            </a:lnTo>
                            <a:lnTo>
                              <a:pt x="329" y="442"/>
                            </a:lnTo>
                            <a:lnTo>
                              <a:pt x="330" y="442"/>
                            </a:lnTo>
                            <a:lnTo>
                              <a:pt x="350" y="442"/>
                            </a:lnTo>
                            <a:lnTo>
                              <a:pt x="351" y="442"/>
                            </a:lnTo>
                            <a:lnTo>
                              <a:pt x="351" y="442"/>
                            </a:lnTo>
                            <a:lnTo>
                              <a:pt x="399" y="442"/>
                            </a:lnTo>
                            <a:lnTo>
                              <a:pt x="416" y="421"/>
                            </a:lnTo>
                            <a:lnTo>
                              <a:pt x="417" y="421"/>
                            </a:lnTo>
                            <a:lnTo>
                              <a:pt x="417" y="421"/>
                            </a:lnTo>
                            <a:lnTo>
                              <a:pt x="465" y="414"/>
                            </a:lnTo>
                            <a:lnTo>
                              <a:pt x="466" y="414"/>
                            </a:lnTo>
                            <a:lnTo>
                              <a:pt x="466" y="415"/>
                            </a:lnTo>
                            <a:lnTo>
                              <a:pt x="507" y="432"/>
                            </a:lnTo>
                            <a:lnTo>
                              <a:pt x="540" y="418"/>
                            </a:lnTo>
                            <a:lnTo>
                              <a:pt x="542" y="385"/>
                            </a:lnTo>
                            <a:lnTo>
                              <a:pt x="542" y="384"/>
                            </a:lnTo>
                            <a:lnTo>
                              <a:pt x="542" y="383"/>
                            </a:lnTo>
                            <a:lnTo>
                              <a:pt x="577" y="357"/>
                            </a:lnTo>
                            <a:lnTo>
                              <a:pt x="581" y="341"/>
                            </a:lnTo>
                            <a:lnTo>
                              <a:pt x="551" y="331"/>
                            </a:lnTo>
                            <a:lnTo>
                              <a:pt x="551" y="331"/>
                            </a:lnTo>
                            <a:lnTo>
                              <a:pt x="550" y="331"/>
                            </a:lnTo>
                            <a:lnTo>
                              <a:pt x="529" y="310"/>
                            </a:lnTo>
                            <a:lnTo>
                              <a:pt x="528" y="309"/>
                            </a:lnTo>
                            <a:lnTo>
                              <a:pt x="528" y="309"/>
                            </a:lnTo>
                            <a:lnTo>
                              <a:pt x="525" y="281"/>
                            </a:lnTo>
                            <a:lnTo>
                              <a:pt x="525" y="279"/>
                            </a:lnTo>
                            <a:lnTo>
                              <a:pt x="526" y="279"/>
                            </a:lnTo>
                            <a:lnTo>
                              <a:pt x="563" y="246"/>
                            </a:lnTo>
                            <a:lnTo>
                              <a:pt x="565" y="227"/>
                            </a:lnTo>
                            <a:lnTo>
                              <a:pt x="540" y="224"/>
                            </a:lnTo>
                            <a:lnTo>
                              <a:pt x="539" y="224"/>
                            </a:lnTo>
                            <a:lnTo>
                              <a:pt x="538" y="223"/>
                            </a:lnTo>
                            <a:lnTo>
                              <a:pt x="511" y="166"/>
                            </a:lnTo>
                            <a:lnTo>
                              <a:pt x="415" y="151"/>
                            </a:lnTo>
                            <a:lnTo>
                              <a:pt x="414" y="151"/>
                            </a:lnTo>
                            <a:lnTo>
                              <a:pt x="414" y="149"/>
                            </a:lnTo>
                            <a:lnTo>
                              <a:pt x="414" y="123"/>
                            </a:lnTo>
                            <a:lnTo>
                              <a:pt x="414" y="122"/>
                            </a:lnTo>
                            <a:lnTo>
                              <a:pt x="414" y="122"/>
                            </a:lnTo>
                            <a:lnTo>
                              <a:pt x="427" y="106"/>
                            </a:lnTo>
                            <a:lnTo>
                              <a:pt x="414" y="60"/>
                            </a:lnTo>
                            <a:lnTo>
                              <a:pt x="414" y="6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91" name="Google Shape;191;p2"/>
                      <p:cNvSpPr/>
                      <p:nvPr/>
                    </p:nvSpPr>
                    <p:spPr>
                      <a:xfrm>
                        <a:off x="2803094" y="2612254"/>
                        <a:ext cx="213413" cy="34371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08" h="335" extrusionOk="0">
                            <a:moveTo>
                              <a:pt x="89" y="0"/>
                            </a:moveTo>
                            <a:lnTo>
                              <a:pt x="77" y="6"/>
                            </a:lnTo>
                            <a:lnTo>
                              <a:pt x="72" y="26"/>
                            </a:lnTo>
                            <a:lnTo>
                              <a:pt x="84" y="53"/>
                            </a:lnTo>
                            <a:lnTo>
                              <a:pt x="84" y="54"/>
                            </a:lnTo>
                            <a:lnTo>
                              <a:pt x="84" y="55"/>
                            </a:lnTo>
                            <a:lnTo>
                              <a:pt x="63" y="83"/>
                            </a:lnTo>
                            <a:lnTo>
                              <a:pt x="67" y="98"/>
                            </a:lnTo>
                            <a:lnTo>
                              <a:pt x="94" y="107"/>
                            </a:lnTo>
                            <a:lnTo>
                              <a:pt x="96" y="107"/>
                            </a:lnTo>
                            <a:lnTo>
                              <a:pt x="95" y="109"/>
                            </a:lnTo>
                            <a:lnTo>
                              <a:pt x="85" y="139"/>
                            </a:lnTo>
                            <a:lnTo>
                              <a:pt x="85" y="140"/>
                            </a:lnTo>
                            <a:lnTo>
                              <a:pt x="85" y="140"/>
                            </a:lnTo>
                            <a:lnTo>
                              <a:pt x="68" y="162"/>
                            </a:lnTo>
                            <a:lnTo>
                              <a:pt x="74" y="188"/>
                            </a:lnTo>
                            <a:lnTo>
                              <a:pt x="74" y="188"/>
                            </a:lnTo>
                            <a:lnTo>
                              <a:pt x="74" y="189"/>
                            </a:lnTo>
                            <a:lnTo>
                              <a:pt x="69" y="208"/>
                            </a:lnTo>
                            <a:lnTo>
                              <a:pt x="75" y="226"/>
                            </a:lnTo>
                            <a:lnTo>
                              <a:pt x="76" y="227"/>
                            </a:lnTo>
                            <a:lnTo>
                              <a:pt x="75" y="228"/>
                            </a:lnTo>
                            <a:lnTo>
                              <a:pt x="47" y="256"/>
                            </a:lnTo>
                            <a:lnTo>
                              <a:pt x="47" y="256"/>
                            </a:lnTo>
                            <a:lnTo>
                              <a:pt x="46" y="256"/>
                            </a:lnTo>
                            <a:lnTo>
                              <a:pt x="30" y="265"/>
                            </a:lnTo>
                            <a:lnTo>
                              <a:pt x="30" y="265"/>
                            </a:lnTo>
                            <a:lnTo>
                              <a:pt x="30" y="265"/>
                            </a:lnTo>
                            <a:lnTo>
                              <a:pt x="7" y="273"/>
                            </a:lnTo>
                            <a:lnTo>
                              <a:pt x="0" y="307"/>
                            </a:lnTo>
                            <a:lnTo>
                              <a:pt x="21" y="335"/>
                            </a:lnTo>
                            <a:lnTo>
                              <a:pt x="48" y="314"/>
                            </a:lnTo>
                            <a:lnTo>
                              <a:pt x="50" y="312"/>
                            </a:lnTo>
                            <a:lnTo>
                              <a:pt x="50" y="314"/>
                            </a:lnTo>
                            <a:lnTo>
                              <a:pt x="99" y="311"/>
                            </a:lnTo>
                            <a:lnTo>
                              <a:pt x="112" y="277"/>
                            </a:lnTo>
                            <a:lnTo>
                              <a:pt x="112" y="276"/>
                            </a:lnTo>
                            <a:lnTo>
                              <a:pt x="114" y="276"/>
                            </a:lnTo>
                            <a:lnTo>
                              <a:pt x="134" y="277"/>
                            </a:lnTo>
                            <a:lnTo>
                              <a:pt x="149" y="247"/>
                            </a:lnTo>
                            <a:lnTo>
                              <a:pt x="149" y="246"/>
                            </a:lnTo>
                            <a:lnTo>
                              <a:pt x="149" y="246"/>
                            </a:lnTo>
                            <a:lnTo>
                              <a:pt x="175" y="236"/>
                            </a:lnTo>
                            <a:lnTo>
                              <a:pt x="183" y="219"/>
                            </a:lnTo>
                            <a:lnTo>
                              <a:pt x="183" y="200"/>
                            </a:lnTo>
                            <a:lnTo>
                              <a:pt x="183" y="199"/>
                            </a:lnTo>
                            <a:lnTo>
                              <a:pt x="184" y="198"/>
                            </a:lnTo>
                            <a:lnTo>
                              <a:pt x="208" y="186"/>
                            </a:lnTo>
                            <a:lnTo>
                              <a:pt x="206" y="166"/>
                            </a:lnTo>
                            <a:lnTo>
                              <a:pt x="196" y="136"/>
                            </a:lnTo>
                            <a:lnTo>
                              <a:pt x="196" y="136"/>
                            </a:lnTo>
                            <a:lnTo>
                              <a:pt x="196" y="136"/>
                            </a:lnTo>
                            <a:lnTo>
                              <a:pt x="191" y="108"/>
                            </a:lnTo>
                            <a:lnTo>
                              <a:pt x="170" y="75"/>
                            </a:lnTo>
                            <a:lnTo>
                              <a:pt x="169" y="74"/>
                            </a:lnTo>
                            <a:lnTo>
                              <a:pt x="170" y="73"/>
                            </a:lnTo>
                            <a:lnTo>
                              <a:pt x="179" y="53"/>
                            </a:lnTo>
                            <a:lnTo>
                              <a:pt x="163" y="43"/>
                            </a:lnTo>
                            <a:lnTo>
                              <a:pt x="135" y="46"/>
                            </a:lnTo>
                            <a:lnTo>
                              <a:pt x="135" y="46"/>
                            </a:lnTo>
                            <a:lnTo>
                              <a:pt x="135" y="46"/>
                            </a:lnTo>
                            <a:lnTo>
                              <a:pt x="105" y="46"/>
                            </a:lnTo>
                            <a:lnTo>
                              <a:pt x="104" y="46"/>
                            </a:lnTo>
                            <a:lnTo>
                              <a:pt x="104" y="45"/>
                            </a:lnTo>
                            <a:lnTo>
                              <a:pt x="89" y="0"/>
                            </a:lnTo>
                            <a:lnTo>
                              <a:pt x="89" y="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92" name="Google Shape;192;p2"/>
                      <p:cNvSpPr/>
                      <p:nvPr/>
                    </p:nvSpPr>
                    <p:spPr>
                      <a:xfrm>
                        <a:off x="2847213" y="1088610"/>
                        <a:ext cx="29755" cy="4309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9" h="42" extrusionOk="0">
                            <a:moveTo>
                              <a:pt x="0" y="20"/>
                            </a:moveTo>
                            <a:lnTo>
                              <a:pt x="17" y="42"/>
                            </a:lnTo>
                            <a:lnTo>
                              <a:pt x="29" y="37"/>
                            </a:lnTo>
                            <a:lnTo>
                              <a:pt x="25" y="6"/>
                            </a:lnTo>
                            <a:lnTo>
                              <a:pt x="13" y="0"/>
                            </a:lnTo>
                            <a:lnTo>
                              <a:pt x="0" y="20"/>
                            </a:lnTo>
                            <a:lnTo>
                              <a:pt x="0" y="20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93" name="Google Shape;193;p2"/>
                      <p:cNvSpPr/>
                      <p:nvPr/>
                    </p:nvSpPr>
                    <p:spPr>
                      <a:xfrm>
                        <a:off x="2895436" y="952149"/>
                        <a:ext cx="18468" cy="2565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8" h="25" extrusionOk="0">
                            <a:moveTo>
                              <a:pt x="0" y="14"/>
                            </a:moveTo>
                            <a:lnTo>
                              <a:pt x="9" y="25"/>
                            </a:lnTo>
                            <a:lnTo>
                              <a:pt x="18" y="16"/>
                            </a:lnTo>
                            <a:lnTo>
                              <a:pt x="14" y="0"/>
                            </a:lnTo>
                            <a:lnTo>
                              <a:pt x="2" y="4"/>
                            </a:lnTo>
                            <a:lnTo>
                              <a:pt x="0" y="14"/>
                            </a:lnTo>
                            <a:lnTo>
                              <a:pt x="0" y="14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94" name="Google Shape;194;p2"/>
                      <p:cNvSpPr/>
                      <p:nvPr/>
                    </p:nvSpPr>
                    <p:spPr>
                      <a:xfrm>
                        <a:off x="3225815" y="390915"/>
                        <a:ext cx="37963" cy="2872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7" h="28" extrusionOk="0">
                            <a:moveTo>
                              <a:pt x="0" y="21"/>
                            </a:moveTo>
                            <a:lnTo>
                              <a:pt x="37" y="28"/>
                            </a:lnTo>
                            <a:lnTo>
                              <a:pt x="28" y="0"/>
                            </a:lnTo>
                            <a:lnTo>
                              <a:pt x="3" y="1"/>
                            </a:lnTo>
                            <a:lnTo>
                              <a:pt x="0" y="21"/>
                            </a:lnTo>
                            <a:lnTo>
                              <a:pt x="0" y="21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95" name="Google Shape;195;p2"/>
                      <p:cNvSpPr/>
                      <p:nvPr/>
                    </p:nvSpPr>
                    <p:spPr>
                      <a:xfrm>
                        <a:off x="3257622" y="398097"/>
                        <a:ext cx="99525" cy="12620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7" h="123" extrusionOk="0">
                            <a:moveTo>
                              <a:pt x="0" y="84"/>
                            </a:moveTo>
                            <a:lnTo>
                              <a:pt x="20" y="57"/>
                            </a:lnTo>
                            <a:lnTo>
                              <a:pt x="16" y="33"/>
                            </a:lnTo>
                            <a:lnTo>
                              <a:pt x="35" y="20"/>
                            </a:lnTo>
                            <a:lnTo>
                              <a:pt x="55" y="0"/>
                            </a:lnTo>
                            <a:lnTo>
                              <a:pt x="77" y="20"/>
                            </a:lnTo>
                            <a:lnTo>
                              <a:pt x="89" y="55"/>
                            </a:lnTo>
                            <a:lnTo>
                              <a:pt x="97" y="70"/>
                            </a:lnTo>
                            <a:lnTo>
                              <a:pt x="76" y="81"/>
                            </a:lnTo>
                            <a:lnTo>
                              <a:pt x="76" y="100"/>
                            </a:lnTo>
                            <a:lnTo>
                              <a:pt x="26" y="123"/>
                            </a:lnTo>
                            <a:lnTo>
                              <a:pt x="0" y="100"/>
                            </a:lnTo>
                            <a:lnTo>
                              <a:pt x="0" y="84"/>
                            </a:lnTo>
                            <a:lnTo>
                              <a:pt x="0" y="84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96" name="Google Shape;196;p2"/>
                      <p:cNvSpPr/>
                      <p:nvPr/>
                    </p:nvSpPr>
                    <p:spPr>
                      <a:xfrm>
                        <a:off x="3223763" y="515064"/>
                        <a:ext cx="54380" cy="4411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3" h="43" extrusionOk="0">
                            <a:moveTo>
                              <a:pt x="15" y="0"/>
                            </a:moveTo>
                            <a:lnTo>
                              <a:pt x="53" y="15"/>
                            </a:lnTo>
                            <a:lnTo>
                              <a:pt x="48" y="33"/>
                            </a:lnTo>
                            <a:lnTo>
                              <a:pt x="30" y="43"/>
                            </a:lnTo>
                            <a:lnTo>
                              <a:pt x="4" y="25"/>
                            </a:lnTo>
                            <a:lnTo>
                              <a:pt x="0" y="8"/>
                            </a:lnTo>
                            <a:lnTo>
                              <a:pt x="15" y="0"/>
                            </a:lnTo>
                            <a:lnTo>
                              <a:pt x="15" y="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97" name="Google Shape;197;p2"/>
                      <p:cNvSpPr/>
                      <p:nvPr/>
                    </p:nvSpPr>
                    <p:spPr>
                      <a:xfrm>
                        <a:off x="3274038" y="509933"/>
                        <a:ext cx="111837" cy="142617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09" h="139" extrusionOk="0">
                            <a:moveTo>
                              <a:pt x="0" y="67"/>
                            </a:moveTo>
                            <a:lnTo>
                              <a:pt x="17" y="24"/>
                            </a:lnTo>
                            <a:lnTo>
                              <a:pt x="64" y="0"/>
                            </a:lnTo>
                            <a:lnTo>
                              <a:pt x="73" y="33"/>
                            </a:lnTo>
                            <a:lnTo>
                              <a:pt x="85" y="30"/>
                            </a:lnTo>
                            <a:lnTo>
                              <a:pt x="88" y="15"/>
                            </a:lnTo>
                            <a:lnTo>
                              <a:pt x="109" y="36"/>
                            </a:lnTo>
                            <a:lnTo>
                              <a:pt x="107" y="64"/>
                            </a:lnTo>
                            <a:lnTo>
                              <a:pt x="91" y="90"/>
                            </a:lnTo>
                            <a:lnTo>
                              <a:pt x="105" y="106"/>
                            </a:lnTo>
                            <a:lnTo>
                              <a:pt x="101" y="130"/>
                            </a:lnTo>
                            <a:lnTo>
                              <a:pt x="84" y="139"/>
                            </a:lnTo>
                            <a:lnTo>
                              <a:pt x="49" y="115"/>
                            </a:lnTo>
                            <a:lnTo>
                              <a:pt x="17" y="88"/>
                            </a:lnTo>
                            <a:lnTo>
                              <a:pt x="0" y="80"/>
                            </a:lnTo>
                            <a:lnTo>
                              <a:pt x="0" y="67"/>
                            </a:lnTo>
                            <a:lnTo>
                              <a:pt x="0" y="67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98" name="Google Shape;198;p2"/>
                      <p:cNvSpPr/>
                      <p:nvPr/>
                    </p:nvSpPr>
                    <p:spPr>
                      <a:xfrm>
                        <a:off x="3375614" y="585859"/>
                        <a:ext cx="102602" cy="142617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00" h="139" extrusionOk="0">
                            <a:moveTo>
                              <a:pt x="25" y="16"/>
                            </a:moveTo>
                            <a:lnTo>
                              <a:pt x="20" y="72"/>
                            </a:lnTo>
                            <a:lnTo>
                              <a:pt x="0" y="110"/>
                            </a:lnTo>
                            <a:lnTo>
                              <a:pt x="8" y="139"/>
                            </a:lnTo>
                            <a:lnTo>
                              <a:pt x="42" y="111"/>
                            </a:lnTo>
                            <a:lnTo>
                              <a:pt x="79" y="109"/>
                            </a:lnTo>
                            <a:lnTo>
                              <a:pt x="98" y="90"/>
                            </a:lnTo>
                            <a:lnTo>
                              <a:pt x="100" y="45"/>
                            </a:lnTo>
                            <a:lnTo>
                              <a:pt x="79" y="20"/>
                            </a:lnTo>
                            <a:lnTo>
                              <a:pt x="62" y="37"/>
                            </a:lnTo>
                            <a:lnTo>
                              <a:pt x="53" y="27"/>
                            </a:lnTo>
                            <a:lnTo>
                              <a:pt x="54" y="0"/>
                            </a:lnTo>
                            <a:lnTo>
                              <a:pt x="25" y="16"/>
                            </a:lnTo>
                            <a:lnTo>
                              <a:pt x="25" y="16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199" name="Google Shape;199;p2"/>
                      <p:cNvSpPr/>
                      <p:nvPr/>
                    </p:nvSpPr>
                    <p:spPr>
                      <a:xfrm>
                        <a:off x="3504893" y="678201"/>
                        <a:ext cx="31807" cy="2872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1" h="28" extrusionOk="0">
                            <a:moveTo>
                              <a:pt x="0" y="7"/>
                            </a:moveTo>
                            <a:lnTo>
                              <a:pt x="3" y="21"/>
                            </a:lnTo>
                            <a:lnTo>
                              <a:pt x="31" y="28"/>
                            </a:lnTo>
                            <a:lnTo>
                              <a:pt x="29" y="17"/>
                            </a:lnTo>
                            <a:lnTo>
                              <a:pt x="2" y="0"/>
                            </a:lnTo>
                            <a:lnTo>
                              <a:pt x="0" y="7"/>
                            </a:lnTo>
                            <a:lnTo>
                              <a:pt x="0" y="7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200" name="Google Shape;200;p2"/>
                      <p:cNvSpPr/>
                      <p:nvPr/>
                    </p:nvSpPr>
                    <p:spPr>
                      <a:xfrm>
                        <a:off x="3294559" y="787986"/>
                        <a:ext cx="24625" cy="21547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4" h="21" extrusionOk="0">
                            <a:moveTo>
                              <a:pt x="0" y="10"/>
                            </a:moveTo>
                            <a:lnTo>
                              <a:pt x="14" y="21"/>
                            </a:lnTo>
                            <a:lnTo>
                              <a:pt x="24" y="15"/>
                            </a:lnTo>
                            <a:lnTo>
                              <a:pt x="17" y="0"/>
                            </a:lnTo>
                            <a:lnTo>
                              <a:pt x="0" y="10"/>
                            </a:lnTo>
                            <a:lnTo>
                              <a:pt x="0" y="10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201" name="Google Shape;201;p2"/>
                      <p:cNvSpPr/>
                      <p:nvPr/>
                    </p:nvSpPr>
                    <p:spPr>
                      <a:xfrm>
                        <a:off x="3164253" y="759257"/>
                        <a:ext cx="21547" cy="2872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1" h="28" extrusionOk="0">
                            <a:moveTo>
                              <a:pt x="2" y="18"/>
                            </a:moveTo>
                            <a:lnTo>
                              <a:pt x="19" y="28"/>
                            </a:lnTo>
                            <a:lnTo>
                              <a:pt x="21" y="14"/>
                            </a:lnTo>
                            <a:lnTo>
                              <a:pt x="9" y="0"/>
                            </a:lnTo>
                            <a:lnTo>
                              <a:pt x="0" y="8"/>
                            </a:lnTo>
                            <a:lnTo>
                              <a:pt x="2" y="18"/>
                            </a:lnTo>
                            <a:lnTo>
                              <a:pt x="2" y="18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202" name="Google Shape;202;p2"/>
                      <p:cNvSpPr/>
                      <p:nvPr/>
                    </p:nvSpPr>
                    <p:spPr>
                      <a:xfrm>
                        <a:off x="3279168" y="826975"/>
                        <a:ext cx="15391" cy="194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5" h="19" extrusionOk="0">
                            <a:moveTo>
                              <a:pt x="0" y="11"/>
                            </a:moveTo>
                            <a:lnTo>
                              <a:pt x="7" y="19"/>
                            </a:lnTo>
                            <a:lnTo>
                              <a:pt x="15" y="11"/>
                            </a:lnTo>
                            <a:lnTo>
                              <a:pt x="5" y="0"/>
                            </a:lnTo>
                            <a:lnTo>
                              <a:pt x="0" y="11"/>
                            </a:lnTo>
                            <a:lnTo>
                              <a:pt x="0" y="11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203" name="Google Shape;203;p2"/>
                      <p:cNvSpPr/>
                      <p:nvPr/>
                    </p:nvSpPr>
                    <p:spPr>
                      <a:xfrm>
                        <a:off x="2970335" y="1015763"/>
                        <a:ext cx="23599" cy="26677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3" h="26" extrusionOk="0">
                            <a:moveTo>
                              <a:pt x="0" y="13"/>
                            </a:moveTo>
                            <a:lnTo>
                              <a:pt x="14" y="26"/>
                            </a:lnTo>
                            <a:lnTo>
                              <a:pt x="23" y="17"/>
                            </a:lnTo>
                            <a:lnTo>
                              <a:pt x="20" y="2"/>
                            </a:lnTo>
                            <a:lnTo>
                              <a:pt x="8" y="0"/>
                            </a:lnTo>
                            <a:lnTo>
                              <a:pt x="0" y="13"/>
                            </a:lnTo>
                            <a:lnTo>
                              <a:pt x="0" y="13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204" name="Google Shape;204;p2"/>
                      <p:cNvSpPr/>
                      <p:nvPr/>
                    </p:nvSpPr>
                    <p:spPr>
                      <a:xfrm>
                        <a:off x="3004194" y="1032179"/>
                        <a:ext cx="13339" cy="194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3" h="19" extrusionOk="0">
                            <a:moveTo>
                              <a:pt x="0" y="13"/>
                            </a:moveTo>
                            <a:lnTo>
                              <a:pt x="8" y="19"/>
                            </a:lnTo>
                            <a:lnTo>
                              <a:pt x="13" y="9"/>
                            </a:lnTo>
                            <a:lnTo>
                              <a:pt x="4" y="0"/>
                            </a:lnTo>
                            <a:lnTo>
                              <a:pt x="0" y="13"/>
                            </a:lnTo>
                            <a:lnTo>
                              <a:pt x="0" y="13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205" name="Google Shape;205;p2"/>
                      <p:cNvSpPr/>
                      <p:nvPr/>
                    </p:nvSpPr>
                    <p:spPr>
                      <a:xfrm>
                        <a:off x="3024714" y="996268"/>
                        <a:ext cx="12312" cy="16416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2" h="16" extrusionOk="0">
                            <a:moveTo>
                              <a:pt x="0" y="11"/>
                            </a:moveTo>
                            <a:lnTo>
                              <a:pt x="7" y="16"/>
                            </a:lnTo>
                            <a:lnTo>
                              <a:pt x="12" y="8"/>
                            </a:lnTo>
                            <a:lnTo>
                              <a:pt x="1" y="0"/>
                            </a:lnTo>
                            <a:lnTo>
                              <a:pt x="0" y="11"/>
                            </a:lnTo>
                            <a:lnTo>
                              <a:pt x="0" y="11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206" name="Google Shape;206;p2"/>
                      <p:cNvSpPr/>
                      <p:nvPr/>
                    </p:nvSpPr>
                    <p:spPr>
                      <a:xfrm>
                        <a:off x="3034975" y="971643"/>
                        <a:ext cx="21547" cy="2257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1" h="22" extrusionOk="0">
                            <a:moveTo>
                              <a:pt x="4" y="15"/>
                            </a:moveTo>
                            <a:lnTo>
                              <a:pt x="12" y="22"/>
                            </a:lnTo>
                            <a:lnTo>
                              <a:pt x="21" y="10"/>
                            </a:lnTo>
                            <a:lnTo>
                              <a:pt x="7" y="0"/>
                            </a:lnTo>
                            <a:lnTo>
                              <a:pt x="0" y="5"/>
                            </a:lnTo>
                            <a:lnTo>
                              <a:pt x="4" y="15"/>
                            </a:lnTo>
                            <a:lnTo>
                              <a:pt x="4" y="15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207" name="Google Shape;207;p2"/>
                      <p:cNvSpPr/>
                      <p:nvPr/>
                    </p:nvSpPr>
                    <p:spPr>
                      <a:xfrm>
                        <a:off x="2967257" y="894692"/>
                        <a:ext cx="32833" cy="26677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2" h="26" extrusionOk="0">
                            <a:moveTo>
                              <a:pt x="8" y="19"/>
                            </a:moveTo>
                            <a:lnTo>
                              <a:pt x="18" y="26"/>
                            </a:lnTo>
                            <a:lnTo>
                              <a:pt x="32" y="18"/>
                            </a:lnTo>
                            <a:lnTo>
                              <a:pt x="24" y="3"/>
                            </a:lnTo>
                            <a:lnTo>
                              <a:pt x="12" y="0"/>
                            </a:lnTo>
                            <a:lnTo>
                              <a:pt x="0" y="10"/>
                            </a:lnTo>
                            <a:lnTo>
                              <a:pt x="8" y="19"/>
                            </a:lnTo>
                            <a:lnTo>
                              <a:pt x="8" y="19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208" name="Google Shape;208;p2"/>
                      <p:cNvSpPr/>
                      <p:nvPr/>
                    </p:nvSpPr>
                    <p:spPr>
                      <a:xfrm>
                        <a:off x="3003168" y="863911"/>
                        <a:ext cx="16416" cy="194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6" h="19" extrusionOk="0">
                            <a:moveTo>
                              <a:pt x="3" y="0"/>
                            </a:moveTo>
                            <a:lnTo>
                              <a:pt x="0" y="8"/>
                            </a:lnTo>
                            <a:lnTo>
                              <a:pt x="8" y="19"/>
                            </a:lnTo>
                            <a:lnTo>
                              <a:pt x="16" y="10"/>
                            </a:lnTo>
                            <a:lnTo>
                              <a:pt x="16" y="1"/>
                            </a:lnTo>
                            <a:lnTo>
                              <a:pt x="3" y="0"/>
                            </a:lnTo>
                            <a:lnTo>
                              <a:pt x="3" y="0"/>
                            </a:lnTo>
                            <a:close/>
                          </a:path>
                        </a:pathLst>
                      </a:custGeom>
                      <a:solidFill>
                        <a:srgbClr val="F2F2F2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209" name="Google Shape;209;p2"/>
                      <p:cNvSpPr/>
                      <p:nvPr/>
                    </p:nvSpPr>
                    <p:spPr>
                      <a:xfrm>
                        <a:off x="2980596" y="497621"/>
                        <a:ext cx="29755" cy="3078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9" h="30" extrusionOk="0">
                            <a:moveTo>
                              <a:pt x="3" y="6"/>
                            </a:moveTo>
                            <a:lnTo>
                              <a:pt x="0" y="17"/>
                            </a:lnTo>
                            <a:lnTo>
                              <a:pt x="12" y="30"/>
                            </a:lnTo>
                            <a:lnTo>
                              <a:pt x="29" y="30"/>
                            </a:lnTo>
                            <a:lnTo>
                              <a:pt x="28" y="15"/>
                            </a:lnTo>
                            <a:lnTo>
                              <a:pt x="17" y="0"/>
                            </a:lnTo>
                            <a:lnTo>
                              <a:pt x="3" y="6"/>
                            </a:lnTo>
                            <a:lnTo>
                              <a:pt x="3" y="6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210" name="Google Shape;210;p2"/>
                      <p:cNvSpPr/>
                      <p:nvPr/>
                    </p:nvSpPr>
                    <p:spPr>
                      <a:xfrm>
                        <a:off x="3058573" y="378602"/>
                        <a:ext cx="34885" cy="3796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34" h="37" extrusionOk="0">
                            <a:moveTo>
                              <a:pt x="1" y="32"/>
                            </a:moveTo>
                            <a:lnTo>
                              <a:pt x="17" y="37"/>
                            </a:lnTo>
                            <a:lnTo>
                              <a:pt x="34" y="32"/>
                            </a:lnTo>
                            <a:lnTo>
                              <a:pt x="24" y="10"/>
                            </a:lnTo>
                            <a:lnTo>
                              <a:pt x="11" y="0"/>
                            </a:lnTo>
                            <a:lnTo>
                              <a:pt x="2" y="9"/>
                            </a:lnTo>
                            <a:lnTo>
                              <a:pt x="0" y="23"/>
                            </a:lnTo>
                            <a:lnTo>
                              <a:pt x="1" y="32"/>
                            </a:lnTo>
                            <a:lnTo>
                              <a:pt x="1" y="32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211" name="Google Shape;211;p2"/>
                      <p:cNvSpPr/>
                      <p:nvPr/>
                    </p:nvSpPr>
                    <p:spPr>
                      <a:xfrm>
                        <a:off x="3205294" y="1898142"/>
                        <a:ext cx="1028075" cy="110092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208" h="2364" extrusionOk="0">
                            <a:moveTo>
                              <a:pt x="702" y="2004"/>
                            </a:moveTo>
                            <a:lnTo>
                              <a:pt x="694" y="1964"/>
                            </a:lnTo>
                            <a:lnTo>
                              <a:pt x="694" y="1960"/>
                            </a:lnTo>
                            <a:lnTo>
                              <a:pt x="697" y="1959"/>
                            </a:lnTo>
                            <a:lnTo>
                              <a:pt x="736" y="1947"/>
                            </a:lnTo>
                            <a:lnTo>
                              <a:pt x="719" y="1888"/>
                            </a:lnTo>
                            <a:lnTo>
                              <a:pt x="718" y="1885"/>
                            </a:lnTo>
                            <a:lnTo>
                              <a:pt x="722" y="1883"/>
                            </a:lnTo>
                            <a:lnTo>
                              <a:pt x="768" y="1866"/>
                            </a:lnTo>
                            <a:lnTo>
                              <a:pt x="771" y="1865"/>
                            </a:lnTo>
                            <a:lnTo>
                              <a:pt x="773" y="1868"/>
                            </a:lnTo>
                            <a:lnTo>
                              <a:pt x="809" y="1940"/>
                            </a:lnTo>
                            <a:lnTo>
                              <a:pt x="899" y="1886"/>
                            </a:lnTo>
                            <a:lnTo>
                              <a:pt x="902" y="1885"/>
                            </a:lnTo>
                            <a:lnTo>
                              <a:pt x="905" y="1888"/>
                            </a:lnTo>
                            <a:lnTo>
                              <a:pt x="936" y="1931"/>
                            </a:lnTo>
                            <a:lnTo>
                              <a:pt x="936" y="1931"/>
                            </a:lnTo>
                            <a:lnTo>
                              <a:pt x="936" y="1931"/>
                            </a:lnTo>
                            <a:lnTo>
                              <a:pt x="962" y="1956"/>
                            </a:lnTo>
                            <a:lnTo>
                              <a:pt x="997" y="1943"/>
                            </a:lnTo>
                            <a:lnTo>
                              <a:pt x="998" y="1942"/>
                            </a:lnTo>
                            <a:lnTo>
                              <a:pt x="999" y="1942"/>
                            </a:lnTo>
                            <a:lnTo>
                              <a:pt x="1047" y="1942"/>
                            </a:lnTo>
                            <a:lnTo>
                              <a:pt x="1049" y="1942"/>
                            </a:lnTo>
                            <a:lnTo>
                              <a:pt x="1050" y="1944"/>
                            </a:lnTo>
                            <a:lnTo>
                              <a:pt x="1074" y="1982"/>
                            </a:lnTo>
                            <a:lnTo>
                              <a:pt x="1076" y="1985"/>
                            </a:lnTo>
                            <a:lnTo>
                              <a:pt x="1074" y="1987"/>
                            </a:lnTo>
                            <a:lnTo>
                              <a:pt x="980" y="2106"/>
                            </a:lnTo>
                            <a:lnTo>
                              <a:pt x="978" y="2109"/>
                            </a:lnTo>
                            <a:lnTo>
                              <a:pt x="975" y="2107"/>
                            </a:lnTo>
                            <a:lnTo>
                              <a:pt x="918" y="2067"/>
                            </a:lnTo>
                            <a:lnTo>
                              <a:pt x="848" y="2073"/>
                            </a:lnTo>
                            <a:lnTo>
                              <a:pt x="847" y="2073"/>
                            </a:lnTo>
                            <a:lnTo>
                              <a:pt x="846" y="2073"/>
                            </a:lnTo>
                            <a:lnTo>
                              <a:pt x="805" y="2047"/>
                            </a:lnTo>
                            <a:lnTo>
                              <a:pt x="805" y="2047"/>
                            </a:lnTo>
                            <a:lnTo>
                              <a:pt x="756" y="2011"/>
                            </a:lnTo>
                            <a:lnTo>
                              <a:pt x="705" y="2007"/>
                            </a:lnTo>
                            <a:lnTo>
                              <a:pt x="702" y="2007"/>
                            </a:lnTo>
                            <a:lnTo>
                              <a:pt x="702" y="2004"/>
                            </a:lnTo>
                            <a:close/>
                            <a:moveTo>
                              <a:pt x="1095" y="0"/>
                            </a:moveTo>
                            <a:lnTo>
                              <a:pt x="1069" y="29"/>
                            </a:lnTo>
                            <a:lnTo>
                              <a:pt x="1068" y="30"/>
                            </a:lnTo>
                            <a:lnTo>
                              <a:pt x="1067" y="30"/>
                            </a:lnTo>
                            <a:lnTo>
                              <a:pt x="1004" y="43"/>
                            </a:lnTo>
                            <a:lnTo>
                              <a:pt x="948" y="69"/>
                            </a:lnTo>
                            <a:lnTo>
                              <a:pt x="951" y="131"/>
                            </a:lnTo>
                            <a:lnTo>
                              <a:pt x="967" y="174"/>
                            </a:lnTo>
                            <a:lnTo>
                              <a:pt x="968" y="175"/>
                            </a:lnTo>
                            <a:lnTo>
                              <a:pt x="967" y="177"/>
                            </a:lnTo>
                            <a:lnTo>
                              <a:pt x="935" y="248"/>
                            </a:lnTo>
                            <a:lnTo>
                              <a:pt x="967" y="299"/>
                            </a:lnTo>
                            <a:lnTo>
                              <a:pt x="967" y="300"/>
                            </a:lnTo>
                            <a:lnTo>
                              <a:pt x="967" y="301"/>
                            </a:lnTo>
                            <a:lnTo>
                              <a:pt x="974" y="377"/>
                            </a:lnTo>
                            <a:lnTo>
                              <a:pt x="974" y="378"/>
                            </a:lnTo>
                            <a:lnTo>
                              <a:pt x="974" y="379"/>
                            </a:lnTo>
                            <a:lnTo>
                              <a:pt x="924" y="475"/>
                            </a:lnTo>
                            <a:lnTo>
                              <a:pt x="923" y="476"/>
                            </a:lnTo>
                            <a:lnTo>
                              <a:pt x="922" y="477"/>
                            </a:lnTo>
                            <a:lnTo>
                              <a:pt x="840" y="528"/>
                            </a:lnTo>
                            <a:lnTo>
                              <a:pt x="871" y="581"/>
                            </a:lnTo>
                            <a:lnTo>
                              <a:pt x="872" y="583"/>
                            </a:lnTo>
                            <a:lnTo>
                              <a:pt x="870" y="585"/>
                            </a:lnTo>
                            <a:lnTo>
                              <a:pt x="835" y="633"/>
                            </a:lnTo>
                            <a:lnTo>
                              <a:pt x="854" y="695"/>
                            </a:lnTo>
                            <a:lnTo>
                              <a:pt x="925" y="718"/>
                            </a:lnTo>
                            <a:lnTo>
                              <a:pt x="927" y="719"/>
                            </a:lnTo>
                            <a:lnTo>
                              <a:pt x="928" y="721"/>
                            </a:lnTo>
                            <a:lnTo>
                              <a:pt x="937" y="767"/>
                            </a:lnTo>
                            <a:lnTo>
                              <a:pt x="938" y="769"/>
                            </a:lnTo>
                            <a:lnTo>
                              <a:pt x="936" y="771"/>
                            </a:lnTo>
                            <a:lnTo>
                              <a:pt x="884" y="826"/>
                            </a:lnTo>
                            <a:lnTo>
                              <a:pt x="882" y="864"/>
                            </a:lnTo>
                            <a:lnTo>
                              <a:pt x="915" y="873"/>
                            </a:lnTo>
                            <a:lnTo>
                              <a:pt x="917" y="874"/>
                            </a:lnTo>
                            <a:lnTo>
                              <a:pt x="917" y="876"/>
                            </a:lnTo>
                            <a:lnTo>
                              <a:pt x="934" y="926"/>
                            </a:lnTo>
                            <a:lnTo>
                              <a:pt x="935" y="928"/>
                            </a:lnTo>
                            <a:lnTo>
                              <a:pt x="933" y="930"/>
                            </a:lnTo>
                            <a:lnTo>
                              <a:pt x="894" y="969"/>
                            </a:lnTo>
                            <a:lnTo>
                              <a:pt x="878" y="1027"/>
                            </a:lnTo>
                            <a:lnTo>
                              <a:pt x="876" y="1033"/>
                            </a:lnTo>
                            <a:lnTo>
                              <a:pt x="872" y="1030"/>
                            </a:lnTo>
                            <a:lnTo>
                              <a:pt x="799" y="987"/>
                            </a:lnTo>
                            <a:lnTo>
                              <a:pt x="798" y="986"/>
                            </a:lnTo>
                            <a:lnTo>
                              <a:pt x="797" y="985"/>
                            </a:lnTo>
                            <a:lnTo>
                              <a:pt x="763" y="909"/>
                            </a:lnTo>
                            <a:lnTo>
                              <a:pt x="695" y="940"/>
                            </a:lnTo>
                            <a:lnTo>
                              <a:pt x="686" y="1004"/>
                            </a:lnTo>
                            <a:lnTo>
                              <a:pt x="686" y="1005"/>
                            </a:lnTo>
                            <a:lnTo>
                              <a:pt x="685" y="1006"/>
                            </a:lnTo>
                            <a:lnTo>
                              <a:pt x="537" y="1167"/>
                            </a:lnTo>
                            <a:lnTo>
                              <a:pt x="543" y="1241"/>
                            </a:lnTo>
                            <a:lnTo>
                              <a:pt x="544" y="1244"/>
                            </a:lnTo>
                            <a:lnTo>
                              <a:pt x="541" y="1245"/>
                            </a:lnTo>
                            <a:lnTo>
                              <a:pt x="501" y="1262"/>
                            </a:lnTo>
                            <a:lnTo>
                              <a:pt x="498" y="1263"/>
                            </a:lnTo>
                            <a:lnTo>
                              <a:pt x="496" y="1260"/>
                            </a:lnTo>
                            <a:lnTo>
                              <a:pt x="439" y="1137"/>
                            </a:lnTo>
                            <a:lnTo>
                              <a:pt x="400" y="1188"/>
                            </a:lnTo>
                            <a:lnTo>
                              <a:pt x="399" y="1189"/>
                            </a:lnTo>
                            <a:lnTo>
                              <a:pt x="397" y="1189"/>
                            </a:lnTo>
                            <a:lnTo>
                              <a:pt x="244" y="1196"/>
                            </a:lnTo>
                            <a:lnTo>
                              <a:pt x="183" y="1308"/>
                            </a:lnTo>
                            <a:lnTo>
                              <a:pt x="251" y="1415"/>
                            </a:lnTo>
                            <a:lnTo>
                              <a:pt x="252" y="1416"/>
                            </a:lnTo>
                            <a:lnTo>
                              <a:pt x="252" y="1418"/>
                            </a:lnTo>
                            <a:lnTo>
                              <a:pt x="239" y="1478"/>
                            </a:lnTo>
                            <a:lnTo>
                              <a:pt x="238" y="1480"/>
                            </a:lnTo>
                            <a:lnTo>
                              <a:pt x="235" y="1481"/>
                            </a:lnTo>
                            <a:lnTo>
                              <a:pt x="168" y="1490"/>
                            </a:lnTo>
                            <a:lnTo>
                              <a:pt x="129" y="1564"/>
                            </a:lnTo>
                            <a:lnTo>
                              <a:pt x="116" y="1762"/>
                            </a:lnTo>
                            <a:lnTo>
                              <a:pt x="116" y="1766"/>
                            </a:lnTo>
                            <a:lnTo>
                              <a:pt x="112" y="1766"/>
                            </a:lnTo>
                            <a:lnTo>
                              <a:pt x="47" y="1759"/>
                            </a:lnTo>
                            <a:lnTo>
                              <a:pt x="0" y="1781"/>
                            </a:lnTo>
                            <a:lnTo>
                              <a:pt x="0" y="1819"/>
                            </a:lnTo>
                            <a:lnTo>
                              <a:pt x="112" y="1919"/>
                            </a:lnTo>
                            <a:lnTo>
                              <a:pt x="279" y="2036"/>
                            </a:lnTo>
                            <a:lnTo>
                              <a:pt x="347" y="2032"/>
                            </a:lnTo>
                            <a:lnTo>
                              <a:pt x="350" y="2031"/>
                            </a:lnTo>
                            <a:lnTo>
                              <a:pt x="351" y="2035"/>
                            </a:lnTo>
                            <a:lnTo>
                              <a:pt x="354" y="2046"/>
                            </a:lnTo>
                            <a:lnTo>
                              <a:pt x="397" y="2047"/>
                            </a:lnTo>
                            <a:lnTo>
                              <a:pt x="474" y="1992"/>
                            </a:lnTo>
                            <a:lnTo>
                              <a:pt x="477" y="1990"/>
                            </a:lnTo>
                            <a:lnTo>
                              <a:pt x="479" y="1993"/>
                            </a:lnTo>
                            <a:lnTo>
                              <a:pt x="528" y="2059"/>
                            </a:lnTo>
                            <a:lnTo>
                              <a:pt x="675" y="2176"/>
                            </a:lnTo>
                            <a:lnTo>
                              <a:pt x="747" y="2176"/>
                            </a:lnTo>
                            <a:lnTo>
                              <a:pt x="749" y="2176"/>
                            </a:lnTo>
                            <a:lnTo>
                              <a:pt x="750" y="2177"/>
                            </a:lnTo>
                            <a:lnTo>
                              <a:pt x="806" y="2249"/>
                            </a:lnTo>
                            <a:lnTo>
                              <a:pt x="806" y="2250"/>
                            </a:lnTo>
                            <a:lnTo>
                              <a:pt x="806" y="2251"/>
                            </a:lnTo>
                            <a:lnTo>
                              <a:pt x="813" y="2305"/>
                            </a:lnTo>
                            <a:lnTo>
                              <a:pt x="890" y="2320"/>
                            </a:lnTo>
                            <a:lnTo>
                              <a:pt x="892" y="2321"/>
                            </a:lnTo>
                            <a:lnTo>
                              <a:pt x="893" y="2323"/>
                            </a:lnTo>
                            <a:lnTo>
                              <a:pt x="903" y="2364"/>
                            </a:lnTo>
                            <a:lnTo>
                              <a:pt x="970" y="2341"/>
                            </a:lnTo>
                            <a:lnTo>
                              <a:pt x="984" y="2295"/>
                            </a:lnTo>
                            <a:lnTo>
                              <a:pt x="913" y="2295"/>
                            </a:lnTo>
                            <a:lnTo>
                              <a:pt x="911" y="2295"/>
                            </a:lnTo>
                            <a:lnTo>
                              <a:pt x="910" y="2293"/>
                            </a:lnTo>
                            <a:lnTo>
                              <a:pt x="894" y="2259"/>
                            </a:lnTo>
                            <a:lnTo>
                              <a:pt x="893" y="2256"/>
                            </a:lnTo>
                            <a:lnTo>
                              <a:pt x="896" y="2254"/>
                            </a:lnTo>
                            <a:lnTo>
                              <a:pt x="929" y="2234"/>
                            </a:lnTo>
                            <a:lnTo>
                              <a:pt x="930" y="2234"/>
                            </a:lnTo>
                            <a:lnTo>
                              <a:pt x="931" y="2234"/>
                            </a:lnTo>
                            <a:lnTo>
                              <a:pt x="976" y="2227"/>
                            </a:lnTo>
                            <a:lnTo>
                              <a:pt x="1068" y="2164"/>
                            </a:lnTo>
                            <a:lnTo>
                              <a:pt x="1101" y="2113"/>
                            </a:lnTo>
                            <a:lnTo>
                              <a:pt x="1101" y="2113"/>
                            </a:lnTo>
                            <a:lnTo>
                              <a:pt x="1102" y="2113"/>
                            </a:lnTo>
                            <a:lnTo>
                              <a:pt x="1170" y="2051"/>
                            </a:lnTo>
                            <a:lnTo>
                              <a:pt x="1185" y="2005"/>
                            </a:lnTo>
                            <a:lnTo>
                              <a:pt x="1185" y="2005"/>
                            </a:lnTo>
                            <a:lnTo>
                              <a:pt x="1185" y="2005"/>
                            </a:lnTo>
                            <a:lnTo>
                              <a:pt x="1225" y="1936"/>
                            </a:lnTo>
                            <a:lnTo>
                              <a:pt x="1226" y="1936"/>
                            </a:lnTo>
                            <a:lnTo>
                              <a:pt x="1274" y="1861"/>
                            </a:lnTo>
                            <a:lnTo>
                              <a:pt x="1316" y="1745"/>
                            </a:lnTo>
                            <a:lnTo>
                              <a:pt x="1316" y="1745"/>
                            </a:lnTo>
                            <a:lnTo>
                              <a:pt x="1348" y="1653"/>
                            </a:lnTo>
                            <a:lnTo>
                              <a:pt x="1315" y="1576"/>
                            </a:lnTo>
                            <a:lnTo>
                              <a:pt x="1314" y="1575"/>
                            </a:lnTo>
                            <a:lnTo>
                              <a:pt x="1314" y="1574"/>
                            </a:lnTo>
                            <a:lnTo>
                              <a:pt x="1323" y="1491"/>
                            </a:lnTo>
                            <a:lnTo>
                              <a:pt x="1323" y="1490"/>
                            </a:lnTo>
                            <a:lnTo>
                              <a:pt x="1324" y="1489"/>
                            </a:lnTo>
                            <a:lnTo>
                              <a:pt x="1367" y="1438"/>
                            </a:lnTo>
                            <a:lnTo>
                              <a:pt x="1316" y="1395"/>
                            </a:lnTo>
                            <a:lnTo>
                              <a:pt x="1315" y="1394"/>
                            </a:lnTo>
                            <a:lnTo>
                              <a:pt x="1314" y="1393"/>
                            </a:lnTo>
                            <a:lnTo>
                              <a:pt x="1306" y="1344"/>
                            </a:lnTo>
                            <a:lnTo>
                              <a:pt x="1305" y="1340"/>
                            </a:lnTo>
                            <a:lnTo>
                              <a:pt x="1309" y="1339"/>
                            </a:lnTo>
                            <a:lnTo>
                              <a:pt x="1398" y="1328"/>
                            </a:lnTo>
                            <a:lnTo>
                              <a:pt x="1409" y="1277"/>
                            </a:lnTo>
                            <a:lnTo>
                              <a:pt x="1410" y="1272"/>
                            </a:lnTo>
                            <a:lnTo>
                              <a:pt x="1414" y="1274"/>
                            </a:lnTo>
                            <a:lnTo>
                              <a:pt x="1461" y="1291"/>
                            </a:lnTo>
                            <a:lnTo>
                              <a:pt x="1544" y="1263"/>
                            </a:lnTo>
                            <a:lnTo>
                              <a:pt x="1566" y="1211"/>
                            </a:lnTo>
                            <a:lnTo>
                              <a:pt x="1567" y="1206"/>
                            </a:lnTo>
                            <a:lnTo>
                              <a:pt x="1571" y="1209"/>
                            </a:lnTo>
                            <a:lnTo>
                              <a:pt x="1613" y="1231"/>
                            </a:lnTo>
                            <a:lnTo>
                              <a:pt x="1655" y="1231"/>
                            </a:lnTo>
                            <a:lnTo>
                              <a:pt x="1657" y="1231"/>
                            </a:lnTo>
                            <a:lnTo>
                              <a:pt x="1658" y="1233"/>
                            </a:lnTo>
                            <a:lnTo>
                              <a:pt x="1688" y="1273"/>
                            </a:lnTo>
                            <a:lnTo>
                              <a:pt x="1863" y="1226"/>
                            </a:lnTo>
                            <a:lnTo>
                              <a:pt x="1882" y="1151"/>
                            </a:lnTo>
                            <a:lnTo>
                              <a:pt x="1883" y="1148"/>
                            </a:lnTo>
                            <a:lnTo>
                              <a:pt x="1887" y="1148"/>
                            </a:lnTo>
                            <a:lnTo>
                              <a:pt x="1921" y="1154"/>
                            </a:lnTo>
                            <a:lnTo>
                              <a:pt x="1966" y="1104"/>
                            </a:lnTo>
                            <a:lnTo>
                              <a:pt x="1972" y="1097"/>
                            </a:lnTo>
                            <a:lnTo>
                              <a:pt x="1973" y="1106"/>
                            </a:lnTo>
                            <a:lnTo>
                              <a:pt x="1978" y="1160"/>
                            </a:lnTo>
                            <a:lnTo>
                              <a:pt x="2085" y="1177"/>
                            </a:lnTo>
                            <a:lnTo>
                              <a:pt x="2147" y="1133"/>
                            </a:lnTo>
                            <a:lnTo>
                              <a:pt x="2150" y="1052"/>
                            </a:lnTo>
                            <a:lnTo>
                              <a:pt x="2083" y="1004"/>
                            </a:lnTo>
                            <a:lnTo>
                              <a:pt x="2082" y="1003"/>
                            </a:lnTo>
                            <a:lnTo>
                              <a:pt x="2082" y="1001"/>
                            </a:lnTo>
                            <a:lnTo>
                              <a:pt x="2076" y="899"/>
                            </a:lnTo>
                            <a:lnTo>
                              <a:pt x="2076" y="897"/>
                            </a:lnTo>
                            <a:lnTo>
                              <a:pt x="2077" y="895"/>
                            </a:lnTo>
                            <a:lnTo>
                              <a:pt x="2114" y="867"/>
                            </a:lnTo>
                            <a:lnTo>
                              <a:pt x="2115" y="866"/>
                            </a:lnTo>
                            <a:lnTo>
                              <a:pt x="2117" y="866"/>
                            </a:lnTo>
                            <a:lnTo>
                              <a:pt x="2208" y="863"/>
                            </a:lnTo>
                            <a:lnTo>
                              <a:pt x="2122" y="669"/>
                            </a:lnTo>
                            <a:lnTo>
                              <a:pt x="2076" y="638"/>
                            </a:lnTo>
                            <a:lnTo>
                              <a:pt x="1996" y="674"/>
                            </a:lnTo>
                            <a:lnTo>
                              <a:pt x="1992" y="676"/>
                            </a:lnTo>
                            <a:lnTo>
                              <a:pt x="1991" y="672"/>
                            </a:lnTo>
                            <a:lnTo>
                              <a:pt x="1961" y="584"/>
                            </a:lnTo>
                            <a:lnTo>
                              <a:pt x="1833" y="532"/>
                            </a:lnTo>
                            <a:lnTo>
                              <a:pt x="1768" y="543"/>
                            </a:lnTo>
                            <a:lnTo>
                              <a:pt x="1668" y="758"/>
                            </a:lnTo>
                            <a:lnTo>
                              <a:pt x="1668" y="759"/>
                            </a:lnTo>
                            <a:lnTo>
                              <a:pt x="1668" y="759"/>
                            </a:lnTo>
                            <a:lnTo>
                              <a:pt x="1600" y="838"/>
                            </a:lnTo>
                            <a:lnTo>
                              <a:pt x="1597" y="841"/>
                            </a:lnTo>
                            <a:lnTo>
                              <a:pt x="1594" y="838"/>
                            </a:lnTo>
                            <a:lnTo>
                              <a:pt x="1545" y="790"/>
                            </a:lnTo>
                            <a:lnTo>
                              <a:pt x="1514" y="845"/>
                            </a:lnTo>
                            <a:lnTo>
                              <a:pt x="1513" y="847"/>
                            </a:lnTo>
                            <a:lnTo>
                              <a:pt x="1511" y="847"/>
                            </a:lnTo>
                            <a:lnTo>
                              <a:pt x="1418" y="851"/>
                            </a:lnTo>
                            <a:lnTo>
                              <a:pt x="1356" y="899"/>
                            </a:lnTo>
                            <a:lnTo>
                              <a:pt x="1353" y="901"/>
                            </a:lnTo>
                            <a:lnTo>
                              <a:pt x="1350" y="898"/>
                            </a:lnTo>
                            <a:lnTo>
                              <a:pt x="1290" y="835"/>
                            </a:lnTo>
                            <a:lnTo>
                              <a:pt x="1289" y="833"/>
                            </a:lnTo>
                            <a:lnTo>
                              <a:pt x="1289" y="831"/>
                            </a:lnTo>
                            <a:lnTo>
                              <a:pt x="1301" y="667"/>
                            </a:lnTo>
                            <a:lnTo>
                              <a:pt x="1301" y="666"/>
                            </a:lnTo>
                            <a:lnTo>
                              <a:pt x="1301" y="665"/>
                            </a:lnTo>
                            <a:lnTo>
                              <a:pt x="1355" y="538"/>
                            </a:lnTo>
                            <a:lnTo>
                              <a:pt x="1285" y="517"/>
                            </a:lnTo>
                            <a:lnTo>
                              <a:pt x="1283" y="516"/>
                            </a:lnTo>
                            <a:lnTo>
                              <a:pt x="1282" y="515"/>
                            </a:lnTo>
                            <a:lnTo>
                              <a:pt x="1248" y="440"/>
                            </a:lnTo>
                            <a:lnTo>
                              <a:pt x="1248" y="439"/>
                            </a:lnTo>
                            <a:lnTo>
                              <a:pt x="1248" y="437"/>
                            </a:lnTo>
                            <a:lnTo>
                              <a:pt x="1274" y="331"/>
                            </a:lnTo>
                            <a:lnTo>
                              <a:pt x="1216" y="299"/>
                            </a:lnTo>
                            <a:lnTo>
                              <a:pt x="1214" y="298"/>
                            </a:lnTo>
                            <a:lnTo>
                              <a:pt x="1214" y="296"/>
                            </a:lnTo>
                            <a:lnTo>
                              <a:pt x="1218" y="192"/>
                            </a:lnTo>
                            <a:lnTo>
                              <a:pt x="1176" y="110"/>
                            </a:lnTo>
                            <a:lnTo>
                              <a:pt x="1142" y="134"/>
                            </a:lnTo>
                            <a:lnTo>
                              <a:pt x="1141" y="135"/>
                            </a:lnTo>
                            <a:lnTo>
                              <a:pt x="1139" y="135"/>
                            </a:lnTo>
                            <a:lnTo>
                              <a:pt x="1091" y="131"/>
                            </a:lnTo>
                            <a:lnTo>
                              <a:pt x="1087" y="131"/>
                            </a:lnTo>
                            <a:lnTo>
                              <a:pt x="1087" y="127"/>
                            </a:lnTo>
                            <a:lnTo>
                              <a:pt x="1087" y="75"/>
                            </a:lnTo>
                            <a:lnTo>
                              <a:pt x="1087" y="72"/>
                            </a:lnTo>
                            <a:lnTo>
                              <a:pt x="1089" y="71"/>
                            </a:lnTo>
                            <a:lnTo>
                              <a:pt x="1127" y="47"/>
                            </a:lnTo>
                            <a:lnTo>
                              <a:pt x="1095" y="0"/>
                            </a:lnTo>
                            <a:lnTo>
                              <a:pt x="1095" y="0"/>
                            </a:lnTo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212" name="Google Shape;212;p2"/>
                      <p:cNvSpPr/>
                      <p:nvPr/>
                    </p:nvSpPr>
                    <p:spPr>
                      <a:xfrm>
                        <a:off x="3532596" y="2771287"/>
                        <a:ext cx="169294" cy="10362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65" h="101" extrusionOk="0">
                            <a:moveTo>
                              <a:pt x="0" y="41"/>
                            </a:moveTo>
                            <a:lnTo>
                              <a:pt x="3" y="56"/>
                            </a:lnTo>
                            <a:lnTo>
                              <a:pt x="24" y="58"/>
                            </a:lnTo>
                            <a:lnTo>
                              <a:pt x="25" y="58"/>
                            </a:lnTo>
                            <a:lnTo>
                              <a:pt x="25" y="58"/>
                            </a:lnTo>
                            <a:lnTo>
                              <a:pt x="26" y="59"/>
                            </a:lnTo>
                            <a:lnTo>
                              <a:pt x="26" y="59"/>
                            </a:lnTo>
                            <a:lnTo>
                              <a:pt x="26" y="59"/>
                            </a:lnTo>
                            <a:lnTo>
                              <a:pt x="48" y="75"/>
                            </a:lnTo>
                            <a:lnTo>
                              <a:pt x="66" y="86"/>
                            </a:lnTo>
                            <a:lnTo>
                              <a:pt x="97" y="84"/>
                            </a:lnTo>
                            <a:lnTo>
                              <a:pt x="98" y="84"/>
                            </a:lnTo>
                            <a:lnTo>
                              <a:pt x="98" y="83"/>
                            </a:lnTo>
                            <a:lnTo>
                              <a:pt x="99" y="84"/>
                            </a:lnTo>
                            <a:lnTo>
                              <a:pt x="100" y="84"/>
                            </a:lnTo>
                            <a:lnTo>
                              <a:pt x="124" y="101"/>
                            </a:lnTo>
                            <a:lnTo>
                              <a:pt x="165" y="50"/>
                            </a:lnTo>
                            <a:lnTo>
                              <a:pt x="155" y="34"/>
                            </a:lnTo>
                            <a:lnTo>
                              <a:pt x="134" y="34"/>
                            </a:lnTo>
                            <a:lnTo>
                              <a:pt x="119" y="40"/>
                            </a:lnTo>
                            <a:lnTo>
                              <a:pt x="118" y="41"/>
                            </a:lnTo>
                            <a:lnTo>
                              <a:pt x="117" y="41"/>
                            </a:lnTo>
                            <a:lnTo>
                              <a:pt x="116" y="40"/>
                            </a:lnTo>
                            <a:lnTo>
                              <a:pt x="115" y="40"/>
                            </a:lnTo>
                            <a:lnTo>
                              <a:pt x="103" y="28"/>
                            </a:lnTo>
                            <a:lnTo>
                              <a:pt x="103" y="28"/>
                            </a:lnTo>
                            <a:lnTo>
                              <a:pt x="103" y="28"/>
                            </a:lnTo>
                            <a:lnTo>
                              <a:pt x="103" y="28"/>
                            </a:lnTo>
                            <a:lnTo>
                              <a:pt x="103" y="28"/>
                            </a:lnTo>
                            <a:lnTo>
                              <a:pt x="103" y="28"/>
                            </a:lnTo>
                            <a:lnTo>
                              <a:pt x="89" y="9"/>
                            </a:lnTo>
                            <a:lnTo>
                              <a:pt x="50" y="33"/>
                            </a:lnTo>
                            <a:lnTo>
                              <a:pt x="48" y="34"/>
                            </a:lnTo>
                            <a:lnTo>
                              <a:pt x="47" y="35"/>
                            </a:lnTo>
                            <a:lnTo>
                              <a:pt x="46" y="33"/>
                            </a:lnTo>
                            <a:lnTo>
                              <a:pt x="45" y="31"/>
                            </a:lnTo>
                            <a:lnTo>
                              <a:pt x="29" y="0"/>
                            </a:lnTo>
                            <a:lnTo>
                              <a:pt x="11" y="7"/>
                            </a:lnTo>
                            <a:lnTo>
                              <a:pt x="19" y="32"/>
                            </a:lnTo>
                            <a:lnTo>
                              <a:pt x="19" y="33"/>
                            </a:lnTo>
                            <a:lnTo>
                              <a:pt x="19" y="35"/>
                            </a:lnTo>
                            <a:lnTo>
                              <a:pt x="18" y="36"/>
                            </a:lnTo>
                            <a:lnTo>
                              <a:pt x="16" y="36"/>
                            </a:lnTo>
                            <a:lnTo>
                              <a:pt x="0" y="41"/>
                            </a:lnTo>
                            <a:lnTo>
                              <a:pt x="0" y="41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213" name="Google Shape;213;p2"/>
                      <p:cNvSpPr/>
                      <p:nvPr/>
                    </p:nvSpPr>
                    <p:spPr>
                      <a:xfrm>
                        <a:off x="3834246" y="2303421"/>
                        <a:ext cx="647421" cy="81774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391" h="1754" extrusionOk="0">
                            <a:moveTo>
                              <a:pt x="491" y="1402"/>
                            </a:moveTo>
                            <a:lnTo>
                              <a:pt x="511" y="1351"/>
                            </a:lnTo>
                            <a:lnTo>
                              <a:pt x="512" y="1348"/>
                            </a:lnTo>
                            <a:lnTo>
                              <a:pt x="513" y="1346"/>
                            </a:lnTo>
                            <a:lnTo>
                              <a:pt x="515" y="1346"/>
                            </a:lnTo>
                            <a:lnTo>
                              <a:pt x="518" y="1345"/>
                            </a:lnTo>
                            <a:lnTo>
                              <a:pt x="630" y="1332"/>
                            </a:lnTo>
                            <a:lnTo>
                              <a:pt x="663" y="1264"/>
                            </a:lnTo>
                            <a:lnTo>
                              <a:pt x="665" y="1259"/>
                            </a:lnTo>
                            <a:lnTo>
                              <a:pt x="667" y="1255"/>
                            </a:lnTo>
                            <a:lnTo>
                              <a:pt x="671" y="1258"/>
                            </a:lnTo>
                            <a:lnTo>
                              <a:pt x="675" y="1262"/>
                            </a:lnTo>
                            <a:lnTo>
                              <a:pt x="701" y="1286"/>
                            </a:lnTo>
                            <a:lnTo>
                              <a:pt x="728" y="1222"/>
                            </a:lnTo>
                            <a:lnTo>
                              <a:pt x="729" y="1220"/>
                            </a:lnTo>
                            <a:lnTo>
                              <a:pt x="730" y="1218"/>
                            </a:lnTo>
                            <a:lnTo>
                              <a:pt x="732" y="1218"/>
                            </a:lnTo>
                            <a:lnTo>
                              <a:pt x="734" y="1217"/>
                            </a:lnTo>
                            <a:lnTo>
                              <a:pt x="734" y="1217"/>
                            </a:lnTo>
                            <a:lnTo>
                              <a:pt x="791" y="1206"/>
                            </a:lnTo>
                            <a:lnTo>
                              <a:pt x="791" y="1206"/>
                            </a:lnTo>
                            <a:lnTo>
                              <a:pt x="793" y="1205"/>
                            </a:lnTo>
                            <a:lnTo>
                              <a:pt x="794" y="1205"/>
                            </a:lnTo>
                            <a:lnTo>
                              <a:pt x="795" y="1206"/>
                            </a:lnTo>
                            <a:lnTo>
                              <a:pt x="797" y="1207"/>
                            </a:lnTo>
                            <a:lnTo>
                              <a:pt x="797" y="1207"/>
                            </a:lnTo>
                            <a:lnTo>
                              <a:pt x="865" y="1250"/>
                            </a:lnTo>
                            <a:lnTo>
                              <a:pt x="868" y="1251"/>
                            </a:lnTo>
                            <a:lnTo>
                              <a:pt x="870" y="1253"/>
                            </a:lnTo>
                            <a:lnTo>
                              <a:pt x="869" y="1255"/>
                            </a:lnTo>
                            <a:lnTo>
                              <a:pt x="869" y="1258"/>
                            </a:lnTo>
                            <a:lnTo>
                              <a:pt x="869" y="1258"/>
                            </a:lnTo>
                            <a:lnTo>
                              <a:pt x="860" y="1304"/>
                            </a:lnTo>
                            <a:lnTo>
                              <a:pt x="860" y="1306"/>
                            </a:lnTo>
                            <a:lnTo>
                              <a:pt x="859" y="1309"/>
                            </a:lnTo>
                            <a:lnTo>
                              <a:pt x="857" y="1309"/>
                            </a:lnTo>
                            <a:lnTo>
                              <a:pt x="854" y="1310"/>
                            </a:lnTo>
                            <a:lnTo>
                              <a:pt x="821" y="1318"/>
                            </a:lnTo>
                            <a:lnTo>
                              <a:pt x="878" y="1370"/>
                            </a:lnTo>
                            <a:lnTo>
                              <a:pt x="878" y="1370"/>
                            </a:lnTo>
                            <a:lnTo>
                              <a:pt x="882" y="1374"/>
                            </a:lnTo>
                            <a:lnTo>
                              <a:pt x="887" y="1378"/>
                            </a:lnTo>
                            <a:lnTo>
                              <a:pt x="881" y="1381"/>
                            </a:lnTo>
                            <a:lnTo>
                              <a:pt x="876" y="1384"/>
                            </a:lnTo>
                            <a:lnTo>
                              <a:pt x="639" y="1498"/>
                            </a:lnTo>
                            <a:lnTo>
                              <a:pt x="639" y="1498"/>
                            </a:lnTo>
                            <a:lnTo>
                              <a:pt x="637" y="1499"/>
                            </a:lnTo>
                            <a:lnTo>
                              <a:pt x="635" y="1500"/>
                            </a:lnTo>
                            <a:lnTo>
                              <a:pt x="633" y="1498"/>
                            </a:lnTo>
                            <a:lnTo>
                              <a:pt x="631" y="1497"/>
                            </a:lnTo>
                            <a:lnTo>
                              <a:pt x="495" y="1412"/>
                            </a:lnTo>
                            <a:lnTo>
                              <a:pt x="492" y="1410"/>
                            </a:lnTo>
                            <a:lnTo>
                              <a:pt x="489" y="1408"/>
                            </a:lnTo>
                            <a:lnTo>
                              <a:pt x="490" y="1405"/>
                            </a:lnTo>
                            <a:lnTo>
                              <a:pt x="491" y="1402"/>
                            </a:lnTo>
                            <a:close/>
                            <a:moveTo>
                              <a:pt x="0" y="1656"/>
                            </a:moveTo>
                            <a:lnTo>
                              <a:pt x="36" y="1658"/>
                            </a:lnTo>
                            <a:lnTo>
                              <a:pt x="73" y="1728"/>
                            </a:lnTo>
                            <a:lnTo>
                              <a:pt x="358" y="1754"/>
                            </a:lnTo>
                            <a:lnTo>
                              <a:pt x="549" y="1638"/>
                            </a:lnTo>
                            <a:lnTo>
                              <a:pt x="610" y="1636"/>
                            </a:lnTo>
                            <a:lnTo>
                              <a:pt x="630" y="1573"/>
                            </a:lnTo>
                            <a:lnTo>
                              <a:pt x="723" y="1486"/>
                            </a:lnTo>
                            <a:lnTo>
                              <a:pt x="854" y="1480"/>
                            </a:lnTo>
                            <a:lnTo>
                              <a:pt x="893" y="1517"/>
                            </a:lnTo>
                            <a:lnTo>
                              <a:pt x="948" y="1466"/>
                            </a:lnTo>
                            <a:lnTo>
                              <a:pt x="1178" y="1504"/>
                            </a:lnTo>
                            <a:lnTo>
                              <a:pt x="1211" y="1414"/>
                            </a:lnTo>
                            <a:lnTo>
                              <a:pt x="1289" y="1360"/>
                            </a:lnTo>
                            <a:lnTo>
                              <a:pt x="1256" y="1279"/>
                            </a:lnTo>
                            <a:lnTo>
                              <a:pt x="1291" y="1062"/>
                            </a:lnTo>
                            <a:lnTo>
                              <a:pt x="1350" y="1003"/>
                            </a:lnTo>
                            <a:lnTo>
                              <a:pt x="1311" y="899"/>
                            </a:lnTo>
                            <a:lnTo>
                              <a:pt x="1228" y="890"/>
                            </a:lnTo>
                            <a:lnTo>
                              <a:pt x="1287" y="781"/>
                            </a:lnTo>
                            <a:lnTo>
                              <a:pt x="1391" y="709"/>
                            </a:lnTo>
                            <a:lnTo>
                              <a:pt x="1297" y="569"/>
                            </a:lnTo>
                            <a:lnTo>
                              <a:pt x="1295" y="566"/>
                            </a:lnTo>
                            <a:lnTo>
                              <a:pt x="1297" y="564"/>
                            </a:lnTo>
                            <a:lnTo>
                              <a:pt x="1328" y="519"/>
                            </a:lnTo>
                            <a:lnTo>
                              <a:pt x="1272" y="487"/>
                            </a:lnTo>
                            <a:lnTo>
                              <a:pt x="1271" y="486"/>
                            </a:lnTo>
                            <a:lnTo>
                              <a:pt x="1270" y="484"/>
                            </a:lnTo>
                            <a:lnTo>
                              <a:pt x="1262" y="375"/>
                            </a:lnTo>
                            <a:lnTo>
                              <a:pt x="1207" y="388"/>
                            </a:lnTo>
                            <a:lnTo>
                              <a:pt x="1204" y="389"/>
                            </a:lnTo>
                            <a:lnTo>
                              <a:pt x="1203" y="386"/>
                            </a:lnTo>
                            <a:lnTo>
                              <a:pt x="1167" y="324"/>
                            </a:lnTo>
                            <a:lnTo>
                              <a:pt x="1094" y="365"/>
                            </a:lnTo>
                            <a:lnTo>
                              <a:pt x="1091" y="366"/>
                            </a:lnTo>
                            <a:lnTo>
                              <a:pt x="1089" y="364"/>
                            </a:lnTo>
                            <a:lnTo>
                              <a:pt x="1044" y="318"/>
                            </a:lnTo>
                            <a:lnTo>
                              <a:pt x="1041" y="316"/>
                            </a:lnTo>
                            <a:lnTo>
                              <a:pt x="1043" y="313"/>
                            </a:lnTo>
                            <a:lnTo>
                              <a:pt x="1069" y="277"/>
                            </a:lnTo>
                            <a:lnTo>
                              <a:pt x="979" y="216"/>
                            </a:lnTo>
                            <a:lnTo>
                              <a:pt x="978" y="216"/>
                            </a:lnTo>
                            <a:lnTo>
                              <a:pt x="977" y="215"/>
                            </a:lnTo>
                            <a:lnTo>
                              <a:pt x="861" y="0"/>
                            </a:lnTo>
                            <a:lnTo>
                              <a:pt x="768" y="3"/>
                            </a:lnTo>
                            <a:lnTo>
                              <a:pt x="734" y="29"/>
                            </a:lnTo>
                            <a:lnTo>
                              <a:pt x="739" y="128"/>
                            </a:lnTo>
                            <a:lnTo>
                              <a:pt x="806" y="175"/>
                            </a:lnTo>
                            <a:lnTo>
                              <a:pt x="808" y="177"/>
                            </a:lnTo>
                            <a:lnTo>
                              <a:pt x="808" y="179"/>
                            </a:lnTo>
                            <a:lnTo>
                              <a:pt x="805" y="264"/>
                            </a:lnTo>
                            <a:lnTo>
                              <a:pt x="805" y="266"/>
                            </a:lnTo>
                            <a:lnTo>
                              <a:pt x="803" y="267"/>
                            </a:lnTo>
                            <a:lnTo>
                              <a:pt x="738" y="313"/>
                            </a:lnTo>
                            <a:lnTo>
                              <a:pt x="736" y="314"/>
                            </a:lnTo>
                            <a:lnTo>
                              <a:pt x="735" y="314"/>
                            </a:lnTo>
                            <a:lnTo>
                              <a:pt x="626" y="297"/>
                            </a:lnTo>
                            <a:lnTo>
                              <a:pt x="595" y="341"/>
                            </a:lnTo>
                            <a:lnTo>
                              <a:pt x="627" y="370"/>
                            </a:lnTo>
                            <a:lnTo>
                              <a:pt x="628" y="370"/>
                            </a:lnTo>
                            <a:lnTo>
                              <a:pt x="628" y="371"/>
                            </a:lnTo>
                            <a:lnTo>
                              <a:pt x="682" y="531"/>
                            </a:lnTo>
                            <a:lnTo>
                              <a:pt x="745" y="542"/>
                            </a:lnTo>
                            <a:lnTo>
                              <a:pt x="746" y="543"/>
                            </a:lnTo>
                            <a:lnTo>
                              <a:pt x="747" y="543"/>
                            </a:lnTo>
                            <a:lnTo>
                              <a:pt x="807" y="598"/>
                            </a:lnTo>
                            <a:lnTo>
                              <a:pt x="808" y="599"/>
                            </a:lnTo>
                            <a:lnTo>
                              <a:pt x="808" y="600"/>
                            </a:lnTo>
                            <a:lnTo>
                              <a:pt x="814" y="680"/>
                            </a:lnTo>
                            <a:lnTo>
                              <a:pt x="814" y="683"/>
                            </a:lnTo>
                            <a:lnTo>
                              <a:pt x="811" y="684"/>
                            </a:lnTo>
                            <a:lnTo>
                              <a:pt x="716" y="718"/>
                            </a:lnTo>
                            <a:lnTo>
                              <a:pt x="679" y="802"/>
                            </a:lnTo>
                            <a:lnTo>
                              <a:pt x="679" y="803"/>
                            </a:lnTo>
                            <a:lnTo>
                              <a:pt x="678" y="803"/>
                            </a:lnTo>
                            <a:lnTo>
                              <a:pt x="571" y="885"/>
                            </a:lnTo>
                            <a:lnTo>
                              <a:pt x="571" y="941"/>
                            </a:lnTo>
                            <a:lnTo>
                              <a:pt x="621" y="974"/>
                            </a:lnTo>
                            <a:lnTo>
                              <a:pt x="623" y="975"/>
                            </a:lnTo>
                            <a:lnTo>
                              <a:pt x="623" y="977"/>
                            </a:lnTo>
                            <a:lnTo>
                              <a:pt x="617" y="1043"/>
                            </a:lnTo>
                            <a:lnTo>
                              <a:pt x="617" y="1044"/>
                            </a:lnTo>
                            <a:lnTo>
                              <a:pt x="616" y="1045"/>
                            </a:lnTo>
                            <a:lnTo>
                              <a:pt x="568" y="1105"/>
                            </a:lnTo>
                            <a:lnTo>
                              <a:pt x="567" y="1106"/>
                            </a:lnTo>
                            <a:lnTo>
                              <a:pt x="566" y="1106"/>
                            </a:lnTo>
                            <a:lnTo>
                              <a:pt x="504" y="1131"/>
                            </a:lnTo>
                            <a:lnTo>
                              <a:pt x="482" y="1167"/>
                            </a:lnTo>
                            <a:lnTo>
                              <a:pt x="481" y="1169"/>
                            </a:lnTo>
                            <a:lnTo>
                              <a:pt x="479" y="1169"/>
                            </a:lnTo>
                            <a:lnTo>
                              <a:pt x="407" y="1175"/>
                            </a:lnTo>
                            <a:lnTo>
                              <a:pt x="294" y="1325"/>
                            </a:lnTo>
                            <a:lnTo>
                              <a:pt x="292" y="1326"/>
                            </a:lnTo>
                            <a:lnTo>
                              <a:pt x="290" y="1326"/>
                            </a:lnTo>
                            <a:lnTo>
                              <a:pt x="229" y="1318"/>
                            </a:lnTo>
                            <a:lnTo>
                              <a:pt x="162" y="1374"/>
                            </a:lnTo>
                            <a:lnTo>
                              <a:pt x="161" y="1375"/>
                            </a:lnTo>
                            <a:lnTo>
                              <a:pt x="159" y="1375"/>
                            </a:lnTo>
                            <a:lnTo>
                              <a:pt x="54" y="1375"/>
                            </a:lnTo>
                            <a:lnTo>
                              <a:pt x="75" y="1438"/>
                            </a:lnTo>
                            <a:lnTo>
                              <a:pt x="76" y="1440"/>
                            </a:lnTo>
                            <a:lnTo>
                              <a:pt x="74" y="1442"/>
                            </a:lnTo>
                            <a:lnTo>
                              <a:pt x="17" y="1488"/>
                            </a:lnTo>
                            <a:lnTo>
                              <a:pt x="77" y="1553"/>
                            </a:lnTo>
                            <a:lnTo>
                              <a:pt x="80" y="1557"/>
                            </a:lnTo>
                            <a:lnTo>
                              <a:pt x="76" y="1560"/>
                            </a:lnTo>
                            <a:lnTo>
                              <a:pt x="18" y="1590"/>
                            </a:lnTo>
                            <a:lnTo>
                              <a:pt x="0" y="1656"/>
                            </a:lnTo>
                            <a:lnTo>
                              <a:pt x="0" y="1656"/>
                            </a:lnTo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214" name="Google Shape;214;p2"/>
                      <p:cNvSpPr/>
                      <p:nvPr/>
                    </p:nvSpPr>
                    <p:spPr>
                      <a:xfrm>
                        <a:off x="4066128" y="2868760"/>
                        <a:ext cx="174424" cy="129279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70" h="126" extrusionOk="0">
                            <a:moveTo>
                              <a:pt x="9" y="64"/>
                            </a:moveTo>
                            <a:lnTo>
                              <a:pt x="0" y="87"/>
                            </a:lnTo>
                            <a:lnTo>
                              <a:pt x="62" y="126"/>
                            </a:lnTo>
                            <a:lnTo>
                              <a:pt x="170" y="74"/>
                            </a:lnTo>
                            <a:lnTo>
                              <a:pt x="170" y="74"/>
                            </a:lnTo>
                            <a:lnTo>
                              <a:pt x="170" y="74"/>
                            </a:lnTo>
                            <a:lnTo>
                              <a:pt x="141" y="48"/>
                            </a:lnTo>
                            <a:lnTo>
                              <a:pt x="139" y="46"/>
                            </a:lnTo>
                            <a:lnTo>
                              <a:pt x="142" y="45"/>
                            </a:lnTo>
                            <a:lnTo>
                              <a:pt x="160" y="40"/>
                            </a:lnTo>
                            <a:lnTo>
                              <a:pt x="165" y="20"/>
                            </a:lnTo>
                            <a:lnTo>
                              <a:pt x="134" y="0"/>
                            </a:lnTo>
                            <a:lnTo>
                              <a:pt x="108" y="5"/>
                            </a:lnTo>
                            <a:lnTo>
                              <a:pt x="94" y="37"/>
                            </a:lnTo>
                            <a:lnTo>
                              <a:pt x="93" y="39"/>
                            </a:lnTo>
                            <a:lnTo>
                              <a:pt x="91" y="37"/>
                            </a:lnTo>
                            <a:lnTo>
                              <a:pt x="78" y="25"/>
                            </a:lnTo>
                            <a:lnTo>
                              <a:pt x="63" y="56"/>
                            </a:lnTo>
                            <a:lnTo>
                              <a:pt x="62" y="57"/>
                            </a:lnTo>
                            <a:lnTo>
                              <a:pt x="61" y="57"/>
                            </a:lnTo>
                            <a:lnTo>
                              <a:pt x="9" y="64"/>
                            </a:lnTo>
                            <a:lnTo>
                              <a:pt x="9" y="64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215" name="Google Shape;215;p2"/>
                      <p:cNvSpPr/>
                      <p:nvPr/>
                    </p:nvSpPr>
                    <p:spPr>
                      <a:xfrm>
                        <a:off x="2772313" y="741814"/>
                        <a:ext cx="968565" cy="219568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944" h="2140" extrusionOk="0">
                            <a:moveTo>
                              <a:pt x="886" y="1125"/>
                            </a:moveTo>
                            <a:lnTo>
                              <a:pt x="884" y="1126"/>
                            </a:lnTo>
                            <a:lnTo>
                              <a:pt x="884" y="1125"/>
                            </a:lnTo>
                            <a:lnTo>
                              <a:pt x="863" y="1109"/>
                            </a:lnTo>
                            <a:lnTo>
                              <a:pt x="814" y="1109"/>
                            </a:lnTo>
                            <a:lnTo>
                              <a:pt x="814" y="1107"/>
                            </a:lnTo>
                            <a:lnTo>
                              <a:pt x="817" y="1080"/>
                            </a:lnTo>
                            <a:lnTo>
                              <a:pt x="817" y="1079"/>
                            </a:lnTo>
                            <a:lnTo>
                              <a:pt x="817" y="1079"/>
                            </a:lnTo>
                            <a:lnTo>
                              <a:pt x="845" y="1045"/>
                            </a:lnTo>
                            <a:lnTo>
                              <a:pt x="854" y="1022"/>
                            </a:lnTo>
                            <a:lnTo>
                              <a:pt x="835" y="1010"/>
                            </a:lnTo>
                            <a:lnTo>
                              <a:pt x="835" y="1009"/>
                            </a:lnTo>
                            <a:lnTo>
                              <a:pt x="835" y="983"/>
                            </a:lnTo>
                            <a:lnTo>
                              <a:pt x="819" y="966"/>
                            </a:lnTo>
                            <a:lnTo>
                              <a:pt x="818" y="965"/>
                            </a:lnTo>
                            <a:lnTo>
                              <a:pt x="818" y="964"/>
                            </a:lnTo>
                            <a:lnTo>
                              <a:pt x="825" y="929"/>
                            </a:lnTo>
                            <a:lnTo>
                              <a:pt x="807" y="915"/>
                            </a:lnTo>
                            <a:lnTo>
                              <a:pt x="805" y="914"/>
                            </a:lnTo>
                            <a:lnTo>
                              <a:pt x="807" y="912"/>
                            </a:lnTo>
                            <a:lnTo>
                              <a:pt x="834" y="882"/>
                            </a:lnTo>
                            <a:lnTo>
                              <a:pt x="824" y="750"/>
                            </a:lnTo>
                            <a:lnTo>
                              <a:pt x="791" y="700"/>
                            </a:lnTo>
                            <a:lnTo>
                              <a:pt x="808" y="691"/>
                            </a:lnTo>
                            <a:lnTo>
                              <a:pt x="847" y="659"/>
                            </a:lnTo>
                            <a:lnTo>
                              <a:pt x="848" y="659"/>
                            </a:lnTo>
                            <a:lnTo>
                              <a:pt x="849" y="659"/>
                            </a:lnTo>
                            <a:lnTo>
                              <a:pt x="872" y="661"/>
                            </a:lnTo>
                            <a:lnTo>
                              <a:pt x="880" y="621"/>
                            </a:lnTo>
                            <a:lnTo>
                              <a:pt x="881" y="620"/>
                            </a:lnTo>
                            <a:lnTo>
                              <a:pt x="881" y="620"/>
                            </a:lnTo>
                            <a:lnTo>
                              <a:pt x="892" y="603"/>
                            </a:lnTo>
                            <a:lnTo>
                              <a:pt x="895" y="580"/>
                            </a:lnTo>
                            <a:lnTo>
                              <a:pt x="895" y="579"/>
                            </a:lnTo>
                            <a:lnTo>
                              <a:pt x="896" y="578"/>
                            </a:lnTo>
                            <a:lnTo>
                              <a:pt x="944" y="540"/>
                            </a:lnTo>
                            <a:lnTo>
                              <a:pt x="923" y="515"/>
                            </a:lnTo>
                            <a:lnTo>
                              <a:pt x="923" y="515"/>
                            </a:lnTo>
                            <a:lnTo>
                              <a:pt x="923" y="475"/>
                            </a:lnTo>
                            <a:lnTo>
                              <a:pt x="881" y="415"/>
                            </a:lnTo>
                            <a:lnTo>
                              <a:pt x="881" y="415"/>
                            </a:lnTo>
                            <a:lnTo>
                              <a:pt x="880" y="414"/>
                            </a:lnTo>
                            <a:lnTo>
                              <a:pt x="875" y="384"/>
                            </a:lnTo>
                            <a:lnTo>
                              <a:pt x="862" y="367"/>
                            </a:lnTo>
                            <a:lnTo>
                              <a:pt x="861" y="366"/>
                            </a:lnTo>
                            <a:lnTo>
                              <a:pt x="861" y="365"/>
                            </a:lnTo>
                            <a:lnTo>
                              <a:pt x="863" y="348"/>
                            </a:lnTo>
                            <a:lnTo>
                              <a:pt x="837" y="361"/>
                            </a:lnTo>
                            <a:lnTo>
                              <a:pt x="807" y="384"/>
                            </a:lnTo>
                            <a:lnTo>
                              <a:pt x="766" y="396"/>
                            </a:lnTo>
                            <a:lnTo>
                              <a:pt x="751" y="424"/>
                            </a:lnTo>
                            <a:lnTo>
                              <a:pt x="752" y="384"/>
                            </a:lnTo>
                            <a:lnTo>
                              <a:pt x="834" y="299"/>
                            </a:lnTo>
                            <a:lnTo>
                              <a:pt x="879" y="217"/>
                            </a:lnTo>
                            <a:lnTo>
                              <a:pt x="900" y="144"/>
                            </a:lnTo>
                            <a:lnTo>
                              <a:pt x="837" y="72"/>
                            </a:lnTo>
                            <a:lnTo>
                              <a:pt x="777" y="70"/>
                            </a:lnTo>
                            <a:lnTo>
                              <a:pt x="757" y="99"/>
                            </a:lnTo>
                            <a:lnTo>
                              <a:pt x="733" y="104"/>
                            </a:lnTo>
                            <a:lnTo>
                              <a:pt x="751" y="53"/>
                            </a:lnTo>
                            <a:lnTo>
                              <a:pt x="702" y="47"/>
                            </a:lnTo>
                            <a:lnTo>
                              <a:pt x="718" y="25"/>
                            </a:lnTo>
                            <a:lnTo>
                              <a:pt x="689" y="0"/>
                            </a:lnTo>
                            <a:lnTo>
                              <a:pt x="662" y="10"/>
                            </a:lnTo>
                            <a:lnTo>
                              <a:pt x="619" y="73"/>
                            </a:lnTo>
                            <a:lnTo>
                              <a:pt x="629" y="110"/>
                            </a:lnTo>
                            <a:lnTo>
                              <a:pt x="584" y="114"/>
                            </a:lnTo>
                            <a:lnTo>
                              <a:pt x="585" y="125"/>
                            </a:lnTo>
                            <a:lnTo>
                              <a:pt x="602" y="150"/>
                            </a:lnTo>
                            <a:lnTo>
                              <a:pt x="569" y="143"/>
                            </a:lnTo>
                            <a:lnTo>
                              <a:pt x="552" y="159"/>
                            </a:lnTo>
                            <a:lnTo>
                              <a:pt x="515" y="152"/>
                            </a:lnTo>
                            <a:lnTo>
                              <a:pt x="510" y="135"/>
                            </a:lnTo>
                            <a:lnTo>
                              <a:pt x="456" y="136"/>
                            </a:lnTo>
                            <a:lnTo>
                              <a:pt x="458" y="167"/>
                            </a:lnTo>
                            <a:lnTo>
                              <a:pt x="393" y="176"/>
                            </a:lnTo>
                            <a:lnTo>
                              <a:pt x="350" y="210"/>
                            </a:lnTo>
                            <a:lnTo>
                              <a:pt x="316" y="211"/>
                            </a:lnTo>
                            <a:lnTo>
                              <a:pt x="292" y="233"/>
                            </a:lnTo>
                            <a:lnTo>
                              <a:pt x="281" y="277"/>
                            </a:lnTo>
                            <a:lnTo>
                              <a:pt x="302" y="315"/>
                            </a:lnTo>
                            <a:lnTo>
                              <a:pt x="270" y="323"/>
                            </a:lnTo>
                            <a:lnTo>
                              <a:pt x="186" y="309"/>
                            </a:lnTo>
                            <a:lnTo>
                              <a:pt x="138" y="308"/>
                            </a:lnTo>
                            <a:lnTo>
                              <a:pt x="123" y="335"/>
                            </a:lnTo>
                            <a:lnTo>
                              <a:pt x="121" y="404"/>
                            </a:lnTo>
                            <a:lnTo>
                              <a:pt x="151" y="434"/>
                            </a:lnTo>
                            <a:lnTo>
                              <a:pt x="166" y="468"/>
                            </a:lnTo>
                            <a:lnTo>
                              <a:pt x="124" y="468"/>
                            </a:lnTo>
                            <a:lnTo>
                              <a:pt x="87" y="400"/>
                            </a:lnTo>
                            <a:lnTo>
                              <a:pt x="60" y="401"/>
                            </a:lnTo>
                            <a:lnTo>
                              <a:pt x="60" y="405"/>
                            </a:lnTo>
                            <a:lnTo>
                              <a:pt x="84" y="454"/>
                            </a:lnTo>
                            <a:lnTo>
                              <a:pt x="85" y="457"/>
                            </a:lnTo>
                            <a:lnTo>
                              <a:pt x="83" y="457"/>
                            </a:lnTo>
                            <a:lnTo>
                              <a:pt x="57" y="461"/>
                            </a:lnTo>
                            <a:lnTo>
                              <a:pt x="52" y="492"/>
                            </a:lnTo>
                            <a:lnTo>
                              <a:pt x="75" y="541"/>
                            </a:lnTo>
                            <a:lnTo>
                              <a:pt x="75" y="542"/>
                            </a:lnTo>
                            <a:lnTo>
                              <a:pt x="75" y="542"/>
                            </a:lnTo>
                            <a:lnTo>
                              <a:pt x="70" y="566"/>
                            </a:lnTo>
                            <a:lnTo>
                              <a:pt x="69" y="567"/>
                            </a:lnTo>
                            <a:lnTo>
                              <a:pt x="68" y="567"/>
                            </a:lnTo>
                            <a:lnTo>
                              <a:pt x="13" y="592"/>
                            </a:lnTo>
                            <a:lnTo>
                              <a:pt x="6" y="619"/>
                            </a:lnTo>
                            <a:lnTo>
                              <a:pt x="42" y="666"/>
                            </a:lnTo>
                            <a:lnTo>
                              <a:pt x="83" y="676"/>
                            </a:lnTo>
                            <a:lnTo>
                              <a:pt x="84" y="677"/>
                            </a:lnTo>
                            <a:lnTo>
                              <a:pt x="84" y="678"/>
                            </a:lnTo>
                            <a:lnTo>
                              <a:pt x="93" y="729"/>
                            </a:lnTo>
                            <a:lnTo>
                              <a:pt x="90" y="735"/>
                            </a:lnTo>
                            <a:lnTo>
                              <a:pt x="90" y="735"/>
                            </a:lnTo>
                            <a:lnTo>
                              <a:pt x="76" y="771"/>
                            </a:lnTo>
                            <a:lnTo>
                              <a:pt x="76" y="772"/>
                            </a:lnTo>
                            <a:lnTo>
                              <a:pt x="75" y="773"/>
                            </a:lnTo>
                            <a:lnTo>
                              <a:pt x="38" y="783"/>
                            </a:lnTo>
                            <a:lnTo>
                              <a:pt x="49" y="809"/>
                            </a:lnTo>
                            <a:lnTo>
                              <a:pt x="49" y="810"/>
                            </a:lnTo>
                            <a:lnTo>
                              <a:pt x="49" y="810"/>
                            </a:lnTo>
                            <a:lnTo>
                              <a:pt x="37" y="846"/>
                            </a:lnTo>
                            <a:lnTo>
                              <a:pt x="67" y="884"/>
                            </a:lnTo>
                            <a:lnTo>
                              <a:pt x="67" y="884"/>
                            </a:lnTo>
                            <a:lnTo>
                              <a:pt x="67" y="885"/>
                            </a:lnTo>
                            <a:lnTo>
                              <a:pt x="60" y="955"/>
                            </a:lnTo>
                            <a:lnTo>
                              <a:pt x="83" y="988"/>
                            </a:lnTo>
                            <a:lnTo>
                              <a:pt x="84" y="988"/>
                            </a:lnTo>
                            <a:lnTo>
                              <a:pt x="84" y="989"/>
                            </a:lnTo>
                            <a:lnTo>
                              <a:pt x="75" y="1039"/>
                            </a:lnTo>
                            <a:lnTo>
                              <a:pt x="110" y="1065"/>
                            </a:lnTo>
                            <a:lnTo>
                              <a:pt x="111" y="1066"/>
                            </a:lnTo>
                            <a:lnTo>
                              <a:pt x="111" y="1067"/>
                            </a:lnTo>
                            <a:lnTo>
                              <a:pt x="117" y="1103"/>
                            </a:lnTo>
                            <a:lnTo>
                              <a:pt x="117" y="1103"/>
                            </a:lnTo>
                            <a:lnTo>
                              <a:pt x="116" y="1104"/>
                            </a:lnTo>
                            <a:lnTo>
                              <a:pt x="85" y="1147"/>
                            </a:lnTo>
                            <a:lnTo>
                              <a:pt x="82" y="1186"/>
                            </a:lnTo>
                            <a:lnTo>
                              <a:pt x="82" y="1186"/>
                            </a:lnTo>
                            <a:lnTo>
                              <a:pt x="82" y="1187"/>
                            </a:lnTo>
                            <a:lnTo>
                              <a:pt x="34" y="1248"/>
                            </a:lnTo>
                            <a:lnTo>
                              <a:pt x="34" y="1296"/>
                            </a:lnTo>
                            <a:lnTo>
                              <a:pt x="73" y="1319"/>
                            </a:lnTo>
                            <a:lnTo>
                              <a:pt x="75" y="1319"/>
                            </a:lnTo>
                            <a:lnTo>
                              <a:pt x="74" y="1320"/>
                            </a:lnTo>
                            <a:lnTo>
                              <a:pt x="67" y="1339"/>
                            </a:lnTo>
                            <a:lnTo>
                              <a:pt x="66" y="1340"/>
                            </a:lnTo>
                            <a:lnTo>
                              <a:pt x="66" y="1340"/>
                            </a:lnTo>
                            <a:lnTo>
                              <a:pt x="31" y="1355"/>
                            </a:lnTo>
                            <a:lnTo>
                              <a:pt x="30" y="1355"/>
                            </a:lnTo>
                            <a:lnTo>
                              <a:pt x="30" y="1355"/>
                            </a:lnTo>
                            <a:lnTo>
                              <a:pt x="0" y="1359"/>
                            </a:lnTo>
                            <a:lnTo>
                              <a:pt x="13" y="1405"/>
                            </a:lnTo>
                            <a:lnTo>
                              <a:pt x="13" y="1406"/>
                            </a:lnTo>
                            <a:lnTo>
                              <a:pt x="12" y="1407"/>
                            </a:lnTo>
                            <a:lnTo>
                              <a:pt x="0" y="1423"/>
                            </a:lnTo>
                            <a:lnTo>
                              <a:pt x="0" y="1447"/>
                            </a:lnTo>
                            <a:lnTo>
                              <a:pt x="94" y="1462"/>
                            </a:lnTo>
                            <a:lnTo>
                              <a:pt x="95" y="1462"/>
                            </a:lnTo>
                            <a:lnTo>
                              <a:pt x="95" y="1463"/>
                            </a:lnTo>
                            <a:lnTo>
                              <a:pt x="123" y="1520"/>
                            </a:lnTo>
                            <a:lnTo>
                              <a:pt x="149" y="1523"/>
                            </a:lnTo>
                            <a:lnTo>
                              <a:pt x="150" y="1523"/>
                            </a:lnTo>
                            <a:lnTo>
                              <a:pt x="150" y="1525"/>
                            </a:lnTo>
                            <a:lnTo>
                              <a:pt x="149" y="1546"/>
                            </a:lnTo>
                            <a:lnTo>
                              <a:pt x="149" y="1547"/>
                            </a:lnTo>
                            <a:lnTo>
                              <a:pt x="148" y="1547"/>
                            </a:lnTo>
                            <a:lnTo>
                              <a:pt x="111" y="1580"/>
                            </a:lnTo>
                            <a:lnTo>
                              <a:pt x="114" y="1606"/>
                            </a:lnTo>
                            <a:lnTo>
                              <a:pt x="134" y="1627"/>
                            </a:lnTo>
                            <a:lnTo>
                              <a:pt x="166" y="1637"/>
                            </a:lnTo>
                            <a:lnTo>
                              <a:pt x="167" y="1638"/>
                            </a:lnTo>
                            <a:lnTo>
                              <a:pt x="167" y="1639"/>
                            </a:lnTo>
                            <a:lnTo>
                              <a:pt x="162" y="1658"/>
                            </a:lnTo>
                            <a:lnTo>
                              <a:pt x="162" y="1658"/>
                            </a:lnTo>
                            <a:lnTo>
                              <a:pt x="161" y="1659"/>
                            </a:lnTo>
                            <a:lnTo>
                              <a:pt x="127" y="1684"/>
                            </a:lnTo>
                            <a:lnTo>
                              <a:pt x="125" y="1719"/>
                            </a:lnTo>
                            <a:lnTo>
                              <a:pt x="125" y="1719"/>
                            </a:lnTo>
                            <a:lnTo>
                              <a:pt x="125" y="1719"/>
                            </a:lnTo>
                            <a:lnTo>
                              <a:pt x="121" y="1741"/>
                            </a:lnTo>
                            <a:lnTo>
                              <a:pt x="150" y="1798"/>
                            </a:lnTo>
                            <a:lnTo>
                              <a:pt x="151" y="1800"/>
                            </a:lnTo>
                            <a:lnTo>
                              <a:pt x="150" y="1801"/>
                            </a:lnTo>
                            <a:lnTo>
                              <a:pt x="135" y="1816"/>
                            </a:lnTo>
                            <a:lnTo>
                              <a:pt x="135" y="1816"/>
                            </a:lnTo>
                            <a:lnTo>
                              <a:pt x="134" y="1816"/>
                            </a:lnTo>
                            <a:lnTo>
                              <a:pt x="122" y="1822"/>
                            </a:lnTo>
                            <a:lnTo>
                              <a:pt x="137" y="1866"/>
                            </a:lnTo>
                            <a:lnTo>
                              <a:pt x="165" y="1866"/>
                            </a:lnTo>
                            <a:lnTo>
                              <a:pt x="193" y="1862"/>
                            </a:lnTo>
                            <a:lnTo>
                              <a:pt x="193" y="1862"/>
                            </a:lnTo>
                            <a:lnTo>
                              <a:pt x="194" y="1862"/>
                            </a:lnTo>
                            <a:lnTo>
                              <a:pt x="213" y="1874"/>
                            </a:lnTo>
                            <a:lnTo>
                              <a:pt x="214" y="1875"/>
                            </a:lnTo>
                            <a:lnTo>
                              <a:pt x="213" y="1876"/>
                            </a:lnTo>
                            <a:lnTo>
                              <a:pt x="203" y="1897"/>
                            </a:lnTo>
                            <a:lnTo>
                              <a:pt x="224" y="1929"/>
                            </a:lnTo>
                            <a:lnTo>
                              <a:pt x="225" y="1930"/>
                            </a:lnTo>
                            <a:lnTo>
                              <a:pt x="225" y="1930"/>
                            </a:lnTo>
                            <a:lnTo>
                              <a:pt x="230" y="1958"/>
                            </a:lnTo>
                            <a:lnTo>
                              <a:pt x="240" y="1988"/>
                            </a:lnTo>
                            <a:lnTo>
                              <a:pt x="240" y="1988"/>
                            </a:lnTo>
                            <a:lnTo>
                              <a:pt x="240" y="1988"/>
                            </a:lnTo>
                            <a:lnTo>
                              <a:pt x="242" y="2009"/>
                            </a:lnTo>
                            <a:lnTo>
                              <a:pt x="242" y="2011"/>
                            </a:lnTo>
                            <a:lnTo>
                              <a:pt x="240" y="2011"/>
                            </a:lnTo>
                            <a:lnTo>
                              <a:pt x="217" y="2024"/>
                            </a:lnTo>
                            <a:lnTo>
                              <a:pt x="217" y="2043"/>
                            </a:lnTo>
                            <a:lnTo>
                              <a:pt x="217" y="2044"/>
                            </a:lnTo>
                            <a:lnTo>
                              <a:pt x="208" y="2062"/>
                            </a:lnTo>
                            <a:lnTo>
                              <a:pt x="208" y="2063"/>
                            </a:lnTo>
                            <a:lnTo>
                              <a:pt x="207" y="2063"/>
                            </a:lnTo>
                            <a:lnTo>
                              <a:pt x="181" y="2073"/>
                            </a:lnTo>
                            <a:lnTo>
                              <a:pt x="168" y="2102"/>
                            </a:lnTo>
                            <a:lnTo>
                              <a:pt x="209" y="2131"/>
                            </a:lnTo>
                            <a:lnTo>
                              <a:pt x="277" y="2140"/>
                            </a:lnTo>
                            <a:lnTo>
                              <a:pt x="307" y="2115"/>
                            </a:lnTo>
                            <a:lnTo>
                              <a:pt x="307" y="2115"/>
                            </a:lnTo>
                            <a:lnTo>
                              <a:pt x="308" y="2115"/>
                            </a:lnTo>
                            <a:lnTo>
                              <a:pt x="323" y="2111"/>
                            </a:lnTo>
                            <a:lnTo>
                              <a:pt x="324" y="2095"/>
                            </a:lnTo>
                            <a:lnTo>
                              <a:pt x="324" y="2094"/>
                            </a:lnTo>
                            <a:lnTo>
                              <a:pt x="325" y="2094"/>
                            </a:lnTo>
                            <a:lnTo>
                              <a:pt x="350" y="2078"/>
                            </a:lnTo>
                            <a:lnTo>
                              <a:pt x="347" y="2061"/>
                            </a:lnTo>
                            <a:lnTo>
                              <a:pt x="347" y="2060"/>
                            </a:lnTo>
                            <a:lnTo>
                              <a:pt x="349" y="2059"/>
                            </a:lnTo>
                            <a:lnTo>
                              <a:pt x="367" y="2054"/>
                            </a:lnTo>
                            <a:lnTo>
                              <a:pt x="373" y="2030"/>
                            </a:lnTo>
                            <a:lnTo>
                              <a:pt x="373" y="2029"/>
                            </a:lnTo>
                            <a:lnTo>
                              <a:pt x="375" y="2029"/>
                            </a:lnTo>
                            <a:lnTo>
                              <a:pt x="465" y="2021"/>
                            </a:lnTo>
                            <a:lnTo>
                              <a:pt x="469" y="2000"/>
                            </a:lnTo>
                            <a:lnTo>
                              <a:pt x="419" y="1955"/>
                            </a:lnTo>
                            <a:lnTo>
                              <a:pt x="418" y="1955"/>
                            </a:lnTo>
                            <a:lnTo>
                              <a:pt x="418" y="1933"/>
                            </a:lnTo>
                            <a:lnTo>
                              <a:pt x="420" y="1932"/>
                            </a:lnTo>
                            <a:lnTo>
                              <a:pt x="442" y="1922"/>
                            </a:lnTo>
                            <a:lnTo>
                              <a:pt x="442" y="1922"/>
                            </a:lnTo>
                            <a:lnTo>
                              <a:pt x="443" y="1922"/>
                            </a:lnTo>
                            <a:lnTo>
                              <a:pt x="471" y="1925"/>
                            </a:lnTo>
                            <a:lnTo>
                              <a:pt x="477" y="1837"/>
                            </a:lnTo>
                            <a:lnTo>
                              <a:pt x="477" y="1836"/>
                            </a:lnTo>
                            <a:lnTo>
                              <a:pt x="477" y="1836"/>
                            </a:lnTo>
                            <a:lnTo>
                              <a:pt x="495" y="1801"/>
                            </a:lnTo>
                            <a:lnTo>
                              <a:pt x="496" y="1800"/>
                            </a:lnTo>
                            <a:lnTo>
                              <a:pt x="497" y="1800"/>
                            </a:lnTo>
                            <a:lnTo>
                              <a:pt x="527" y="1796"/>
                            </a:lnTo>
                            <a:lnTo>
                              <a:pt x="533" y="1771"/>
                            </a:lnTo>
                            <a:lnTo>
                              <a:pt x="501" y="1722"/>
                            </a:lnTo>
                            <a:lnTo>
                              <a:pt x="501" y="1721"/>
                            </a:lnTo>
                            <a:lnTo>
                              <a:pt x="501" y="1720"/>
                            </a:lnTo>
                            <a:lnTo>
                              <a:pt x="530" y="1667"/>
                            </a:lnTo>
                            <a:lnTo>
                              <a:pt x="530" y="1666"/>
                            </a:lnTo>
                            <a:lnTo>
                              <a:pt x="531" y="1666"/>
                            </a:lnTo>
                            <a:lnTo>
                              <a:pt x="601" y="1663"/>
                            </a:lnTo>
                            <a:lnTo>
                              <a:pt x="620" y="1639"/>
                            </a:lnTo>
                            <a:lnTo>
                              <a:pt x="622" y="1636"/>
                            </a:lnTo>
                            <a:lnTo>
                              <a:pt x="623" y="1639"/>
                            </a:lnTo>
                            <a:lnTo>
                              <a:pt x="650" y="1696"/>
                            </a:lnTo>
                            <a:lnTo>
                              <a:pt x="665" y="1689"/>
                            </a:lnTo>
                            <a:lnTo>
                              <a:pt x="662" y="1656"/>
                            </a:lnTo>
                            <a:lnTo>
                              <a:pt x="662" y="1655"/>
                            </a:lnTo>
                            <a:lnTo>
                              <a:pt x="662" y="1655"/>
                            </a:lnTo>
                            <a:lnTo>
                              <a:pt x="730" y="1581"/>
                            </a:lnTo>
                            <a:lnTo>
                              <a:pt x="734" y="1552"/>
                            </a:lnTo>
                            <a:lnTo>
                              <a:pt x="734" y="1551"/>
                            </a:lnTo>
                            <a:lnTo>
                              <a:pt x="770" y="1535"/>
                            </a:lnTo>
                            <a:lnTo>
                              <a:pt x="770" y="1537"/>
                            </a:lnTo>
                            <a:lnTo>
                              <a:pt x="787" y="1572"/>
                            </a:lnTo>
                            <a:lnTo>
                              <a:pt x="817" y="1590"/>
                            </a:lnTo>
                            <a:lnTo>
                              <a:pt x="824" y="1566"/>
                            </a:lnTo>
                            <a:lnTo>
                              <a:pt x="824" y="1565"/>
                            </a:lnTo>
                            <a:lnTo>
                              <a:pt x="825" y="1565"/>
                            </a:lnTo>
                            <a:lnTo>
                              <a:pt x="842" y="1547"/>
                            </a:lnTo>
                            <a:lnTo>
                              <a:pt x="835" y="1527"/>
                            </a:lnTo>
                            <a:lnTo>
                              <a:pt x="819" y="1522"/>
                            </a:lnTo>
                            <a:lnTo>
                              <a:pt x="818" y="1522"/>
                            </a:lnTo>
                            <a:lnTo>
                              <a:pt x="818" y="1521"/>
                            </a:lnTo>
                            <a:lnTo>
                              <a:pt x="819" y="1501"/>
                            </a:lnTo>
                            <a:lnTo>
                              <a:pt x="820" y="1501"/>
                            </a:lnTo>
                            <a:lnTo>
                              <a:pt x="820" y="1500"/>
                            </a:lnTo>
                            <a:lnTo>
                              <a:pt x="844" y="1475"/>
                            </a:lnTo>
                            <a:lnTo>
                              <a:pt x="839" y="1456"/>
                            </a:lnTo>
                            <a:lnTo>
                              <a:pt x="807" y="1446"/>
                            </a:lnTo>
                            <a:lnTo>
                              <a:pt x="806" y="1446"/>
                            </a:lnTo>
                            <a:lnTo>
                              <a:pt x="806" y="1445"/>
                            </a:lnTo>
                            <a:lnTo>
                              <a:pt x="797" y="1414"/>
                            </a:lnTo>
                            <a:lnTo>
                              <a:pt x="797" y="1414"/>
                            </a:lnTo>
                            <a:lnTo>
                              <a:pt x="798" y="1413"/>
                            </a:lnTo>
                            <a:lnTo>
                              <a:pt x="813" y="1391"/>
                            </a:lnTo>
                            <a:lnTo>
                              <a:pt x="799" y="1367"/>
                            </a:lnTo>
                            <a:lnTo>
                              <a:pt x="798" y="1365"/>
                            </a:lnTo>
                            <a:lnTo>
                              <a:pt x="800" y="1364"/>
                            </a:lnTo>
                            <a:lnTo>
                              <a:pt x="838" y="1340"/>
                            </a:lnTo>
                            <a:lnTo>
                              <a:pt x="860" y="1298"/>
                            </a:lnTo>
                            <a:lnTo>
                              <a:pt x="857" y="1264"/>
                            </a:lnTo>
                            <a:lnTo>
                              <a:pt x="843" y="1241"/>
                            </a:lnTo>
                            <a:lnTo>
                              <a:pt x="842" y="1240"/>
                            </a:lnTo>
                            <a:lnTo>
                              <a:pt x="842" y="1239"/>
                            </a:lnTo>
                            <a:lnTo>
                              <a:pt x="857" y="1207"/>
                            </a:lnTo>
                            <a:lnTo>
                              <a:pt x="850" y="1188"/>
                            </a:lnTo>
                            <a:lnTo>
                              <a:pt x="850" y="1187"/>
                            </a:lnTo>
                            <a:lnTo>
                              <a:pt x="850" y="1187"/>
                            </a:lnTo>
                            <a:lnTo>
                              <a:pt x="848" y="1157"/>
                            </a:lnTo>
                            <a:lnTo>
                              <a:pt x="848" y="1156"/>
                            </a:lnTo>
                            <a:lnTo>
                              <a:pt x="849" y="1155"/>
                            </a:lnTo>
                            <a:lnTo>
                              <a:pt x="876" y="1143"/>
                            </a:lnTo>
                            <a:lnTo>
                              <a:pt x="877" y="1143"/>
                            </a:lnTo>
                            <a:lnTo>
                              <a:pt x="877" y="1143"/>
                            </a:lnTo>
                            <a:lnTo>
                              <a:pt x="905" y="1138"/>
                            </a:lnTo>
                            <a:lnTo>
                              <a:pt x="917" y="1124"/>
                            </a:lnTo>
                            <a:lnTo>
                              <a:pt x="907" y="1111"/>
                            </a:lnTo>
                            <a:lnTo>
                              <a:pt x="886" y="1125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216" name="Google Shape;216;p2"/>
                      <p:cNvSpPr/>
                      <p:nvPr/>
                    </p:nvSpPr>
                    <p:spPr>
                      <a:xfrm>
                        <a:off x="5370202" y="674097"/>
                        <a:ext cx="685383" cy="117582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668" h="1146" extrusionOk="0">
                            <a:moveTo>
                              <a:pt x="668" y="1146"/>
                            </a:moveTo>
                            <a:lnTo>
                              <a:pt x="660" y="1047"/>
                            </a:lnTo>
                            <a:lnTo>
                              <a:pt x="649" y="1002"/>
                            </a:lnTo>
                            <a:lnTo>
                              <a:pt x="617" y="969"/>
                            </a:lnTo>
                            <a:lnTo>
                              <a:pt x="619" y="921"/>
                            </a:lnTo>
                            <a:lnTo>
                              <a:pt x="636" y="907"/>
                            </a:lnTo>
                            <a:lnTo>
                              <a:pt x="580" y="842"/>
                            </a:lnTo>
                            <a:lnTo>
                              <a:pt x="581" y="796"/>
                            </a:lnTo>
                            <a:lnTo>
                              <a:pt x="605" y="771"/>
                            </a:lnTo>
                            <a:lnTo>
                              <a:pt x="599" y="745"/>
                            </a:lnTo>
                            <a:lnTo>
                              <a:pt x="551" y="731"/>
                            </a:lnTo>
                            <a:lnTo>
                              <a:pt x="503" y="646"/>
                            </a:lnTo>
                            <a:lnTo>
                              <a:pt x="515" y="638"/>
                            </a:lnTo>
                            <a:lnTo>
                              <a:pt x="530" y="658"/>
                            </a:lnTo>
                            <a:lnTo>
                              <a:pt x="554" y="643"/>
                            </a:lnTo>
                            <a:lnTo>
                              <a:pt x="517" y="609"/>
                            </a:lnTo>
                            <a:lnTo>
                              <a:pt x="497" y="620"/>
                            </a:lnTo>
                            <a:lnTo>
                              <a:pt x="466" y="599"/>
                            </a:lnTo>
                            <a:lnTo>
                              <a:pt x="465" y="600"/>
                            </a:lnTo>
                            <a:lnTo>
                              <a:pt x="449" y="562"/>
                            </a:lnTo>
                            <a:lnTo>
                              <a:pt x="416" y="562"/>
                            </a:lnTo>
                            <a:lnTo>
                              <a:pt x="412" y="584"/>
                            </a:lnTo>
                            <a:lnTo>
                              <a:pt x="392" y="582"/>
                            </a:lnTo>
                            <a:lnTo>
                              <a:pt x="324" y="448"/>
                            </a:lnTo>
                            <a:lnTo>
                              <a:pt x="329" y="406"/>
                            </a:lnTo>
                            <a:lnTo>
                              <a:pt x="355" y="400"/>
                            </a:lnTo>
                            <a:lnTo>
                              <a:pt x="335" y="321"/>
                            </a:lnTo>
                            <a:lnTo>
                              <a:pt x="378" y="354"/>
                            </a:lnTo>
                            <a:lnTo>
                              <a:pt x="378" y="259"/>
                            </a:lnTo>
                            <a:lnTo>
                              <a:pt x="412" y="225"/>
                            </a:lnTo>
                            <a:lnTo>
                              <a:pt x="462" y="224"/>
                            </a:lnTo>
                            <a:lnTo>
                              <a:pt x="434" y="154"/>
                            </a:lnTo>
                            <a:lnTo>
                              <a:pt x="420" y="3"/>
                            </a:lnTo>
                            <a:lnTo>
                              <a:pt x="388" y="13"/>
                            </a:lnTo>
                            <a:lnTo>
                              <a:pt x="387" y="13"/>
                            </a:lnTo>
                            <a:lnTo>
                              <a:pt x="386" y="13"/>
                            </a:lnTo>
                            <a:lnTo>
                              <a:pt x="362" y="0"/>
                            </a:lnTo>
                            <a:lnTo>
                              <a:pt x="320" y="120"/>
                            </a:lnTo>
                            <a:lnTo>
                              <a:pt x="319" y="121"/>
                            </a:lnTo>
                            <a:lnTo>
                              <a:pt x="319" y="121"/>
                            </a:lnTo>
                            <a:lnTo>
                              <a:pt x="265" y="120"/>
                            </a:lnTo>
                            <a:lnTo>
                              <a:pt x="216" y="135"/>
                            </a:lnTo>
                            <a:lnTo>
                              <a:pt x="214" y="136"/>
                            </a:lnTo>
                            <a:lnTo>
                              <a:pt x="214" y="134"/>
                            </a:lnTo>
                            <a:lnTo>
                              <a:pt x="197" y="90"/>
                            </a:lnTo>
                            <a:lnTo>
                              <a:pt x="131" y="94"/>
                            </a:lnTo>
                            <a:lnTo>
                              <a:pt x="119" y="115"/>
                            </a:lnTo>
                            <a:lnTo>
                              <a:pt x="119" y="116"/>
                            </a:lnTo>
                            <a:lnTo>
                              <a:pt x="118" y="116"/>
                            </a:lnTo>
                            <a:lnTo>
                              <a:pt x="72" y="126"/>
                            </a:lnTo>
                            <a:lnTo>
                              <a:pt x="64" y="151"/>
                            </a:lnTo>
                            <a:lnTo>
                              <a:pt x="64" y="151"/>
                            </a:lnTo>
                            <a:lnTo>
                              <a:pt x="62" y="151"/>
                            </a:lnTo>
                            <a:lnTo>
                              <a:pt x="38" y="154"/>
                            </a:lnTo>
                            <a:lnTo>
                              <a:pt x="30" y="182"/>
                            </a:lnTo>
                            <a:lnTo>
                              <a:pt x="29" y="183"/>
                            </a:lnTo>
                            <a:lnTo>
                              <a:pt x="28" y="183"/>
                            </a:lnTo>
                            <a:lnTo>
                              <a:pt x="0" y="192"/>
                            </a:lnTo>
                            <a:lnTo>
                              <a:pt x="5" y="220"/>
                            </a:lnTo>
                            <a:lnTo>
                              <a:pt x="46" y="281"/>
                            </a:lnTo>
                            <a:lnTo>
                              <a:pt x="72" y="286"/>
                            </a:lnTo>
                            <a:lnTo>
                              <a:pt x="73" y="286"/>
                            </a:lnTo>
                            <a:lnTo>
                              <a:pt x="73" y="287"/>
                            </a:lnTo>
                            <a:lnTo>
                              <a:pt x="91" y="333"/>
                            </a:lnTo>
                            <a:lnTo>
                              <a:pt x="120" y="330"/>
                            </a:lnTo>
                            <a:lnTo>
                              <a:pt x="121" y="330"/>
                            </a:lnTo>
                            <a:lnTo>
                              <a:pt x="121" y="331"/>
                            </a:lnTo>
                            <a:lnTo>
                              <a:pt x="141" y="349"/>
                            </a:lnTo>
                            <a:lnTo>
                              <a:pt x="141" y="349"/>
                            </a:lnTo>
                            <a:lnTo>
                              <a:pt x="141" y="350"/>
                            </a:lnTo>
                            <a:lnTo>
                              <a:pt x="146" y="378"/>
                            </a:lnTo>
                            <a:lnTo>
                              <a:pt x="173" y="393"/>
                            </a:lnTo>
                            <a:lnTo>
                              <a:pt x="192" y="376"/>
                            </a:lnTo>
                            <a:lnTo>
                              <a:pt x="141" y="316"/>
                            </a:lnTo>
                            <a:lnTo>
                              <a:pt x="153" y="276"/>
                            </a:lnTo>
                            <a:lnTo>
                              <a:pt x="202" y="259"/>
                            </a:lnTo>
                            <a:lnTo>
                              <a:pt x="176" y="298"/>
                            </a:lnTo>
                            <a:lnTo>
                              <a:pt x="182" y="328"/>
                            </a:lnTo>
                            <a:lnTo>
                              <a:pt x="220" y="354"/>
                            </a:lnTo>
                            <a:lnTo>
                              <a:pt x="239" y="355"/>
                            </a:lnTo>
                            <a:lnTo>
                              <a:pt x="237" y="383"/>
                            </a:lnTo>
                            <a:lnTo>
                              <a:pt x="254" y="387"/>
                            </a:lnTo>
                            <a:lnTo>
                              <a:pt x="239" y="466"/>
                            </a:lnTo>
                            <a:lnTo>
                              <a:pt x="256" y="495"/>
                            </a:lnTo>
                            <a:lnTo>
                              <a:pt x="262" y="587"/>
                            </a:lnTo>
                            <a:lnTo>
                              <a:pt x="276" y="647"/>
                            </a:lnTo>
                            <a:lnTo>
                              <a:pt x="295" y="706"/>
                            </a:lnTo>
                            <a:lnTo>
                              <a:pt x="273" y="730"/>
                            </a:lnTo>
                            <a:lnTo>
                              <a:pt x="280" y="752"/>
                            </a:lnTo>
                            <a:lnTo>
                              <a:pt x="268" y="768"/>
                            </a:lnTo>
                            <a:lnTo>
                              <a:pt x="299" y="804"/>
                            </a:lnTo>
                            <a:lnTo>
                              <a:pt x="304" y="860"/>
                            </a:lnTo>
                            <a:lnTo>
                              <a:pt x="346" y="907"/>
                            </a:lnTo>
                            <a:lnTo>
                              <a:pt x="346" y="907"/>
                            </a:lnTo>
                            <a:lnTo>
                              <a:pt x="395" y="963"/>
                            </a:lnTo>
                            <a:lnTo>
                              <a:pt x="668" y="1146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217" name="Google Shape;217;p2"/>
                      <p:cNvSpPr/>
                      <p:nvPr/>
                    </p:nvSpPr>
                    <p:spPr>
                      <a:xfrm>
                        <a:off x="1461056" y="1596492"/>
                        <a:ext cx="420669" cy="444268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10" h="433" extrusionOk="0">
                            <a:moveTo>
                              <a:pt x="376" y="104"/>
                            </a:moveTo>
                            <a:lnTo>
                              <a:pt x="375" y="104"/>
                            </a:lnTo>
                            <a:lnTo>
                              <a:pt x="375" y="103"/>
                            </a:lnTo>
                            <a:lnTo>
                              <a:pt x="318" y="57"/>
                            </a:lnTo>
                            <a:lnTo>
                              <a:pt x="298" y="69"/>
                            </a:lnTo>
                            <a:lnTo>
                              <a:pt x="298" y="69"/>
                            </a:lnTo>
                            <a:lnTo>
                              <a:pt x="297" y="69"/>
                            </a:lnTo>
                            <a:lnTo>
                              <a:pt x="242" y="63"/>
                            </a:lnTo>
                            <a:lnTo>
                              <a:pt x="242" y="62"/>
                            </a:lnTo>
                            <a:lnTo>
                              <a:pt x="205" y="43"/>
                            </a:lnTo>
                            <a:lnTo>
                              <a:pt x="204" y="43"/>
                            </a:lnTo>
                            <a:lnTo>
                              <a:pt x="204" y="43"/>
                            </a:lnTo>
                            <a:lnTo>
                              <a:pt x="170" y="4"/>
                            </a:lnTo>
                            <a:lnTo>
                              <a:pt x="126" y="0"/>
                            </a:lnTo>
                            <a:lnTo>
                              <a:pt x="113" y="32"/>
                            </a:lnTo>
                            <a:lnTo>
                              <a:pt x="145" y="74"/>
                            </a:lnTo>
                            <a:lnTo>
                              <a:pt x="145" y="74"/>
                            </a:lnTo>
                            <a:lnTo>
                              <a:pt x="145" y="74"/>
                            </a:lnTo>
                            <a:lnTo>
                              <a:pt x="146" y="104"/>
                            </a:lnTo>
                            <a:lnTo>
                              <a:pt x="147" y="105"/>
                            </a:lnTo>
                            <a:lnTo>
                              <a:pt x="145" y="106"/>
                            </a:lnTo>
                            <a:lnTo>
                              <a:pt x="94" y="127"/>
                            </a:lnTo>
                            <a:lnTo>
                              <a:pt x="94" y="144"/>
                            </a:lnTo>
                            <a:lnTo>
                              <a:pt x="108" y="157"/>
                            </a:lnTo>
                            <a:lnTo>
                              <a:pt x="110" y="158"/>
                            </a:lnTo>
                            <a:lnTo>
                              <a:pt x="93" y="179"/>
                            </a:lnTo>
                            <a:lnTo>
                              <a:pt x="93" y="179"/>
                            </a:lnTo>
                            <a:lnTo>
                              <a:pt x="79" y="195"/>
                            </a:lnTo>
                            <a:lnTo>
                              <a:pt x="61" y="244"/>
                            </a:lnTo>
                            <a:lnTo>
                              <a:pt x="61" y="244"/>
                            </a:lnTo>
                            <a:lnTo>
                              <a:pt x="60" y="244"/>
                            </a:lnTo>
                            <a:lnTo>
                              <a:pt x="44" y="261"/>
                            </a:lnTo>
                            <a:lnTo>
                              <a:pt x="34" y="288"/>
                            </a:lnTo>
                            <a:lnTo>
                              <a:pt x="34" y="288"/>
                            </a:lnTo>
                            <a:lnTo>
                              <a:pt x="34" y="289"/>
                            </a:lnTo>
                            <a:lnTo>
                              <a:pt x="17" y="307"/>
                            </a:lnTo>
                            <a:lnTo>
                              <a:pt x="16" y="308"/>
                            </a:lnTo>
                            <a:lnTo>
                              <a:pt x="15" y="308"/>
                            </a:lnTo>
                            <a:lnTo>
                              <a:pt x="0" y="307"/>
                            </a:lnTo>
                            <a:lnTo>
                              <a:pt x="0" y="344"/>
                            </a:lnTo>
                            <a:lnTo>
                              <a:pt x="16" y="343"/>
                            </a:lnTo>
                            <a:lnTo>
                              <a:pt x="18" y="343"/>
                            </a:lnTo>
                            <a:lnTo>
                              <a:pt x="18" y="372"/>
                            </a:lnTo>
                            <a:lnTo>
                              <a:pt x="54" y="374"/>
                            </a:lnTo>
                            <a:lnTo>
                              <a:pt x="56" y="374"/>
                            </a:lnTo>
                            <a:lnTo>
                              <a:pt x="56" y="375"/>
                            </a:lnTo>
                            <a:lnTo>
                              <a:pt x="58" y="396"/>
                            </a:lnTo>
                            <a:lnTo>
                              <a:pt x="73" y="399"/>
                            </a:lnTo>
                            <a:lnTo>
                              <a:pt x="74" y="400"/>
                            </a:lnTo>
                            <a:lnTo>
                              <a:pt x="75" y="401"/>
                            </a:lnTo>
                            <a:lnTo>
                              <a:pt x="77" y="411"/>
                            </a:lnTo>
                            <a:lnTo>
                              <a:pt x="77" y="411"/>
                            </a:lnTo>
                            <a:lnTo>
                              <a:pt x="79" y="426"/>
                            </a:lnTo>
                            <a:lnTo>
                              <a:pt x="84" y="433"/>
                            </a:lnTo>
                            <a:lnTo>
                              <a:pt x="98" y="430"/>
                            </a:lnTo>
                            <a:lnTo>
                              <a:pt x="129" y="393"/>
                            </a:lnTo>
                            <a:lnTo>
                              <a:pt x="129" y="393"/>
                            </a:lnTo>
                            <a:lnTo>
                              <a:pt x="130" y="393"/>
                            </a:lnTo>
                            <a:lnTo>
                              <a:pt x="165" y="389"/>
                            </a:lnTo>
                            <a:lnTo>
                              <a:pt x="186" y="354"/>
                            </a:lnTo>
                            <a:lnTo>
                              <a:pt x="188" y="353"/>
                            </a:lnTo>
                            <a:lnTo>
                              <a:pt x="189" y="354"/>
                            </a:lnTo>
                            <a:lnTo>
                              <a:pt x="205" y="372"/>
                            </a:lnTo>
                            <a:lnTo>
                              <a:pt x="219" y="363"/>
                            </a:lnTo>
                            <a:lnTo>
                              <a:pt x="224" y="338"/>
                            </a:lnTo>
                            <a:lnTo>
                              <a:pt x="225" y="337"/>
                            </a:lnTo>
                            <a:lnTo>
                              <a:pt x="226" y="337"/>
                            </a:lnTo>
                            <a:lnTo>
                              <a:pt x="264" y="335"/>
                            </a:lnTo>
                            <a:lnTo>
                              <a:pt x="275" y="322"/>
                            </a:lnTo>
                            <a:lnTo>
                              <a:pt x="278" y="295"/>
                            </a:lnTo>
                            <a:lnTo>
                              <a:pt x="278" y="295"/>
                            </a:lnTo>
                            <a:lnTo>
                              <a:pt x="278" y="295"/>
                            </a:lnTo>
                            <a:lnTo>
                              <a:pt x="295" y="275"/>
                            </a:lnTo>
                            <a:lnTo>
                              <a:pt x="283" y="251"/>
                            </a:lnTo>
                            <a:lnTo>
                              <a:pt x="282" y="251"/>
                            </a:lnTo>
                            <a:lnTo>
                              <a:pt x="282" y="250"/>
                            </a:lnTo>
                            <a:lnTo>
                              <a:pt x="283" y="231"/>
                            </a:lnTo>
                            <a:lnTo>
                              <a:pt x="283" y="229"/>
                            </a:lnTo>
                            <a:lnTo>
                              <a:pt x="284" y="229"/>
                            </a:lnTo>
                            <a:lnTo>
                              <a:pt x="325" y="210"/>
                            </a:lnTo>
                            <a:lnTo>
                              <a:pt x="372" y="164"/>
                            </a:lnTo>
                            <a:lnTo>
                              <a:pt x="404" y="122"/>
                            </a:lnTo>
                            <a:lnTo>
                              <a:pt x="410" y="109"/>
                            </a:lnTo>
                            <a:lnTo>
                              <a:pt x="376" y="104"/>
                            </a:lnTo>
                            <a:close/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218" name="Google Shape;218;p2"/>
                      <p:cNvSpPr/>
                      <p:nvPr/>
                    </p:nvSpPr>
                    <p:spPr>
                      <a:xfrm>
                        <a:off x="0" y="1733979"/>
                        <a:ext cx="164164" cy="22572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60" h="220" extrusionOk="0">
                            <a:moveTo>
                              <a:pt x="139" y="220"/>
                            </a:moveTo>
                            <a:lnTo>
                              <a:pt x="160" y="195"/>
                            </a:lnTo>
                            <a:lnTo>
                              <a:pt x="112" y="133"/>
                            </a:lnTo>
                            <a:lnTo>
                              <a:pt x="141" y="53"/>
                            </a:lnTo>
                            <a:lnTo>
                              <a:pt x="120" y="36"/>
                            </a:lnTo>
                            <a:lnTo>
                              <a:pt x="103" y="48"/>
                            </a:lnTo>
                            <a:lnTo>
                              <a:pt x="33" y="0"/>
                            </a:lnTo>
                            <a:lnTo>
                              <a:pt x="24" y="14"/>
                            </a:lnTo>
                            <a:lnTo>
                              <a:pt x="26" y="71"/>
                            </a:lnTo>
                            <a:lnTo>
                              <a:pt x="0" y="99"/>
                            </a:lnTo>
                            <a:lnTo>
                              <a:pt x="7" y="138"/>
                            </a:lnTo>
                            <a:lnTo>
                              <a:pt x="53" y="136"/>
                            </a:lnTo>
                            <a:lnTo>
                              <a:pt x="105" y="200"/>
                            </a:lnTo>
                            <a:lnTo>
                              <a:pt x="139" y="220"/>
                            </a:lnTo>
                            <a:close/>
                          </a:path>
                        </a:pathLst>
                      </a:custGeom>
                      <a:solidFill>
                        <a:srgbClr val="D8D8D8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  <p:sp>
                    <p:nvSpPr>
                      <p:cNvPr id="219" name="Google Shape;219;p2"/>
                      <p:cNvSpPr/>
                      <p:nvPr/>
                    </p:nvSpPr>
                    <p:spPr>
                      <a:xfrm>
                        <a:off x="835182" y="1442588"/>
                        <a:ext cx="51301" cy="4822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0" h="47" extrusionOk="0">
                            <a:moveTo>
                              <a:pt x="40" y="47"/>
                            </a:moveTo>
                            <a:lnTo>
                              <a:pt x="25" y="39"/>
                            </a:lnTo>
                            <a:lnTo>
                              <a:pt x="9" y="47"/>
                            </a:lnTo>
                            <a:lnTo>
                              <a:pt x="12" y="30"/>
                            </a:lnTo>
                            <a:lnTo>
                              <a:pt x="0" y="18"/>
                            </a:lnTo>
                            <a:lnTo>
                              <a:pt x="17" y="15"/>
                            </a:lnTo>
                            <a:lnTo>
                              <a:pt x="25" y="0"/>
                            </a:lnTo>
                            <a:lnTo>
                              <a:pt x="32" y="15"/>
                            </a:lnTo>
                            <a:lnTo>
                              <a:pt x="50" y="18"/>
                            </a:lnTo>
                            <a:lnTo>
                              <a:pt x="37" y="30"/>
                            </a:lnTo>
                            <a:lnTo>
                              <a:pt x="40" y="47"/>
                            </a:lnTo>
                            <a:close/>
                          </a:path>
                        </a:pathLst>
                      </a:custGeom>
                      <a:solidFill>
                        <a:srgbClr val="D1E7B6"/>
                      </a:solidFill>
                      <a:ln w="9525" cap="flat" cmpd="sng">
                        <a:solidFill>
                          <a:schemeClr val="lt1"/>
                        </a:solidFill>
                        <a:prstDash val="solid"/>
                        <a:round/>
                        <a:headEnd type="none" w="sm" len="sm"/>
                        <a:tailEnd type="none" w="sm" len="sm"/>
                      </a:ln>
                    </p:spPr>
                    <p:txBody>
                      <a:bodyPr spcFirstLastPara="1" wrap="square" lIns="101819" tIns="50910" rIns="101819" bIns="50910" anchor="t" anchorCtr="0">
                        <a:noAutofit/>
                      </a:bodyPr>
                      <a:lstStyle/>
                      <a:p>
                        <a:endParaRPr sz="2104">
                          <a:solidFill>
                            <a:schemeClr val="dk1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endParaRPr>
                      </a:p>
                    </p:txBody>
                  </p:sp>
                </p:grpSp>
                <p:sp>
                  <p:nvSpPr>
                    <p:cNvPr id="221" name="Google Shape;221;p2"/>
                    <p:cNvSpPr/>
                    <p:nvPr/>
                  </p:nvSpPr>
                  <p:spPr>
                    <a:xfrm>
                      <a:off x="2364750" y="1705579"/>
                      <a:ext cx="72000" cy="7200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50" h="47" extrusionOk="0">
                          <a:moveTo>
                            <a:pt x="40" y="47"/>
                          </a:moveTo>
                          <a:lnTo>
                            <a:pt x="25" y="39"/>
                          </a:lnTo>
                          <a:lnTo>
                            <a:pt x="9" y="47"/>
                          </a:lnTo>
                          <a:lnTo>
                            <a:pt x="12" y="30"/>
                          </a:lnTo>
                          <a:lnTo>
                            <a:pt x="0" y="18"/>
                          </a:lnTo>
                          <a:lnTo>
                            <a:pt x="17" y="15"/>
                          </a:lnTo>
                          <a:lnTo>
                            <a:pt x="25" y="0"/>
                          </a:lnTo>
                          <a:lnTo>
                            <a:pt x="32" y="15"/>
                          </a:lnTo>
                          <a:lnTo>
                            <a:pt x="50" y="18"/>
                          </a:lnTo>
                          <a:lnTo>
                            <a:pt x="37" y="30"/>
                          </a:lnTo>
                          <a:lnTo>
                            <a:pt x="40" y="47"/>
                          </a:lnTo>
                          <a:close/>
                        </a:path>
                      </a:pathLst>
                    </a:custGeom>
                    <a:solidFill>
                      <a:srgbClr val="D1E7B6"/>
                    </a:solidFill>
                    <a:ln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>
                  </p:spPr>
                  <p:txBody>
                    <a:bodyPr spcFirstLastPara="1" wrap="square" lIns="101819" tIns="50910" rIns="101819" bIns="50910" anchor="t" anchorCtr="0">
                      <a:noAutofit/>
                    </a:bodyPr>
                    <a:lstStyle/>
                    <a:p>
                      <a:endParaRPr sz="2104">
                        <a:solidFill>
                          <a:schemeClr val="dk1"/>
                        </a:solidFill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p:txBody>
                </p:sp>
              </p:grpSp>
              <p:sp>
                <p:nvSpPr>
                  <p:cNvPr id="224" name="Google Shape;224;p2"/>
                  <p:cNvSpPr/>
                  <p:nvPr/>
                </p:nvSpPr>
                <p:spPr>
                  <a:xfrm>
                    <a:off x="2603856" y="2637468"/>
                    <a:ext cx="144000" cy="144000"/>
                  </a:xfrm>
                  <a:prstGeom prst="ellipse">
                    <a:avLst/>
                  </a:prstGeom>
                  <a:solidFill>
                    <a:schemeClr val="accent6"/>
                  </a:solidFill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algn="ctr"/>
                    <a:r>
                      <a:rPr lang="ru-RU" sz="936" b="1">
                        <a:solidFill>
                          <a:srgbClr val="FFFFFF"/>
                        </a:solidFill>
                        <a:latin typeface="Tahoma"/>
                        <a:ea typeface="Tahoma"/>
                        <a:cs typeface="Tahoma"/>
                        <a:sym typeface="Tahoma"/>
                      </a:rPr>
                      <a:t>4</a:t>
                    </a:r>
                    <a:endParaRPr sz="936">
                      <a:solidFill>
                        <a:schemeClr val="lt1"/>
                      </a:solidFill>
                      <a:latin typeface="Times New Roman"/>
                      <a:ea typeface="Times New Roman"/>
                      <a:cs typeface="Times New Roman"/>
                      <a:sym typeface="Times New Roman"/>
                    </a:endParaRPr>
                  </a:p>
                </p:txBody>
              </p:sp>
              <p:sp>
                <p:nvSpPr>
                  <p:cNvPr id="227" name="Google Shape;227;p2"/>
                  <p:cNvSpPr/>
                  <p:nvPr/>
                </p:nvSpPr>
                <p:spPr>
                  <a:xfrm>
                    <a:off x="1911329" y="2638693"/>
                    <a:ext cx="144000" cy="144000"/>
                  </a:xfrm>
                  <a:prstGeom prst="ellipse">
                    <a:avLst/>
                  </a:prstGeom>
                  <a:solidFill>
                    <a:schemeClr val="accent6"/>
                  </a:solidFill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algn="ctr"/>
                    <a:r>
                      <a:rPr lang="ru-RU" sz="936" b="1">
                        <a:solidFill>
                          <a:srgbClr val="FFFFFF"/>
                        </a:solidFill>
                        <a:latin typeface="Tahoma"/>
                        <a:ea typeface="Tahoma"/>
                        <a:cs typeface="Tahoma"/>
                        <a:sym typeface="Tahoma"/>
                      </a:rPr>
                      <a:t>1</a:t>
                    </a:r>
                    <a:endParaRPr sz="936">
                      <a:solidFill>
                        <a:schemeClr val="lt1"/>
                      </a:solidFill>
                      <a:latin typeface="Times New Roman"/>
                      <a:ea typeface="Times New Roman"/>
                      <a:cs typeface="Times New Roman"/>
                      <a:sym typeface="Times New Roman"/>
                    </a:endParaRPr>
                  </a:p>
                </p:txBody>
              </p:sp>
              <p:sp>
                <p:nvSpPr>
                  <p:cNvPr id="230" name="Google Shape;230;p2"/>
                  <p:cNvSpPr/>
                  <p:nvPr/>
                </p:nvSpPr>
                <p:spPr>
                  <a:xfrm>
                    <a:off x="2128326" y="3196822"/>
                    <a:ext cx="144000" cy="144000"/>
                  </a:xfrm>
                  <a:prstGeom prst="ellipse">
                    <a:avLst/>
                  </a:prstGeom>
                  <a:solidFill>
                    <a:schemeClr val="accent6"/>
                  </a:solidFill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algn="ctr"/>
                    <a:r>
                      <a:rPr lang="ru-RU" sz="936" b="1">
                        <a:solidFill>
                          <a:srgbClr val="FFFFFF"/>
                        </a:solidFill>
                        <a:latin typeface="Tahoma"/>
                        <a:ea typeface="Tahoma"/>
                        <a:cs typeface="Tahoma"/>
                        <a:sym typeface="Tahoma"/>
                      </a:rPr>
                      <a:t>2</a:t>
                    </a:r>
                    <a:endParaRPr sz="936">
                      <a:solidFill>
                        <a:schemeClr val="lt1"/>
                      </a:solidFill>
                      <a:latin typeface="Times New Roman"/>
                      <a:ea typeface="Times New Roman"/>
                      <a:cs typeface="Times New Roman"/>
                      <a:sym typeface="Times New Roman"/>
                    </a:endParaRPr>
                  </a:p>
                </p:txBody>
              </p:sp>
              <p:sp>
                <p:nvSpPr>
                  <p:cNvPr id="233" name="Google Shape;233;p2"/>
                  <p:cNvSpPr/>
                  <p:nvPr/>
                </p:nvSpPr>
                <p:spPr>
                  <a:xfrm>
                    <a:off x="2588113" y="3241978"/>
                    <a:ext cx="144000" cy="144000"/>
                  </a:xfrm>
                  <a:prstGeom prst="ellipse">
                    <a:avLst/>
                  </a:prstGeom>
                  <a:solidFill>
                    <a:schemeClr val="accent6"/>
                  </a:solidFill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algn="ctr"/>
                    <a:r>
                      <a:rPr lang="ru-RU" sz="936" b="1">
                        <a:solidFill>
                          <a:srgbClr val="FFFFFF"/>
                        </a:solidFill>
                        <a:latin typeface="Tahoma"/>
                        <a:ea typeface="Tahoma"/>
                        <a:cs typeface="Tahoma"/>
                        <a:sym typeface="Tahoma"/>
                      </a:rPr>
                      <a:t>6</a:t>
                    </a:r>
                    <a:endParaRPr sz="936">
                      <a:solidFill>
                        <a:schemeClr val="lt1"/>
                      </a:solidFill>
                      <a:latin typeface="Times New Roman"/>
                      <a:ea typeface="Times New Roman"/>
                      <a:cs typeface="Times New Roman"/>
                      <a:sym typeface="Times New Roman"/>
                    </a:endParaRPr>
                  </a:p>
                </p:txBody>
              </p:sp>
              <p:sp>
                <p:nvSpPr>
                  <p:cNvPr id="236" name="Google Shape;236;p2"/>
                  <p:cNvSpPr/>
                  <p:nvPr/>
                </p:nvSpPr>
                <p:spPr>
                  <a:xfrm>
                    <a:off x="2933486" y="3276792"/>
                    <a:ext cx="144000" cy="144000"/>
                  </a:xfrm>
                  <a:prstGeom prst="ellipse">
                    <a:avLst/>
                  </a:prstGeom>
                  <a:solidFill>
                    <a:schemeClr val="accent6"/>
                  </a:solidFill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algn="ctr"/>
                    <a:r>
                      <a:rPr lang="ru-RU" sz="936" b="1">
                        <a:solidFill>
                          <a:srgbClr val="FFFFFF"/>
                        </a:solidFill>
                        <a:latin typeface="Tahoma"/>
                        <a:ea typeface="Tahoma"/>
                        <a:cs typeface="Tahoma"/>
                        <a:sym typeface="Tahoma"/>
                      </a:rPr>
                      <a:t>4</a:t>
                    </a:r>
                    <a:endParaRPr sz="936">
                      <a:solidFill>
                        <a:schemeClr val="lt1"/>
                      </a:solidFill>
                      <a:latin typeface="Times New Roman"/>
                      <a:ea typeface="Times New Roman"/>
                      <a:cs typeface="Times New Roman"/>
                      <a:sym typeface="Times New Roman"/>
                    </a:endParaRPr>
                  </a:p>
                </p:txBody>
              </p:sp>
              <p:sp>
                <p:nvSpPr>
                  <p:cNvPr id="239" name="Google Shape;239;p2"/>
                  <p:cNvSpPr/>
                  <p:nvPr/>
                </p:nvSpPr>
                <p:spPr>
                  <a:xfrm>
                    <a:off x="3178853" y="2790358"/>
                    <a:ext cx="144000" cy="144000"/>
                  </a:xfrm>
                  <a:prstGeom prst="ellipse">
                    <a:avLst/>
                  </a:prstGeom>
                  <a:solidFill>
                    <a:schemeClr val="accent6"/>
                  </a:solidFill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algn="ctr"/>
                    <a:r>
                      <a:rPr lang="ru-RU" sz="936" b="1">
                        <a:solidFill>
                          <a:srgbClr val="FFFFFF"/>
                        </a:solidFill>
                        <a:latin typeface="Tahoma"/>
                        <a:ea typeface="Tahoma"/>
                        <a:cs typeface="Tahoma"/>
                        <a:sym typeface="Tahoma"/>
                      </a:rPr>
                      <a:t>2</a:t>
                    </a:r>
                    <a:endParaRPr sz="936">
                      <a:solidFill>
                        <a:schemeClr val="lt1"/>
                      </a:solidFill>
                      <a:latin typeface="Times New Roman"/>
                      <a:ea typeface="Times New Roman"/>
                      <a:cs typeface="Times New Roman"/>
                      <a:sym typeface="Times New Roman"/>
                    </a:endParaRPr>
                  </a:p>
                </p:txBody>
              </p:sp>
              <p:sp>
                <p:nvSpPr>
                  <p:cNvPr id="240" name="Google Shape;240;p2"/>
                  <p:cNvSpPr/>
                  <p:nvPr/>
                </p:nvSpPr>
                <p:spPr>
                  <a:xfrm>
                    <a:off x="3882039" y="3215832"/>
                    <a:ext cx="144000" cy="144000"/>
                  </a:xfrm>
                  <a:prstGeom prst="ellipse">
                    <a:avLst/>
                  </a:prstGeom>
                  <a:solidFill>
                    <a:schemeClr val="accent6"/>
                  </a:solidFill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algn="ctr"/>
                    <a:r>
                      <a:rPr lang="ru-RU" sz="936" b="1">
                        <a:solidFill>
                          <a:srgbClr val="FFFFFF"/>
                        </a:solidFill>
                        <a:latin typeface="Tahoma"/>
                        <a:ea typeface="Tahoma"/>
                        <a:cs typeface="Tahoma"/>
                        <a:sym typeface="Tahoma"/>
                      </a:rPr>
                      <a:t>3</a:t>
                    </a:r>
                    <a:endParaRPr sz="936">
                      <a:solidFill>
                        <a:schemeClr val="lt1"/>
                      </a:solidFill>
                      <a:latin typeface="Times New Roman"/>
                      <a:ea typeface="Times New Roman"/>
                      <a:cs typeface="Times New Roman"/>
                      <a:sym typeface="Times New Roman"/>
                    </a:endParaRPr>
                  </a:p>
                </p:txBody>
              </p:sp>
              <p:grpSp>
                <p:nvGrpSpPr>
                  <p:cNvPr id="243" name="Google Shape;243;p2"/>
                  <p:cNvGrpSpPr/>
                  <p:nvPr/>
                </p:nvGrpSpPr>
                <p:grpSpPr>
                  <a:xfrm>
                    <a:off x="2610312" y="2238688"/>
                    <a:ext cx="470613" cy="151663"/>
                    <a:chOff x="2633760" y="2272273"/>
                    <a:chExt cx="470613" cy="151663"/>
                  </a:xfrm>
                </p:grpSpPr>
                <p:sp>
                  <p:nvSpPr>
                    <p:cNvPr id="244" name="Google Shape;244;p2"/>
                    <p:cNvSpPr/>
                    <p:nvPr/>
                  </p:nvSpPr>
                  <p:spPr>
                    <a:xfrm>
                      <a:off x="2784781" y="2272273"/>
                      <a:ext cx="164817" cy="151663"/>
                    </a:xfrm>
                    <a:prstGeom prst="ellipse">
                      <a:avLst/>
                    </a:pr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r>
                        <a:rPr lang="ru-RU" sz="780" b="1">
                          <a:solidFill>
                            <a:srgbClr val="FFFFFF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rPr>
                        <a:t>102</a:t>
                      </a:r>
                      <a:endParaRPr sz="1091">
                        <a:solidFill>
                          <a:schemeClr val="lt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p:txBody>
                </p:sp>
                <p:sp>
                  <p:nvSpPr>
                    <p:cNvPr id="245" name="Google Shape;245;p2"/>
                    <p:cNvSpPr/>
                    <p:nvPr/>
                  </p:nvSpPr>
                  <p:spPr>
                    <a:xfrm>
                      <a:off x="2960373" y="2272273"/>
                      <a:ext cx="144000" cy="144000"/>
                    </a:xfrm>
                    <a:prstGeom prst="ellipse">
                      <a:avLst/>
                    </a:prstGeom>
                    <a:solidFill>
                      <a:schemeClr val="accent4"/>
                    </a:solidFill>
                    <a:ln>
                      <a:noFill/>
                    </a:ln>
                  </p:spPr>
                  <p:txBody>
                    <a:bodyPr spcFirstLastPara="1" wrap="square" lIns="101819" tIns="50910" rIns="101819" bIns="50910" anchor="ctr" anchorCtr="0">
                      <a:noAutofit/>
                    </a:bodyPr>
                    <a:lstStyle/>
                    <a:p>
                      <a:pPr algn="ctr"/>
                      <a:r>
                        <a:rPr lang="ru-RU" sz="936" b="1">
                          <a:solidFill>
                            <a:srgbClr val="FFFFFF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rPr>
                        <a:t>1</a:t>
                      </a:r>
                      <a:endParaRPr sz="936">
                        <a:solidFill>
                          <a:schemeClr val="lt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p:txBody>
                </p:sp>
                <p:sp>
                  <p:nvSpPr>
                    <p:cNvPr id="246" name="Google Shape;246;p2"/>
                    <p:cNvSpPr/>
                    <p:nvPr/>
                  </p:nvSpPr>
                  <p:spPr>
                    <a:xfrm>
                      <a:off x="2633760" y="2272273"/>
                      <a:ext cx="144000" cy="144000"/>
                    </a:xfrm>
                    <a:prstGeom prst="ellipse">
                      <a:avLst/>
                    </a:prstGeom>
                    <a:solidFill>
                      <a:srgbClr val="5FC4E1"/>
                    </a:solidFill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r>
                        <a:rPr lang="ru-RU" sz="936" b="1" dirty="0">
                          <a:solidFill>
                            <a:srgbClr val="FFFFFF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rPr>
                        <a:t>66</a:t>
                      </a:r>
                      <a:endParaRPr sz="936" dirty="0">
                        <a:solidFill>
                          <a:schemeClr val="lt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p:txBody>
                </p:sp>
              </p:grpSp>
              <p:grpSp>
                <p:nvGrpSpPr>
                  <p:cNvPr id="247" name="Google Shape;247;p2"/>
                  <p:cNvGrpSpPr/>
                  <p:nvPr/>
                </p:nvGrpSpPr>
                <p:grpSpPr>
                  <a:xfrm>
                    <a:off x="2433046" y="2384305"/>
                    <a:ext cx="304381" cy="144000"/>
                    <a:chOff x="1887487" y="2370194"/>
                    <a:chExt cx="304381" cy="144000"/>
                  </a:xfrm>
                </p:grpSpPr>
                <p:sp>
                  <p:nvSpPr>
                    <p:cNvPr id="249" name="Google Shape;249;p2"/>
                    <p:cNvSpPr/>
                    <p:nvPr/>
                  </p:nvSpPr>
                  <p:spPr>
                    <a:xfrm>
                      <a:off x="2047868" y="2370194"/>
                      <a:ext cx="144000" cy="144000"/>
                    </a:xfrm>
                    <a:prstGeom prst="ellipse">
                      <a:avLst/>
                    </a:pr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r>
                        <a:rPr lang="ru-RU" sz="936" b="1">
                          <a:solidFill>
                            <a:srgbClr val="FFFFFF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rPr>
                        <a:t>32</a:t>
                      </a:r>
                      <a:endParaRPr sz="936">
                        <a:solidFill>
                          <a:schemeClr val="lt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p:txBody>
                </p:sp>
                <p:sp>
                  <p:nvSpPr>
                    <p:cNvPr id="250" name="Google Shape;250;p2"/>
                    <p:cNvSpPr/>
                    <p:nvPr/>
                  </p:nvSpPr>
                  <p:spPr>
                    <a:xfrm>
                      <a:off x="1887487" y="2370194"/>
                      <a:ext cx="144000" cy="144000"/>
                    </a:xfrm>
                    <a:prstGeom prst="ellipse">
                      <a:avLst/>
                    </a:prstGeom>
                    <a:solidFill>
                      <a:srgbClr val="5FC4E1"/>
                    </a:solidFill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r>
                        <a:rPr lang="ru-RU" sz="936" b="1" dirty="0">
                          <a:solidFill>
                            <a:srgbClr val="FFFFFF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rPr>
                        <a:t>21</a:t>
                      </a:r>
                      <a:endParaRPr sz="936" dirty="0">
                        <a:solidFill>
                          <a:schemeClr val="lt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p:txBody>
                </p:sp>
              </p:grpSp>
              <p:grpSp>
                <p:nvGrpSpPr>
                  <p:cNvPr id="251" name="Google Shape;251;p2"/>
                  <p:cNvGrpSpPr/>
                  <p:nvPr/>
                </p:nvGrpSpPr>
                <p:grpSpPr>
                  <a:xfrm>
                    <a:off x="3100401" y="1605857"/>
                    <a:ext cx="469479" cy="144000"/>
                    <a:chOff x="3137507" y="1580364"/>
                    <a:chExt cx="469479" cy="144000"/>
                  </a:xfrm>
                </p:grpSpPr>
                <p:sp>
                  <p:nvSpPr>
                    <p:cNvPr id="253" name="Google Shape;253;p2"/>
                    <p:cNvSpPr/>
                    <p:nvPr/>
                  </p:nvSpPr>
                  <p:spPr>
                    <a:xfrm>
                      <a:off x="3300247" y="1580364"/>
                      <a:ext cx="144000" cy="144000"/>
                    </a:xfrm>
                    <a:prstGeom prst="ellipse">
                      <a:avLst/>
                    </a:pr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r>
                        <a:rPr lang="ru-RU" sz="936" b="1">
                          <a:solidFill>
                            <a:srgbClr val="FFFFFF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rPr>
                        <a:t>12</a:t>
                      </a:r>
                      <a:endParaRPr sz="936">
                        <a:solidFill>
                          <a:schemeClr val="lt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p:txBody>
                </p:sp>
                <p:sp>
                  <p:nvSpPr>
                    <p:cNvPr id="254" name="Google Shape;254;p2"/>
                    <p:cNvSpPr/>
                    <p:nvPr/>
                  </p:nvSpPr>
                  <p:spPr>
                    <a:xfrm>
                      <a:off x="3462986" y="1580364"/>
                      <a:ext cx="144000" cy="144000"/>
                    </a:xfrm>
                    <a:prstGeom prst="ellipse">
                      <a:avLst/>
                    </a:prstGeom>
                    <a:solidFill>
                      <a:schemeClr val="accent4"/>
                    </a:solidFill>
                    <a:ln>
                      <a:noFill/>
                    </a:ln>
                  </p:spPr>
                  <p:txBody>
                    <a:bodyPr spcFirstLastPara="1" wrap="square" lIns="101819" tIns="50910" rIns="101819" bIns="50910" anchor="ctr" anchorCtr="0">
                      <a:noAutofit/>
                    </a:bodyPr>
                    <a:lstStyle/>
                    <a:p>
                      <a:pPr algn="ctr"/>
                      <a:r>
                        <a:rPr lang="ru-RU" sz="936" b="1">
                          <a:solidFill>
                            <a:srgbClr val="FFFFFF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rPr>
                        <a:t>1</a:t>
                      </a:r>
                      <a:endParaRPr sz="936">
                        <a:solidFill>
                          <a:schemeClr val="lt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p:txBody>
                </p:sp>
                <p:sp>
                  <p:nvSpPr>
                    <p:cNvPr id="255" name="Google Shape;255;p2"/>
                    <p:cNvSpPr/>
                    <p:nvPr/>
                  </p:nvSpPr>
                  <p:spPr>
                    <a:xfrm>
                      <a:off x="3137507" y="1580364"/>
                      <a:ext cx="144000" cy="144000"/>
                    </a:xfrm>
                    <a:prstGeom prst="ellipse">
                      <a:avLst/>
                    </a:prstGeom>
                    <a:solidFill>
                      <a:srgbClr val="5FC4E1"/>
                    </a:solidFill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r>
                        <a:rPr lang="ru-RU" sz="936" b="1" dirty="0">
                          <a:solidFill>
                            <a:srgbClr val="FFFFFF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rPr>
                        <a:t>37</a:t>
                      </a:r>
                      <a:endParaRPr sz="936" dirty="0">
                        <a:solidFill>
                          <a:schemeClr val="lt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p:txBody>
                </p:sp>
              </p:grpSp>
              <p:sp>
                <p:nvSpPr>
                  <p:cNvPr id="258" name="Google Shape;258;p2"/>
                  <p:cNvSpPr/>
                  <p:nvPr/>
                </p:nvSpPr>
                <p:spPr>
                  <a:xfrm>
                    <a:off x="2604103" y="1816507"/>
                    <a:ext cx="144000" cy="144000"/>
                  </a:xfrm>
                  <a:prstGeom prst="ellipse">
                    <a:avLst/>
                  </a:prstGeom>
                  <a:solidFill>
                    <a:srgbClr val="5FC4E1"/>
                  </a:solidFill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algn="ctr"/>
                    <a:r>
                      <a:rPr lang="ru-RU" sz="936" b="1" dirty="0">
                        <a:solidFill>
                          <a:srgbClr val="FFFFFF"/>
                        </a:solidFill>
                        <a:latin typeface="Tahoma"/>
                        <a:ea typeface="Tahoma"/>
                        <a:cs typeface="Tahoma"/>
                        <a:sym typeface="Tahoma"/>
                      </a:rPr>
                      <a:t>2</a:t>
                    </a:r>
                    <a:endParaRPr sz="936" dirty="0">
                      <a:solidFill>
                        <a:schemeClr val="lt1"/>
                      </a:solidFill>
                      <a:latin typeface="Times New Roman"/>
                      <a:ea typeface="Times New Roman"/>
                      <a:cs typeface="Times New Roman"/>
                      <a:sym typeface="Times New Roman"/>
                    </a:endParaRPr>
                  </a:p>
                </p:txBody>
              </p:sp>
              <p:grpSp>
                <p:nvGrpSpPr>
                  <p:cNvPr id="259" name="Google Shape;259;p2"/>
                  <p:cNvGrpSpPr/>
                  <p:nvPr/>
                </p:nvGrpSpPr>
                <p:grpSpPr>
                  <a:xfrm>
                    <a:off x="2433536" y="2062488"/>
                    <a:ext cx="303275" cy="145654"/>
                    <a:chOff x="2116554" y="2056906"/>
                    <a:chExt cx="303275" cy="145654"/>
                  </a:xfrm>
                </p:grpSpPr>
                <p:sp>
                  <p:nvSpPr>
                    <p:cNvPr id="261" name="Google Shape;261;p2"/>
                    <p:cNvSpPr/>
                    <p:nvPr/>
                  </p:nvSpPr>
                  <p:spPr>
                    <a:xfrm>
                      <a:off x="2275829" y="2058560"/>
                      <a:ext cx="144000" cy="144000"/>
                    </a:xfrm>
                    <a:prstGeom prst="ellipse">
                      <a:avLst/>
                    </a:pr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spcFirstLastPara="1" wrap="square" lIns="101819" tIns="50910" rIns="101819" bIns="50910" anchor="ctr" anchorCtr="0">
                      <a:noAutofit/>
                    </a:bodyPr>
                    <a:lstStyle/>
                    <a:p>
                      <a:pPr algn="ctr"/>
                      <a:r>
                        <a:rPr lang="ru-RU" sz="936" b="1">
                          <a:solidFill>
                            <a:srgbClr val="FFFFFF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rPr>
                        <a:t>1</a:t>
                      </a:r>
                      <a:endParaRPr sz="936">
                        <a:solidFill>
                          <a:schemeClr val="lt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p:txBody>
                </p:sp>
                <p:sp>
                  <p:nvSpPr>
                    <p:cNvPr id="262" name="Google Shape;262;p2"/>
                    <p:cNvSpPr/>
                    <p:nvPr/>
                  </p:nvSpPr>
                  <p:spPr>
                    <a:xfrm>
                      <a:off x="2116554" y="2056906"/>
                      <a:ext cx="144000" cy="144000"/>
                    </a:xfrm>
                    <a:prstGeom prst="ellipse">
                      <a:avLst/>
                    </a:prstGeom>
                    <a:solidFill>
                      <a:srgbClr val="5FC4E1"/>
                    </a:solidFill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r>
                        <a:rPr lang="ru-RU" sz="936" b="1">
                          <a:solidFill>
                            <a:srgbClr val="FFFFFF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rPr>
                        <a:t>3</a:t>
                      </a:r>
                      <a:endParaRPr sz="936">
                        <a:solidFill>
                          <a:schemeClr val="lt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p:txBody>
                </p:sp>
              </p:grpSp>
              <p:grpSp>
                <p:nvGrpSpPr>
                  <p:cNvPr id="270" name="Google Shape;270;p2"/>
                  <p:cNvGrpSpPr/>
                  <p:nvPr/>
                </p:nvGrpSpPr>
                <p:grpSpPr>
                  <a:xfrm>
                    <a:off x="2756914" y="2909535"/>
                    <a:ext cx="301653" cy="144000"/>
                    <a:chOff x="2594449" y="2878767"/>
                    <a:chExt cx="301653" cy="144000"/>
                  </a:xfrm>
                </p:grpSpPr>
                <p:sp>
                  <p:nvSpPr>
                    <p:cNvPr id="271" name="Google Shape;271;p2"/>
                    <p:cNvSpPr/>
                    <p:nvPr/>
                  </p:nvSpPr>
                  <p:spPr>
                    <a:xfrm>
                      <a:off x="2752102" y="2878767"/>
                      <a:ext cx="144000" cy="144000"/>
                    </a:xfrm>
                    <a:prstGeom prst="ellipse">
                      <a:avLst/>
                    </a:pr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r>
                        <a:rPr lang="ru-RU" sz="936" b="1">
                          <a:solidFill>
                            <a:srgbClr val="FFFFFF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rPr>
                        <a:t>5</a:t>
                      </a:r>
                      <a:endParaRPr sz="936">
                        <a:solidFill>
                          <a:schemeClr val="lt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p:txBody>
                </p:sp>
                <p:sp>
                  <p:nvSpPr>
                    <p:cNvPr id="272" name="Google Shape;272;p2"/>
                    <p:cNvSpPr/>
                    <p:nvPr/>
                  </p:nvSpPr>
                  <p:spPr>
                    <a:xfrm>
                      <a:off x="2594449" y="2878767"/>
                      <a:ext cx="144000" cy="144000"/>
                    </a:xfrm>
                    <a:prstGeom prst="ellipse">
                      <a:avLst/>
                    </a:prstGeom>
                    <a:solidFill>
                      <a:srgbClr val="5FC4E1"/>
                    </a:solidFill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r>
                        <a:rPr lang="ru-RU" sz="936" b="1" dirty="0">
                          <a:solidFill>
                            <a:srgbClr val="FFFFFF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rPr>
                        <a:t>1</a:t>
                      </a:r>
                      <a:endParaRPr sz="936" dirty="0">
                        <a:solidFill>
                          <a:schemeClr val="lt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p:txBody>
                </p:sp>
              </p:grpSp>
              <p:grpSp>
                <p:nvGrpSpPr>
                  <p:cNvPr id="275" name="Google Shape;275;p2"/>
                  <p:cNvGrpSpPr/>
                  <p:nvPr/>
                </p:nvGrpSpPr>
                <p:grpSpPr>
                  <a:xfrm>
                    <a:off x="3349967" y="3007518"/>
                    <a:ext cx="308039" cy="144000"/>
                    <a:chOff x="3363237" y="2924907"/>
                    <a:chExt cx="308039" cy="144000"/>
                  </a:xfrm>
                </p:grpSpPr>
                <p:sp>
                  <p:nvSpPr>
                    <p:cNvPr id="276" name="Google Shape;276;p2"/>
                    <p:cNvSpPr/>
                    <p:nvPr/>
                  </p:nvSpPr>
                  <p:spPr>
                    <a:xfrm>
                      <a:off x="3527276" y="2924907"/>
                      <a:ext cx="144000" cy="144000"/>
                    </a:xfrm>
                    <a:prstGeom prst="ellipse">
                      <a:avLst/>
                    </a:pr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r>
                        <a:rPr lang="ru-RU" sz="936" b="1">
                          <a:solidFill>
                            <a:srgbClr val="FFFFFF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rPr>
                        <a:t>2</a:t>
                      </a:r>
                      <a:endParaRPr sz="936">
                        <a:solidFill>
                          <a:schemeClr val="lt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p:txBody>
                </p:sp>
                <p:sp>
                  <p:nvSpPr>
                    <p:cNvPr id="277" name="Google Shape;277;p2"/>
                    <p:cNvSpPr/>
                    <p:nvPr/>
                  </p:nvSpPr>
                  <p:spPr>
                    <a:xfrm>
                      <a:off x="3363237" y="2924907"/>
                      <a:ext cx="144000" cy="144000"/>
                    </a:xfrm>
                    <a:prstGeom prst="ellipse">
                      <a:avLst/>
                    </a:prstGeom>
                    <a:solidFill>
                      <a:srgbClr val="5FC4E1"/>
                    </a:solidFill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r>
                        <a:rPr lang="ru-RU" sz="936" b="1" dirty="0">
                          <a:solidFill>
                            <a:srgbClr val="FFFFFF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rPr>
                        <a:t>2</a:t>
                      </a:r>
                      <a:endParaRPr sz="936" dirty="0">
                        <a:solidFill>
                          <a:schemeClr val="lt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p:txBody>
                </p:sp>
              </p:grpSp>
              <p:grpSp>
                <p:nvGrpSpPr>
                  <p:cNvPr id="280" name="Google Shape;280;p2"/>
                  <p:cNvGrpSpPr/>
                  <p:nvPr/>
                </p:nvGrpSpPr>
                <p:grpSpPr>
                  <a:xfrm>
                    <a:off x="2425688" y="2924445"/>
                    <a:ext cx="299965" cy="144251"/>
                    <a:chOff x="2275460" y="2937826"/>
                    <a:chExt cx="299965" cy="144251"/>
                  </a:xfrm>
                </p:grpSpPr>
                <p:sp>
                  <p:nvSpPr>
                    <p:cNvPr id="281" name="Google Shape;281;p2"/>
                    <p:cNvSpPr/>
                    <p:nvPr/>
                  </p:nvSpPr>
                  <p:spPr>
                    <a:xfrm>
                      <a:off x="2431425" y="2938077"/>
                      <a:ext cx="144000" cy="144000"/>
                    </a:xfrm>
                    <a:prstGeom prst="ellipse">
                      <a:avLst/>
                    </a:pr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r>
                        <a:rPr lang="ru-RU" sz="936" b="1">
                          <a:solidFill>
                            <a:srgbClr val="FFFFFF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rPr>
                        <a:t>1</a:t>
                      </a:r>
                      <a:endParaRPr sz="936">
                        <a:solidFill>
                          <a:schemeClr val="lt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p:txBody>
                </p:sp>
                <p:sp>
                  <p:nvSpPr>
                    <p:cNvPr id="282" name="Google Shape;282;p2"/>
                    <p:cNvSpPr/>
                    <p:nvPr/>
                  </p:nvSpPr>
                  <p:spPr>
                    <a:xfrm>
                      <a:off x="2275460" y="2937826"/>
                      <a:ext cx="144000" cy="144000"/>
                    </a:xfrm>
                    <a:prstGeom prst="ellipse">
                      <a:avLst/>
                    </a:prstGeom>
                    <a:solidFill>
                      <a:srgbClr val="5FC4E1"/>
                    </a:solidFill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r>
                        <a:rPr lang="ru-RU" sz="936" b="1" dirty="0">
                          <a:solidFill>
                            <a:srgbClr val="FFFFFF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rPr>
                        <a:t>5</a:t>
                      </a:r>
                      <a:endParaRPr sz="936" dirty="0">
                        <a:solidFill>
                          <a:schemeClr val="lt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p:txBody>
                </p:sp>
              </p:grpSp>
              <p:grpSp>
                <p:nvGrpSpPr>
                  <p:cNvPr id="285" name="Google Shape;285;p2"/>
                  <p:cNvGrpSpPr/>
                  <p:nvPr/>
                </p:nvGrpSpPr>
                <p:grpSpPr>
                  <a:xfrm>
                    <a:off x="4101310" y="3678477"/>
                    <a:ext cx="306300" cy="146718"/>
                    <a:chOff x="4027662" y="3623547"/>
                    <a:chExt cx="306300" cy="146717"/>
                  </a:xfrm>
                </p:grpSpPr>
                <p:sp>
                  <p:nvSpPr>
                    <p:cNvPr id="286" name="Google Shape;286;p2"/>
                    <p:cNvSpPr/>
                    <p:nvPr/>
                  </p:nvSpPr>
                  <p:spPr>
                    <a:xfrm>
                      <a:off x="4189962" y="3626264"/>
                      <a:ext cx="144000" cy="144000"/>
                    </a:xfrm>
                    <a:prstGeom prst="ellipse">
                      <a:avLst/>
                    </a:prstGeom>
                    <a:solidFill>
                      <a:schemeClr val="accent6"/>
                    </a:solidFill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r>
                        <a:rPr lang="ru-RU" sz="936" b="1">
                          <a:solidFill>
                            <a:srgbClr val="FFFFFF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rPr>
                        <a:t>4</a:t>
                      </a:r>
                      <a:endParaRPr sz="936">
                        <a:solidFill>
                          <a:schemeClr val="lt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p:txBody>
                </p:sp>
                <p:sp>
                  <p:nvSpPr>
                    <p:cNvPr id="287" name="Google Shape;287;p2"/>
                    <p:cNvSpPr/>
                    <p:nvPr/>
                  </p:nvSpPr>
                  <p:spPr>
                    <a:xfrm>
                      <a:off x="4027662" y="3623547"/>
                      <a:ext cx="144000" cy="144000"/>
                    </a:xfrm>
                    <a:prstGeom prst="ellipse">
                      <a:avLst/>
                    </a:prstGeom>
                    <a:solidFill>
                      <a:srgbClr val="5FC4E1"/>
                    </a:solidFill>
                    <a:ln>
                      <a:noFill/>
                    </a:ln>
                  </p:spPr>
                  <p:txBody>
                    <a:bodyPr spcFirstLastPara="1" wrap="square" lIns="0" tIns="0" rIns="0" bIns="0" anchor="ctr" anchorCtr="0">
                      <a:noAutofit/>
                    </a:bodyPr>
                    <a:lstStyle/>
                    <a:p>
                      <a:pPr algn="ctr"/>
                      <a:r>
                        <a:rPr lang="ru-RU" sz="936" b="1">
                          <a:solidFill>
                            <a:srgbClr val="FFFFFF"/>
                          </a:solidFill>
                          <a:latin typeface="Tahoma"/>
                          <a:ea typeface="Tahoma"/>
                          <a:cs typeface="Tahoma"/>
                          <a:sym typeface="Tahoma"/>
                        </a:rPr>
                        <a:t>1</a:t>
                      </a:r>
                      <a:endParaRPr sz="936">
                        <a:solidFill>
                          <a:schemeClr val="lt1"/>
                        </a:solidFill>
                        <a:latin typeface="Times New Roman"/>
                        <a:ea typeface="Times New Roman"/>
                        <a:cs typeface="Times New Roman"/>
                        <a:sym typeface="Times New Roman"/>
                      </a:endParaRPr>
                    </a:p>
                  </p:txBody>
                </p:sp>
              </p:grpSp>
              <p:sp>
                <p:nvSpPr>
                  <p:cNvPr id="296" name="Google Shape;296;p2"/>
                  <p:cNvSpPr/>
                  <p:nvPr/>
                </p:nvSpPr>
                <p:spPr>
                  <a:xfrm>
                    <a:off x="1800896" y="3020848"/>
                    <a:ext cx="144000" cy="144000"/>
                  </a:xfrm>
                  <a:prstGeom prst="ellipse">
                    <a:avLst/>
                  </a:prstGeom>
                  <a:solidFill>
                    <a:srgbClr val="5FC4E1"/>
                  </a:solidFill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algn="ctr"/>
                    <a:r>
                      <a:rPr lang="ru-RU" sz="936" b="1">
                        <a:solidFill>
                          <a:srgbClr val="FFFFFF"/>
                        </a:solidFill>
                        <a:latin typeface="Tahoma"/>
                        <a:ea typeface="Tahoma"/>
                        <a:cs typeface="Tahoma"/>
                        <a:sym typeface="Tahoma"/>
                      </a:rPr>
                      <a:t>5</a:t>
                    </a:r>
                    <a:endParaRPr sz="936">
                      <a:solidFill>
                        <a:schemeClr val="lt1"/>
                      </a:solidFill>
                      <a:latin typeface="Times New Roman"/>
                      <a:ea typeface="Times New Roman"/>
                      <a:cs typeface="Times New Roman"/>
                      <a:sym typeface="Times New Roman"/>
                    </a:endParaRPr>
                  </a:p>
                </p:txBody>
              </p:sp>
              <p:sp>
                <p:nvSpPr>
                  <p:cNvPr id="299" name="Google Shape;299;p2"/>
                  <p:cNvSpPr/>
                  <p:nvPr/>
                </p:nvSpPr>
                <p:spPr>
                  <a:xfrm>
                    <a:off x="3091740" y="3427474"/>
                    <a:ext cx="144000" cy="144000"/>
                  </a:xfrm>
                  <a:prstGeom prst="ellipse">
                    <a:avLst/>
                  </a:prstGeom>
                  <a:solidFill>
                    <a:srgbClr val="5FC4E1"/>
                  </a:solidFill>
                  <a:ln>
                    <a:noFill/>
                  </a:ln>
                </p:spPr>
                <p:txBody>
                  <a:bodyPr spcFirstLastPara="1" wrap="square" lIns="0" tIns="0" rIns="0" bIns="0" anchor="ctr" anchorCtr="0">
                    <a:noAutofit/>
                  </a:bodyPr>
                  <a:lstStyle/>
                  <a:p>
                    <a:pPr algn="ctr"/>
                    <a:r>
                      <a:rPr lang="ru-RU" sz="936" b="1">
                        <a:solidFill>
                          <a:srgbClr val="FFFFFF"/>
                        </a:solidFill>
                        <a:latin typeface="Tahoma"/>
                        <a:ea typeface="Tahoma"/>
                        <a:cs typeface="Tahoma"/>
                        <a:sym typeface="Tahoma"/>
                      </a:rPr>
                      <a:t>2</a:t>
                    </a:r>
                    <a:endParaRPr sz="936">
                      <a:solidFill>
                        <a:schemeClr val="lt1"/>
                      </a:solidFill>
                      <a:latin typeface="Times New Roman"/>
                      <a:ea typeface="Times New Roman"/>
                      <a:cs typeface="Times New Roman"/>
                      <a:sym typeface="Times New Roman"/>
                    </a:endParaRPr>
                  </a:p>
                </p:txBody>
              </p:sp>
            </p:grpSp>
            <p:sp>
              <p:nvSpPr>
                <p:cNvPr id="302" name="Google Shape;302;p2"/>
                <p:cNvSpPr/>
                <p:nvPr/>
              </p:nvSpPr>
              <p:spPr>
                <a:xfrm>
                  <a:off x="1468730" y="3245828"/>
                  <a:ext cx="149714" cy="158644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0" tIns="0" rIns="0" bIns="0" anchor="ctr" anchorCtr="0">
                  <a:noAutofit/>
                </a:bodyPr>
                <a:lstStyle/>
                <a:p>
                  <a:pPr algn="ctr"/>
                  <a:r>
                    <a:rPr lang="ru-RU" sz="936" b="1">
                      <a:solidFill>
                        <a:srgbClr val="FFFFFF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3</a:t>
                  </a:r>
                  <a:endParaRPr sz="936">
                    <a:solidFill>
                      <a:schemeClr val="lt1"/>
                    </a:solidFill>
                    <a:latin typeface="Times New Roman"/>
                    <a:ea typeface="Times New Roman"/>
                    <a:cs typeface="Times New Roman"/>
                    <a:sym typeface="Times New Roman"/>
                  </a:endParaRPr>
                </a:p>
              </p:txBody>
            </p:sp>
          </p:grpSp>
          <p:sp>
            <p:nvSpPr>
              <p:cNvPr id="304" name="Google Shape;304;p2"/>
              <p:cNvSpPr/>
              <p:nvPr/>
            </p:nvSpPr>
            <p:spPr>
              <a:xfrm>
                <a:off x="1280431" y="3317676"/>
                <a:ext cx="149714" cy="158645"/>
              </a:xfrm>
              <a:prstGeom prst="ellipse">
                <a:avLst/>
              </a:prstGeom>
              <a:solidFill>
                <a:srgbClr val="5FC4E1"/>
              </a:solidFill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 algn="ctr"/>
                <a:r>
                  <a:rPr lang="ru-RU" sz="936" b="1" dirty="0">
                    <a:solidFill>
                      <a:srgbClr val="FFFFFF"/>
                    </a:solidFill>
                    <a:latin typeface="Tahoma"/>
                    <a:ea typeface="Tahoma"/>
                    <a:cs typeface="Tahoma"/>
                    <a:sym typeface="Tahoma"/>
                  </a:rPr>
                  <a:t>3</a:t>
                </a:r>
                <a:endParaRPr sz="936" dirty="0">
                  <a:solidFill>
                    <a:schemeClr val="lt1"/>
                  </a:solidFill>
                  <a:latin typeface="Times New Roman"/>
                  <a:ea typeface="Times New Roman"/>
                  <a:cs typeface="Times New Roman"/>
                  <a:sym typeface="Times New Roman"/>
                </a:endParaRPr>
              </a:p>
            </p:txBody>
          </p:sp>
        </p:grpSp>
        <p:grpSp>
          <p:nvGrpSpPr>
            <p:cNvPr id="308" name="Google Shape;308;p2"/>
            <p:cNvGrpSpPr/>
            <p:nvPr/>
          </p:nvGrpSpPr>
          <p:grpSpPr>
            <a:xfrm>
              <a:off x="10258732" y="4217186"/>
              <a:ext cx="4538929" cy="1077822"/>
              <a:chOff x="5803666" y="2319852"/>
              <a:chExt cx="3242092" cy="769874"/>
            </a:xfrm>
          </p:grpSpPr>
          <p:grpSp>
            <p:nvGrpSpPr>
              <p:cNvPr id="309" name="Google Shape;309;p2"/>
              <p:cNvGrpSpPr/>
              <p:nvPr/>
            </p:nvGrpSpPr>
            <p:grpSpPr>
              <a:xfrm>
                <a:off x="5803666" y="2319852"/>
                <a:ext cx="3242092" cy="245147"/>
                <a:chOff x="219600" y="664346"/>
                <a:chExt cx="3242092" cy="245147"/>
              </a:xfrm>
            </p:grpSpPr>
            <p:sp>
              <p:nvSpPr>
                <p:cNvPr id="310" name="Google Shape;310;p2"/>
                <p:cNvSpPr/>
                <p:nvPr/>
              </p:nvSpPr>
              <p:spPr>
                <a:xfrm>
                  <a:off x="219600" y="727840"/>
                  <a:ext cx="180000" cy="180000"/>
                </a:xfrm>
                <a:prstGeom prst="ellipse">
                  <a:avLst/>
                </a:prstGeom>
                <a:solidFill>
                  <a:srgbClr val="5FC4E1"/>
                </a:solidFill>
                <a:ln>
                  <a:noFill/>
                </a:ln>
              </p:spPr>
              <p:txBody>
                <a:bodyPr spcFirstLastPara="1" wrap="square" lIns="112266" tIns="112266" rIns="112266" bIns="112266" anchor="ctr" anchorCtr="0">
                  <a:noAutofit/>
                </a:bodyPr>
                <a:lstStyle/>
                <a:p>
                  <a:pPr algn="ctr"/>
                  <a:r>
                    <a:rPr lang="ru-RU" sz="1247" b="1" dirty="0">
                      <a:solidFill>
                        <a:srgbClr val="FFFFFF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1</a:t>
                  </a:r>
                  <a:endParaRPr sz="4366" dirty="0">
                    <a:solidFill>
                      <a:schemeClr val="lt1"/>
                    </a:solidFill>
                    <a:latin typeface="Times New Roman"/>
                    <a:ea typeface="Times New Roman"/>
                    <a:cs typeface="Times New Roman"/>
                    <a:sym typeface="Times New Roman"/>
                  </a:endParaRPr>
                </a:p>
              </p:txBody>
            </p:sp>
            <p:sp>
              <p:nvSpPr>
                <p:cNvPr id="311" name="Google Shape;311;p2"/>
                <p:cNvSpPr txBox="1"/>
                <p:nvPr/>
              </p:nvSpPr>
              <p:spPr>
                <a:xfrm>
                  <a:off x="467892" y="664346"/>
                  <a:ext cx="2993800" cy="24514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112266" tIns="112266" rIns="112266" bIns="112266" anchor="t" anchorCtr="0">
                  <a:spAutoFit/>
                </a:bodyPr>
                <a:lstStyle/>
                <a:p>
                  <a:r>
                    <a:rPr lang="ru-RU" sz="1636" dirty="0">
                      <a:solidFill>
                        <a:schemeClr val="dk1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LEED – </a:t>
                  </a:r>
                  <a:r>
                    <a:rPr lang="ru-RU" sz="1636" b="1" dirty="0">
                      <a:solidFill>
                        <a:schemeClr val="dk1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150 проектов </a:t>
                  </a:r>
                  <a:r>
                    <a:rPr lang="ru-RU" sz="1636" dirty="0">
                      <a:solidFill>
                        <a:schemeClr val="dk1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(в </a:t>
                  </a:r>
                  <a:r>
                    <a:rPr lang="ru-RU" sz="1636" dirty="0" err="1">
                      <a:solidFill>
                        <a:schemeClr val="dk1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т.ч</a:t>
                  </a:r>
                  <a:r>
                    <a:rPr lang="ru-RU" sz="1636" dirty="0">
                      <a:solidFill>
                        <a:schemeClr val="dk1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. — 31 жилых)</a:t>
                  </a:r>
                  <a:endParaRPr sz="3929" dirty="0"/>
                </a:p>
              </p:txBody>
            </p:sp>
          </p:grpSp>
          <p:grpSp>
            <p:nvGrpSpPr>
              <p:cNvPr id="312" name="Google Shape;312;p2"/>
              <p:cNvGrpSpPr/>
              <p:nvPr/>
            </p:nvGrpSpPr>
            <p:grpSpPr>
              <a:xfrm>
                <a:off x="5803666" y="2582215"/>
                <a:ext cx="3213108" cy="245147"/>
                <a:chOff x="222942" y="908218"/>
                <a:chExt cx="3213108" cy="245147"/>
              </a:xfrm>
            </p:grpSpPr>
            <p:sp>
              <p:nvSpPr>
                <p:cNvPr id="313" name="Google Shape;313;p2"/>
                <p:cNvSpPr/>
                <p:nvPr/>
              </p:nvSpPr>
              <p:spPr>
                <a:xfrm>
                  <a:off x="222942" y="971712"/>
                  <a:ext cx="180000" cy="180000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112266" tIns="112266" rIns="112266" bIns="112266" anchor="ctr" anchorCtr="0">
                  <a:noAutofit/>
                </a:bodyPr>
                <a:lstStyle/>
                <a:p>
                  <a:pPr algn="ctr"/>
                  <a:r>
                    <a:rPr lang="ru-RU" sz="1247" b="1" dirty="0">
                      <a:solidFill>
                        <a:srgbClr val="FFFFFF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1</a:t>
                  </a:r>
                  <a:endParaRPr sz="4366" dirty="0">
                    <a:solidFill>
                      <a:schemeClr val="lt1"/>
                    </a:solidFill>
                    <a:latin typeface="Times New Roman"/>
                    <a:ea typeface="Times New Roman"/>
                    <a:cs typeface="Times New Roman"/>
                    <a:sym typeface="Times New Roman"/>
                  </a:endParaRPr>
                </a:p>
              </p:txBody>
            </p:sp>
            <p:sp>
              <p:nvSpPr>
                <p:cNvPr id="314" name="Google Shape;314;p2"/>
                <p:cNvSpPr txBox="1"/>
                <p:nvPr/>
              </p:nvSpPr>
              <p:spPr>
                <a:xfrm>
                  <a:off x="471234" y="908218"/>
                  <a:ext cx="2964816" cy="24514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112266" tIns="112266" rIns="112266" bIns="112266" anchor="t" anchorCtr="0">
                  <a:spAutoFit/>
                </a:bodyPr>
                <a:lstStyle/>
                <a:p>
                  <a:r>
                    <a:rPr lang="ru-RU" sz="1636" dirty="0">
                      <a:solidFill>
                        <a:schemeClr val="dk1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BREEAM – </a:t>
                  </a:r>
                  <a:r>
                    <a:rPr lang="ru-RU" sz="1636" b="1" dirty="0">
                      <a:solidFill>
                        <a:schemeClr val="dk1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201 проект </a:t>
                  </a:r>
                  <a:r>
                    <a:rPr lang="ru-RU" sz="1636" dirty="0">
                      <a:solidFill>
                        <a:schemeClr val="dk1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(в </a:t>
                  </a:r>
                  <a:r>
                    <a:rPr lang="ru-RU" sz="1636" dirty="0" err="1">
                      <a:solidFill>
                        <a:schemeClr val="dk1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т.ч</a:t>
                  </a:r>
                  <a:r>
                    <a:rPr lang="ru-RU" sz="1636" dirty="0">
                      <a:solidFill>
                        <a:schemeClr val="dk1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. — 10 жилых)</a:t>
                  </a:r>
                  <a:endParaRPr sz="3929" dirty="0"/>
                </a:p>
              </p:txBody>
            </p:sp>
          </p:grpSp>
          <p:grpSp>
            <p:nvGrpSpPr>
              <p:cNvPr id="315" name="Google Shape;315;p2"/>
              <p:cNvGrpSpPr/>
              <p:nvPr/>
            </p:nvGrpSpPr>
            <p:grpSpPr>
              <a:xfrm>
                <a:off x="5803666" y="2844579"/>
                <a:ext cx="1594348" cy="245147"/>
                <a:chOff x="219600" y="1156555"/>
                <a:chExt cx="1594348" cy="245147"/>
              </a:xfrm>
            </p:grpSpPr>
            <p:sp>
              <p:nvSpPr>
                <p:cNvPr id="316" name="Google Shape;316;p2"/>
                <p:cNvSpPr/>
                <p:nvPr/>
              </p:nvSpPr>
              <p:spPr>
                <a:xfrm>
                  <a:off x="219600" y="1220049"/>
                  <a:ext cx="180000" cy="180000"/>
                </a:xfrm>
                <a:prstGeom prst="ellipse">
                  <a:avLst/>
                </a:pr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112266" tIns="112266" rIns="112266" bIns="112266" anchor="ctr" anchorCtr="0">
                  <a:noAutofit/>
                </a:bodyPr>
                <a:lstStyle/>
                <a:p>
                  <a:pPr algn="ctr"/>
                  <a:r>
                    <a:rPr lang="ru-RU" sz="1247" b="1">
                      <a:solidFill>
                        <a:srgbClr val="FFFFFF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1</a:t>
                  </a:r>
                  <a:endParaRPr sz="4366">
                    <a:solidFill>
                      <a:schemeClr val="lt1"/>
                    </a:solidFill>
                    <a:latin typeface="Times New Roman"/>
                    <a:ea typeface="Times New Roman"/>
                    <a:cs typeface="Times New Roman"/>
                    <a:sym typeface="Times New Roman"/>
                  </a:endParaRPr>
                </a:p>
              </p:txBody>
            </p:sp>
            <p:sp>
              <p:nvSpPr>
                <p:cNvPr id="317" name="Google Shape;317;p2"/>
                <p:cNvSpPr txBox="1"/>
                <p:nvPr/>
              </p:nvSpPr>
              <p:spPr>
                <a:xfrm>
                  <a:off x="467892" y="1156555"/>
                  <a:ext cx="1346056" cy="24514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112266" tIns="112266" rIns="112266" bIns="112266" anchor="t" anchorCtr="0">
                  <a:spAutoFit/>
                </a:bodyPr>
                <a:lstStyle/>
                <a:p>
                  <a:r>
                    <a:rPr lang="ru-RU" sz="1636">
                      <a:solidFill>
                        <a:schemeClr val="dk1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DGNB – </a:t>
                  </a:r>
                  <a:r>
                    <a:rPr lang="ru-RU" sz="1636" b="1">
                      <a:solidFill>
                        <a:schemeClr val="dk1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2 проекта</a:t>
                  </a:r>
                  <a:endParaRPr sz="3929"/>
                </a:p>
              </p:txBody>
            </p:sp>
          </p:grpSp>
        </p:grpSp>
        <p:sp>
          <p:nvSpPr>
            <p:cNvPr id="220" name="TextBox 219"/>
            <p:cNvSpPr txBox="1"/>
            <p:nvPr/>
          </p:nvSpPr>
          <p:spPr>
            <a:xfrm>
              <a:off x="2074016" y="7569367"/>
              <a:ext cx="11911012" cy="413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rgbClr val="C00000"/>
                </a:buClr>
                <a:buSzPts val="1800"/>
              </a:pPr>
              <a:r>
                <a:rPr lang="ru-RU" sz="1871" b="1" dirty="0">
                  <a:solidFill>
                    <a:schemeClr val="accent6"/>
                  </a:solidFill>
                  <a:latin typeface="Tahoma"/>
                  <a:ea typeface="Tahoma"/>
                  <a:cs typeface="Tahoma"/>
                </a:rPr>
                <a:t>Более 350 зданий в России подали заявку на сертификат одного из международных стандартов зеленого строительства, из них – </a:t>
              </a:r>
              <a:r>
                <a:rPr lang="en-US" sz="1871" b="1" dirty="0">
                  <a:solidFill>
                    <a:schemeClr val="accent6"/>
                  </a:solidFill>
                  <a:latin typeface="Tahoma"/>
                  <a:ea typeface="Tahoma"/>
                  <a:cs typeface="Tahoma"/>
                </a:rPr>
                <a:t>41</a:t>
              </a:r>
              <a:r>
                <a:rPr lang="ru-RU" sz="1871" b="1" dirty="0">
                  <a:solidFill>
                    <a:schemeClr val="accent6"/>
                  </a:solidFill>
                  <a:latin typeface="Tahoma"/>
                  <a:ea typeface="Tahoma"/>
                  <a:cs typeface="Tahoma"/>
                </a:rPr>
                <a:t> жилое</a:t>
              </a:r>
              <a:r>
                <a:rPr lang="en-US" sz="1871" b="1" dirty="0">
                  <a:solidFill>
                    <a:schemeClr val="accent6"/>
                  </a:solidFill>
                  <a:latin typeface="Tahoma"/>
                  <a:ea typeface="Tahoma"/>
                  <a:cs typeface="Tahoma"/>
                </a:rPr>
                <a:t>. </a:t>
              </a:r>
              <a:r>
                <a:rPr lang="ru-RU" sz="1871" b="1" dirty="0">
                  <a:solidFill>
                    <a:schemeClr val="accent6"/>
                  </a:solidFill>
                  <a:latin typeface="Tahoma"/>
                  <a:ea typeface="Tahoma"/>
                  <a:cs typeface="Tahoma"/>
                </a:rPr>
                <a:t>Прошли проверку и получили сертификат всего 8 жилых зданий</a:t>
              </a:r>
              <a:r>
                <a:rPr lang="ru-RU" sz="1871" b="1" baseline="30000" dirty="0">
                  <a:solidFill>
                    <a:schemeClr val="accent6"/>
                  </a:solidFill>
                  <a:latin typeface="Tahoma"/>
                  <a:ea typeface="Tahoma"/>
                  <a:cs typeface="Tahoma"/>
                </a:rPr>
                <a:t>3</a:t>
              </a:r>
            </a:p>
          </p:txBody>
        </p:sp>
        <p:sp>
          <p:nvSpPr>
            <p:cNvPr id="222" name="TextBox 221"/>
            <p:cNvSpPr txBox="1"/>
            <p:nvPr/>
          </p:nvSpPr>
          <p:spPr>
            <a:xfrm>
              <a:off x="2086186" y="8208033"/>
              <a:ext cx="11950989" cy="1204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Источники: </a:t>
              </a:r>
              <a:r>
                <a:rPr lang="en-US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LEED</a:t>
              </a:r>
              <a:r>
                <a:rPr lang="ru-RU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en-GB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ttps://www.usgbc.org/projects/</a:t>
              </a:r>
              <a:r>
                <a:rPr lang="ru-RU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</a:t>
              </a:r>
              <a:r>
                <a:rPr lang="en-US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REEAM</a:t>
              </a:r>
              <a:r>
                <a:rPr lang="ru-RU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en-GB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ttps://tools.breeam.com/projects/explore/buildings.jsp</a:t>
              </a:r>
              <a:r>
                <a:rPr lang="ru-RU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</a:t>
              </a:r>
              <a:r>
                <a:rPr lang="en-US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GNB</a:t>
              </a:r>
              <a:r>
                <a:rPr lang="ru-RU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en-GB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ttps://www.dgnb-system.de/en/projects/</a:t>
              </a:r>
              <a:r>
                <a:rPr lang="ru-RU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</a:p>
          </p:txBody>
        </p:sp>
        <p:sp>
          <p:nvSpPr>
            <p:cNvPr id="223" name="TextBox 222"/>
            <p:cNvSpPr txBox="1"/>
            <p:nvPr/>
          </p:nvSpPr>
          <p:spPr>
            <a:xfrm>
              <a:off x="2086183" y="8058117"/>
              <a:ext cx="11949344" cy="1204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(3)</a:t>
              </a:r>
              <a:r>
                <a:rPr lang="en-US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5 зданий, получивших сертификат </a:t>
              </a:r>
              <a:r>
                <a:rPr lang="en-US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LEED</a:t>
              </a:r>
              <a:r>
                <a:rPr lang="ru-RU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– в Москве. Здания, получивших сертификат </a:t>
              </a:r>
              <a:r>
                <a:rPr lang="en-US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REEAM</a:t>
              </a:r>
              <a:r>
                <a:rPr lang="ru-RU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:</a:t>
              </a:r>
              <a:r>
                <a:rPr lang="en-US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2 </a:t>
              </a:r>
              <a:r>
                <a:rPr lang="ru-RU" sz="1091" dirty="0">
                  <a:solidFill>
                    <a:schemeClr val="bg1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– в Сочи и 1 – в Казани.</a:t>
              </a:r>
            </a:p>
          </p:txBody>
        </p:sp>
        <p:sp>
          <p:nvSpPr>
            <p:cNvPr id="225" name="Заголовок 2"/>
            <p:cNvSpPr txBox="1">
              <a:spLocks/>
            </p:cNvSpPr>
            <p:nvPr/>
          </p:nvSpPr>
          <p:spPr bwMode="auto">
            <a:xfrm>
              <a:off x="6872541" y="5651750"/>
              <a:ext cx="1085567" cy="1681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Тюменская обл.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26" name="Заголовок 2"/>
            <p:cNvSpPr txBox="1">
              <a:spLocks/>
            </p:cNvSpPr>
            <p:nvPr/>
          </p:nvSpPr>
          <p:spPr bwMode="auto">
            <a:xfrm>
              <a:off x="4801610" y="4789574"/>
              <a:ext cx="1353619" cy="2441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Нижегородская обл.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28" name="Заголовок 2"/>
            <p:cNvSpPr txBox="1">
              <a:spLocks/>
            </p:cNvSpPr>
            <p:nvPr/>
          </p:nvSpPr>
          <p:spPr bwMode="auto">
            <a:xfrm>
              <a:off x="4346671" y="4972161"/>
              <a:ext cx="753850" cy="2368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Мордовия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29" name="Заголовок 2"/>
            <p:cNvSpPr txBox="1">
              <a:spLocks/>
            </p:cNvSpPr>
            <p:nvPr/>
          </p:nvSpPr>
          <p:spPr bwMode="auto">
            <a:xfrm>
              <a:off x="4095912" y="5500214"/>
              <a:ext cx="876351" cy="2452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Волгоград-</a:t>
              </a:r>
              <a:r>
                <a:rPr lang="ru-RU" sz="936" b="1" dirty="0" err="1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ская</a:t>
              </a:r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 обл.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31" name="Заголовок 2"/>
            <p:cNvSpPr txBox="1">
              <a:spLocks/>
            </p:cNvSpPr>
            <p:nvPr/>
          </p:nvSpPr>
          <p:spPr bwMode="auto">
            <a:xfrm>
              <a:off x="4787787" y="5603346"/>
              <a:ext cx="757884" cy="1983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Самарская обл.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32" name="Заголовок 2"/>
            <p:cNvSpPr txBox="1">
              <a:spLocks/>
            </p:cNvSpPr>
            <p:nvPr/>
          </p:nvSpPr>
          <p:spPr bwMode="auto">
            <a:xfrm>
              <a:off x="5433762" y="5749829"/>
              <a:ext cx="892462" cy="3089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Башкортостан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34" name="Заголовок 2"/>
            <p:cNvSpPr txBox="1">
              <a:spLocks/>
            </p:cNvSpPr>
            <p:nvPr/>
          </p:nvSpPr>
          <p:spPr bwMode="auto">
            <a:xfrm>
              <a:off x="5849581" y="5012750"/>
              <a:ext cx="1136127" cy="2306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Пермский край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35" name="Заголовок 2"/>
            <p:cNvSpPr txBox="1">
              <a:spLocks/>
            </p:cNvSpPr>
            <p:nvPr/>
          </p:nvSpPr>
          <p:spPr bwMode="auto">
            <a:xfrm>
              <a:off x="4526941" y="4336009"/>
              <a:ext cx="687842" cy="2038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Москва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37" name="Заголовок 2"/>
            <p:cNvSpPr txBox="1">
              <a:spLocks/>
            </p:cNvSpPr>
            <p:nvPr/>
          </p:nvSpPr>
          <p:spPr bwMode="auto">
            <a:xfrm>
              <a:off x="4482206" y="4556885"/>
              <a:ext cx="391859" cy="1544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МО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38" name="Заголовок 2"/>
            <p:cNvSpPr txBox="1">
              <a:spLocks/>
            </p:cNvSpPr>
            <p:nvPr/>
          </p:nvSpPr>
          <p:spPr bwMode="auto">
            <a:xfrm>
              <a:off x="4429236" y="3339691"/>
              <a:ext cx="1802332" cy="1687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Санкт-Петербург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41" name="Заголовок 2"/>
            <p:cNvSpPr txBox="1">
              <a:spLocks/>
            </p:cNvSpPr>
            <p:nvPr/>
          </p:nvSpPr>
          <p:spPr bwMode="auto">
            <a:xfrm>
              <a:off x="4760068" y="3664101"/>
              <a:ext cx="480108" cy="1623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ЛО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42" name="Заголовок 2"/>
            <p:cNvSpPr txBox="1">
              <a:spLocks/>
            </p:cNvSpPr>
            <p:nvPr/>
          </p:nvSpPr>
          <p:spPr bwMode="auto">
            <a:xfrm>
              <a:off x="3910874" y="4045101"/>
              <a:ext cx="979448" cy="1940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Тверская обл.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48" name="Заголовок 2"/>
            <p:cNvSpPr txBox="1">
              <a:spLocks/>
            </p:cNvSpPr>
            <p:nvPr/>
          </p:nvSpPr>
          <p:spPr bwMode="auto">
            <a:xfrm>
              <a:off x="2086184" y="5622229"/>
              <a:ext cx="1454076" cy="224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Краснодарский край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52" name="Заголовок 2"/>
            <p:cNvSpPr txBox="1">
              <a:spLocks/>
            </p:cNvSpPr>
            <p:nvPr/>
          </p:nvSpPr>
          <p:spPr bwMode="auto">
            <a:xfrm>
              <a:off x="5222373" y="5210380"/>
              <a:ext cx="835488" cy="1559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Татарстан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56" name="Заголовок 2"/>
            <p:cNvSpPr txBox="1">
              <a:spLocks/>
            </p:cNvSpPr>
            <p:nvPr/>
          </p:nvSpPr>
          <p:spPr bwMode="auto">
            <a:xfrm>
              <a:off x="6258469" y="5355394"/>
              <a:ext cx="1191240" cy="2651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Свердловская обл.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57" name="Заголовок 2"/>
            <p:cNvSpPr txBox="1">
              <a:spLocks/>
            </p:cNvSpPr>
            <p:nvPr/>
          </p:nvSpPr>
          <p:spPr bwMode="auto">
            <a:xfrm>
              <a:off x="4069797" y="5252941"/>
              <a:ext cx="1158241" cy="2273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Ульяновская обл.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60" name="Заголовок 2"/>
            <p:cNvSpPr txBox="1">
              <a:spLocks/>
            </p:cNvSpPr>
            <p:nvPr/>
          </p:nvSpPr>
          <p:spPr bwMode="auto">
            <a:xfrm>
              <a:off x="7019576" y="6388034"/>
              <a:ext cx="1409601" cy="2651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Новосибирская  обл.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63" name="Заголовок 2"/>
            <p:cNvSpPr txBox="1">
              <a:spLocks/>
            </p:cNvSpPr>
            <p:nvPr/>
          </p:nvSpPr>
          <p:spPr bwMode="auto">
            <a:xfrm>
              <a:off x="3587767" y="4404307"/>
              <a:ext cx="979450" cy="1940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Калужская обл.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64" name="Заголовок 2"/>
            <p:cNvSpPr txBox="1">
              <a:spLocks/>
            </p:cNvSpPr>
            <p:nvPr/>
          </p:nvSpPr>
          <p:spPr bwMode="auto">
            <a:xfrm>
              <a:off x="3656540" y="4642299"/>
              <a:ext cx="979450" cy="1940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Тульская обл.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65" name="Заголовок 2"/>
            <p:cNvSpPr txBox="1">
              <a:spLocks/>
            </p:cNvSpPr>
            <p:nvPr/>
          </p:nvSpPr>
          <p:spPr bwMode="auto">
            <a:xfrm>
              <a:off x="3246172" y="5388771"/>
              <a:ext cx="1047375" cy="1854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Ростовская обл.</a:t>
              </a:r>
              <a:endParaRPr lang="ru-RU" sz="3119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66" name="Заголовок 2"/>
            <p:cNvSpPr txBox="1">
              <a:spLocks/>
            </p:cNvSpPr>
            <p:nvPr/>
          </p:nvSpPr>
          <p:spPr bwMode="auto">
            <a:xfrm>
              <a:off x="5897510" y="5900593"/>
              <a:ext cx="738125" cy="2651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 err="1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Челябин-ская</a:t>
              </a:r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 обл.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67" name="Заголовок 2"/>
            <p:cNvSpPr txBox="1">
              <a:spLocks/>
            </p:cNvSpPr>
            <p:nvPr/>
          </p:nvSpPr>
          <p:spPr bwMode="auto">
            <a:xfrm>
              <a:off x="3188112" y="5807195"/>
              <a:ext cx="603225" cy="1847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solidFill>
                    <a:schemeClr val="accent1"/>
                  </a:solidFill>
                </a14:hiddenFill>
              </a:ext>
              <a:ext uri="{91240B29-F687-4f45-9708-019B960494DF}">
                <a14:hiddenLine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w16cex="http://schemas.microsoft.com/office/word/2018/wordml/cex" xmlns:w16="http://schemas.microsoft.com/office/word/2018/wordml" xmlns:w16sdtdh="http://schemas.microsoft.com/office/word/2020/wordml/sdtdatahash" xmlns="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arto="http://schemas.microsoft.com/office/word/2006/arto" xmlns:lc="http://schemas.openxmlformats.org/drawingml/2006/lockedCanvas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3E5057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Адыгея</a:t>
              </a:r>
              <a:endParaRPr lang="ru-RU" sz="936" b="1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73" name="Овал 272"/>
            <p:cNvSpPr/>
            <p:nvPr/>
          </p:nvSpPr>
          <p:spPr>
            <a:xfrm>
              <a:off x="3402776" y="4387477"/>
              <a:ext cx="223006" cy="228273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101842" tIns="0" rIns="101842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FFFFFF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1</a:t>
              </a:r>
              <a:endParaRPr lang="ru-RU" sz="936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74" name="Овал 273"/>
            <p:cNvSpPr/>
            <p:nvPr/>
          </p:nvSpPr>
          <p:spPr>
            <a:xfrm>
              <a:off x="3535521" y="4637499"/>
              <a:ext cx="223006" cy="228273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101842" tIns="0" rIns="101842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FFFFFF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2</a:t>
              </a:r>
              <a:endParaRPr lang="ru-RU" sz="936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78" name="Google Shape;258;p2"/>
            <p:cNvSpPr/>
            <p:nvPr/>
          </p:nvSpPr>
          <p:spPr>
            <a:xfrm>
              <a:off x="3138221" y="4396527"/>
              <a:ext cx="219080" cy="224256"/>
            </a:xfrm>
            <a:prstGeom prst="ellipse">
              <a:avLst/>
            </a:prstGeom>
            <a:solidFill>
              <a:srgbClr val="5FC4E1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FFFFFF"/>
                  </a:solidFill>
                  <a:latin typeface="Tahoma"/>
                  <a:ea typeface="Tahoma"/>
                  <a:cs typeface="Tahoma"/>
                  <a:sym typeface="Tahoma"/>
                </a:rPr>
                <a:t>2</a:t>
              </a:r>
              <a:endParaRPr sz="936" dirty="0">
                <a:solidFill>
                  <a:schemeClr val="lt1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  <p:sp>
          <p:nvSpPr>
            <p:cNvPr id="279" name="Google Shape;258;p2"/>
            <p:cNvSpPr/>
            <p:nvPr/>
          </p:nvSpPr>
          <p:spPr>
            <a:xfrm>
              <a:off x="3253669" y="4634103"/>
              <a:ext cx="219080" cy="224256"/>
            </a:xfrm>
            <a:prstGeom prst="ellipse">
              <a:avLst/>
            </a:prstGeom>
            <a:solidFill>
              <a:srgbClr val="5FC4E1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FFFFFF"/>
                  </a:solidFill>
                  <a:latin typeface="Tahoma"/>
                  <a:ea typeface="Tahoma"/>
                  <a:cs typeface="Tahoma"/>
                  <a:sym typeface="Tahoma"/>
                </a:rPr>
                <a:t>1</a:t>
              </a:r>
              <a:endParaRPr sz="936" dirty="0">
                <a:solidFill>
                  <a:schemeClr val="lt1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  <p:sp>
          <p:nvSpPr>
            <p:cNvPr id="283" name="Овал 282"/>
            <p:cNvSpPr/>
            <p:nvPr/>
          </p:nvSpPr>
          <p:spPr>
            <a:xfrm>
              <a:off x="3664837" y="5565281"/>
              <a:ext cx="223006" cy="228273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none" lIns="101842" tIns="0" rIns="101842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FFFFFF"/>
                  </a:solidFill>
                  <a:latin typeface="Tahoma" panose="020B0604030504040204" pitchFamily="34" charset="0"/>
                  <a:ea typeface="Calibri" panose="020F0502020204030204" pitchFamily="34" charset="0"/>
                </a:rPr>
                <a:t>13</a:t>
              </a:r>
              <a:endParaRPr lang="ru-RU" sz="936" dirty="0"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sp>
          <p:nvSpPr>
            <p:cNvPr id="284" name="Google Shape;258;p2"/>
            <p:cNvSpPr/>
            <p:nvPr/>
          </p:nvSpPr>
          <p:spPr>
            <a:xfrm>
              <a:off x="3430405" y="5570703"/>
              <a:ext cx="219080" cy="224256"/>
            </a:xfrm>
            <a:prstGeom prst="ellipse">
              <a:avLst/>
            </a:prstGeom>
            <a:solidFill>
              <a:srgbClr val="5FC4E1"/>
            </a:solidFill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/>
            <a:p>
              <a:pPr algn="ctr"/>
              <a:r>
                <a:rPr lang="ru-RU" sz="936" b="1" dirty="0">
                  <a:solidFill>
                    <a:srgbClr val="FFFFFF"/>
                  </a:solidFill>
                  <a:latin typeface="Tahoma"/>
                  <a:ea typeface="Tahoma"/>
                  <a:cs typeface="Tahoma"/>
                  <a:sym typeface="Tahoma"/>
                </a:rPr>
                <a:t>2</a:t>
              </a:r>
              <a:endParaRPr sz="936" dirty="0">
                <a:solidFill>
                  <a:schemeClr val="lt1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  <p:sp>
          <p:nvSpPr>
            <p:cNvPr id="288" name="TextBox 287"/>
            <p:cNvSpPr txBox="1"/>
            <p:nvPr/>
          </p:nvSpPr>
          <p:spPr>
            <a:xfrm>
              <a:off x="10275889" y="3854882"/>
              <a:ext cx="3008704" cy="246805"/>
            </a:xfrm>
            <a:prstGeom prst="rect">
              <a:avLst/>
            </a:prstGeom>
            <a:noFill/>
          </p:spPr>
          <p:txBody>
            <a:bodyPr wrap="none" lIns="0" rtlCol="0">
              <a:spAutoFit/>
            </a:bodyPr>
            <a:lstStyle/>
            <a:p>
              <a:r>
                <a:rPr lang="ru-RU" sz="1636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Заявки на международную сертификацию</a:t>
              </a:r>
              <a:endParaRPr lang="ru-RU" sz="1636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268" name="Google Shape;318;p2"/>
          <p:cNvSpPr txBox="1">
            <a:spLocks/>
          </p:cNvSpPr>
          <p:nvPr/>
        </p:nvSpPr>
        <p:spPr bwMode="auto">
          <a:xfrm>
            <a:off x="765400" y="472310"/>
            <a:ext cx="17737969" cy="16970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spcFirstLastPara="1" wrap="squar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ahoma"/>
              <a:buNone/>
              <a:defRPr sz="1800" b="1" i="0" u="none" strike="noStrike" cap="none">
                <a:solidFill>
                  <a:schemeClr val="dk1"/>
                </a:solidFill>
                <a:latin typeface="Tahoma"/>
                <a:ea typeface="Tahoma"/>
                <a:cs typeface="Tahoma"/>
                <a:sym typeface="Tahom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z="3676" dirty="0"/>
              <a:t>Зарубежные зеленые стандарты LEED, BREEAM, DGNB</a:t>
            </a:r>
          </a:p>
          <a:p>
            <a:r>
              <a:rPr lang="ru-RU" sz="3676" dirty="0"/>
              <a:t>приостановили деятельность в России </a:t>
            </a:r>
          </a:p>
          <a:p>
            <a:endParaRPr lang="ru-RU" sz="3676" dirty="0"/>
          </a:p>
        </p:txBody>
      </p:sp>
    </p:spTree>
    <p:extLst>
      <p:ext uri="{BB962C8B-B14F-4D97-AF65-F5344CB8AC3E}">
        <p14:creationId xmlns:p14="http://schemas.microsoft.com/office/powerpoint/2010/main" val="22317278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1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302" y="3352"/>
          <a:ext cx="3299" cy="32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22531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02" y="3352"/>
                        <a:ext cx="3299" cy="32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536" name="Заголовок 3"/>
          <p:cNvSpPr txBox="1">
            <a:spLocks/>
          </p:cNvSpPr>
          <p:nvPr/>
        </p:nvSpPr>
        <p:spPr bwMode="auto">
          <a:xfrm>
            <a:off x="728918" y="395157"/>
            <a:ext cx="17726205" cy="4798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18288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2860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27432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2004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r>
              <a:rPr lang="ru-RU" altLang="ru-RU" sz="3118" b="1" dirty="0">
                <a:solidFill>
                  <a:srgbClr val="3E5057"/>
                </a:solidFill>
              </a:rPr>
              <a:t>Национальный стандарт для зеленых МКД </a:t>
            </a: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B5251AC7-F6CE-0A9F-282C-768F19BC3D72}"/>
              </a:ext>
            </a:extLst>
          </p:cNvPr>
          <p:cNvGrpSpPr/>
          <p:nvPr/>
        </p:nvGrpSpPr>
        <p:grpSpPr>
          <a:xfrm>
            <a:off x="9859500" y="5642949"/>
            <a:ext cx="8505083" cy="4549010"/>
            <a:chOff x="4692783" y="2419489"/>
            <a:chExt cx="4090963" cy="607234"/>
          </a:xfrm>
        </p:grpSpPr>
        <p:sp>
          <p:nvSpPr>
            <p:cNvPr id="33" name="TextBox 2">
              <a:extLst>
                <a:ext uri="{FF2B5EF4-FFF2-40B4-BE49-F238E27FC236}">
                  <a16:creationId xmlns:a16="http://schemas.microsoft.com/office/drawing/2014/main" id="{8A7151EA-ACA9-4A80-8FAF-E1429E29E5E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92783" y="2443239"/>
              <a:ext cx="4090963" cy="583484"/>
            </a:xfrm>
            <a:prstGeom prst="rect">
              <a:avLst/>
            </a:prstGeom>
            <a:noFill/>
            <a:ln w="9525">
              <a:solidFill>
                <a:schemeClr val="accent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149688" tIns="280664" rIns="149688" bIns="149688" anchor="ctr">
              <a:noAutofit/>
            </a:bodyPr>
            <a:lstStyle>
              <a:lvl1pPr marL="171450" indent="-171450">
                <a:defRPr sz="1300">
                  <a:solidFill>
                    <a:schemeClr val="tx1"/>
                  </a:solidFill>
                  <a:latin typeface="Tahoma" panose="020B0604030504040204" pitchFamily="34" charset="0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Tahoma" panose="020B0604030504040204" pitchFamily="34" charset="0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Tahoma" panose="020B0604030504040204" pitchFamily="34" charset="0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Tahoma" panose="020B0604030504040204" pitchFamily="34" charset="0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Tahoma" panose="020B0604030504040204" pitchFamily="34" charset="0"/>
                </a:defRPr>
              </a:lvl5pPr>
              <a:lvl6pPr marL="25146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Tahoma" panose="020B0604030504040204" pitchFamily="34" charset="0"/>
                </a:defRPr>
              </a:lvl6pPr>
              <a:lvl7pPr marL="29718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Tahoma" panose="020B0604030504040204" pitchFamily="34" charset="0"/>
                </a:defRPr>
              </a:lvl7pPr>
              <a:lvl8pPr marL="34290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Tahoma" panose="020B0604030504040204" pitchFamily="34" charset="0"/>
                </a:defRPr>
              </a:lvl8pPr>
              <a:lvl9pPr marL="3886200" indent="-228600" defTabSz="685800" eaLnBrk="0" fontAlgn="base" hangingPunct="0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Tahoma" panose="020B0604030504040204" pitchFamily="34" charset="0"/>
                </a:defRPr>
              </a:lvl9pPr>
            </a:lstStyle>
            <a:p>
              <a:pPr marL="493022" indent="-475247">
                <a:spcBef>
                  <a:spcPts val="624"/>
                </a:spcBef>
                <a:buClr>
                  <a:srgbClr val="8FC54C"/>
                </a:buClr>
                <a:buFont typeface="+mj-lt"/>
                <a:buAutoNum type="arabicPeriod"/>
                <a:defRPr/>
              </a:pPr>
              <a:endParaRPr lang="ru-RU" altLang="ru-RU" sz="2079" b="1" dirty="0">
                <a:solidFill>
                  <a:srgbClr val="3E5057"/>
                </a:solidFill>
              </a:endParaRPr>
            </a:p>
            <a:p>
              <a:pPr marL="493022" indent="-475247">
                <a:spcBef>
                  <a:spcPts val="624"/>
                </a:spcBef>
                <a:buClr>
                  <a:srgbClr val="8FC54C"/>
                </a:buClr>
                <a:buFont typeface="+mj-lt"/>
                <a:buAutoNum type="arabicPeriod"/>
                <a:defRPr/>
              </a:pPr>
              <a:endParaRPr lang="ru-RU" altLang="ru-RU" sz="2079" dirty="0">
                <a:solidFill>
                  <a:srgbClr val="3E5057"/>
                </a:solidFill>
              </a:endParaRPr>
            </a:p>
            <a:p>
              <a:pPr marL="493022" indent="-475247">
                <a:spcBef>
                  <a:spcPts val="624"/>
                </a:spcBef>
                <a:buClr>
                  <a:srgbClr val="8FC54C"/>
                </a:buClr>
                <a:buFont typeface="+mj-lt"/>
                <a:buAutoNum type="arabicPeriod"/>
                <a:defRPr/>
              </a:pPr>
              <a:r>
                <a:rPr lang="ru-RU" altLang="ru-RU" sz="2005" dirty="0">
                  <a:solidFill>
                    <a:srgbClr val="3E5057"/>
                  </a:solidFill>
                </a:rPr>
                <a:t>Архитектура и планировка участка</a:t>
              </a:r>
            </a:p>
            <a:p>
              <a:pPr marL="493022" indent="-475247">
                <a:spcBef>
                  <a:spcPts val="624"/>
                </a:spcBef>
                <a:buClr>
                  <a:srgbClr val="8FC54C"/>
                </a:buClr>
                <a:buFont typeface="+mj-lt"/>
                <a:buAutoNum type="arabicPeriod"/>
                <a:defRPr/>
              </a:pPr>
              <a:r>
                <a:rPr lang="ru-RU" altLang="ru-RU" sz="2005" dirty="0">
                  <a:solidFill>
                    <a:srgbClr val="3E5057"/>
                  </a:solidFill>
                </a:rPr>
                <a:t>Организация и управление строительством</a:t>
              </a:r>
            </a:p>
            <a:p>
              <a:pPr marL="493022" indent="-475247">
                <a:spcBef>
                  <a:spcPts val="624"/>
                </a:spcBef>
                <a:buClr>
                  <a:srgbClr val="8FC54C"/>
                </a:buClr>
                <a:buFont typeface="+mj-lt"/>
                <a:buAutoNum type="arabicPeriod"/>
                <a:defRPr/>
              </a:pPr>
              <a:r>
                <a:rPr lang="ru-RU" altLang="ru-RU" sz="2005" dirty="0">
                  <a:solidFill>
                    <a:srgbClr val="3E5057"/>
                  </a:solidFill>
                </a:rPr>
                <a:t>Комфорт и качество внутренней среды</a:t>
              </a:r>
            </a:p>
            <a:p>
              <a:pPr marL="493022" indent="-475247">
                <a:spcBef>
                  <a:spcPts val="624"/>
                </a:spcBef>
                <a:buClr>
                  <a:srgbClr val="8FC54C"/>
                </a:buClr>
                <a:buFont typeface="+mj-lt"/>
                <a:buAutoNum type="arabicPeriod"/>
                <a:defRPr/>
              </a:pPr>
              <a:r>
                <a:rPr lang="ru-RU" altLang="ru-RU" sz="2005" dirty="0">
                  <a:solidFill>
                    <a:srgbClr val="3E5057"/>
                  </a:solidFill>
                </a:rPr>
                <a:t>Энергоэффективность и атмосфера</a:t>
              </a:r>
            </a:p>
            <a:p>
              <a:pPr marL="493022" indent="-475247">
                <a:spcBef>
                  <a:spcPts val="624"/>
                </a:spcBef>
                <a:buClr>
                  <a:srgbClr val="8FC54C"/>
                </a:buClr>
                <a:buFont typeface="+mj-lt"/>
                <a:buAutoNum type="arabicPeriod"/>
                <a:defRPr/>
              </a:pPr>
              <a:r>
                <a:rPr lang="ru-RU" altLang="ru-RU" sz="2005" dirty="0">
                  <a:solidFill>
                    <a:srgbClr val="3E5057"/>
                  </a:solidFill>
                </a:rPr>
                <a:t>Рациональное водопользование</a:t>
              </a:r>
            </a:p>
            <a:p>
              <a:pPr marL="493022" indent="-475247">
                <a:spcBef>
                  <a:spcPts val="624"/>
                </a:spcBef>
                <a:buClr>
                  <a:srgbClr val="8FC54C"/>
                </a:buClr>
                <a:buFont typeface="+mj-lt"/>
                <a:buAutoNum type="arabicPeriod"/>
                <a:defRPr/>
              </a:pPr>
              <a:r>
                <a:rPr lang="ru-RU" altLang="ru-RU" sz="2005" dirty="0">
                  <a:solidFill>
                    <a:srgbClr val="3E5057"/>
                  </a:solidFill>
                </a:rPr>
                <a:t>Материалы и </a:t>
              </a:r>
              <a:r>
                <a:rPr lang="ru-RU" altLang="ru-RU" sz="2005" dirty="0" err="1">
                  <a:solidFill>
                    <a:srgbClr val="3E5057"/>
                  </a:solidFill>
                </a:rPr>
                <a:t>ресурсоэффективность</a:t>
              </a:r>
              <a:endParaRPr lang="ru-RU" altLang="ru-RU" sz="2005" dirty="0">
                <a:solidFill>
                  <a:srgbClr val="3E5057"/>
                </a:solidFill>
              </a:endParaRPr>
            </a:p>
            <a:p>
              <a:pPr marL="493022" indent="-475247">
                <a:spcBef>
                  <a:spcPts val="624"/>
                </a:spcBef>
                <a:buClr>
                  <a:srgbClr val="8FC54C"/>
                </a:buClr>
                <a:buFont typeface="+mj-lt"/>
                <a:buAutoNum type="arabicPeriod"/>
                <a:defRPr/>
              </a:pPr>
              <a:r>
                <a:rPr lang="ru-RU" altLang="ru-RU" sz="2005" dirty="0">
                  <a:solidFill>
                    <a:srgbClr val="3E5057"/>
                  </a:solidFill>
                </a:rPr>
                <a:t>Отходы производства и потребления</a:t>
              </a:r>
            </a:p>
            <a:p>
              <a:pPr marL="493022" indent="-475247">
                <a:spcBef>
                  <a:spcPts val="624"/>
                </a:spcBef>
                <a:buClr>
                  <a:srgbClr val="8FC54C"/>
                </a:buClr>
                <a:buFont typeface="+mj-lt"/>
                <a:buAutoNum type="arabicPeriod"/>
                <a:defRPr/>
              </a:pPr>
              <a:r>
                <a:rPr lang="ru-RU" altLang="ru-RU" sz="2005" dirty="0">
                  <a:solidFill>
                    <a:srgbClr val="3E5057"/>
                  </a:solidFill>
                </a:rPr>
                <a:t>Экологическая безопасность территории</a:t>
              </a:r>
            </a:p>
            <a:p>
              <a:pPr marL="493022" indent="-475247">
                <a:spcBef>
                  <a:spcPts val="624"/>
                </a:spcBef>
                <a:buClr>
                  <a:srgbClr val="8FC54C"/>
                </a:buClr>
                <a:buFont typeface="+mj-lt"/>
                <a:buAutoNum type="arabicPeriod"/>
                <a:defRPr/>
              </a:pPr>
              <a:r>
                <a:rPr lang="ru-RU" altLang="ru-RU" sz="2005" dirty="0">
                  <a:solidFill>
                    <a:srgbClr val="3E5057"/>
                  </a:solidFill>
                </a:rPr>
                <a:t>Безопасность эксплуатации здания</a:t>
              </a:r>
            </a:p>
            <a:p>
              <a:pPr marL="493022" indent="-475247">
                <a:spcBef>
                  <a:spcPts val="624"/>
                </a:spcBef>
                <a:buClr>
                  <a:srgbClr val="8FC54C"/>
                </a:buClr>
                <a:buFont typeface="+mj-lt"/>
                <a:buAutoNum type="arabicPeriod"/>
                <a:defRPr/>
              </a:pPr>
              <a:r>
                <a:rPr lang="ru-RU" altLang="ru-RU" sz="2005" dirty="0">
                  <a:solidFill>
                    <a:srgbClr val="3E5057"/>
                  </a:solidFill>
                </a:rPr>
                <a:t>Инновации устойчивого развития</a:t>
              </a:r>
            </a:p>
            <a:p>
              <a:pPr marL="374210">
                <a:spcBef>
                  <a:spcPts val="624"/>
                </a:spcBef>
                <a:buClr>
                  <a:srgbClr val="8FC54C"/>
                </a:buClr>
                <a:buFont typeface="Wingdings" panose="05000000000000000000" pitchFamily="2" charset="2"/>
                <a:buChar char="§"/>
                <a:defRPr/>
              </a:pPr>
              <a:endParaRPr lang="ru-RU" altLang="ru-RU" sz="2079" b="1" dirty="0">
                <a:solidFill>
                  <a:srgbClr val="3E5057"/>
                </a:solidFill>
              </a:endParaRPr>
            </a:p>
            <a:p>
              <a:pPr marL="374210">
                <a:spcBef>
                  <a:spcPts val="624"/>
                </a:spcBef>
                <a:buClr>
                  <a:srgbClr val="8FC54C"/>
                </a:buClr>
                <a:buFont typeface="Wingdings" panose="05000000000000000000" pitchFamily="2" charset="2"/>
                <a:buChar char="§"/>
                <a:defRPr/>
              </a:pPr>
              <a:endParaRPr lang="ru-RU" altLang="ru-RU" sz="2079" b="1" dirty="0">
                <a:solidFill>
                  <a:srgbClr val="3E5057"/>
                </a:solidFill>
              </a:endParaRPr>
            </a:p>
          </p:txBody>
        </p:sp>
        <p:sp>
          <p:nvSpPr>
            <p:cNvPr id="40" name="Google Shape;82;p4">
              <a:extLst>
                <a:ext uri="{FF2B5EF4-FFF2-40B4-BE49-F238E27FC236}">
                  <a16:creationId xmlns:a16="http://schemas.microsoft.com/office/drawing/2014/main" id="{FC1F36FC-E809-48D3-ACA8-9131BB3D5B15}"/>
                </a:ext>
              </a:extLst>
            </p:cNvPr>
            <p:cNvSpPr/>
            <p:nvPr/>
          </p:nvSpPr>
          <p:spPr>
            <a:xfrm>
              <a:off x="4810987" y="2419489"/>
              <a:ext cx="2314286" cy="469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lIns="0" tIns="0" rIns="0" bIns="0" anchor="ctr">
              <a:spAutoFit/>
            </a:bodyPr>
            <a:lstStyle>
              <a:lvl1pPr>
                <a:defRPr sz="1300">
                  <a:solidFill>
                    <a:schemeClr val="tx1"/>
                  </a:solidFill>
                  <a:latin typeface="Tahoma" panose="020B0604030504040204" pitchFamily="34" charset="0"/>
                </a:defRPr>
              </a:lvl1pPr>
              <a:lvl2pPr marL="742950" indent="-285750">
                <a:defRPr sz="1300">
                  <a:solidFill>
                    <a:schemeClr val="tx1"/>
                  </a:solidFill>
                  <a:latin typeface="Tahoma" panose="020B0604030504040204" pitchFamily="34" charset="0"/>
                </a:defRPr>
              </a:lvl2pPr>
              <a:lvl3pPr marL="1143000" indent="-228600">
                <a:defRPr sz="1300">
                  <a:solidFill>
                    <a:schemeClr val="tx1"/>
                  </a:solidFill>
                  <a:latin typeface="Tahoma" panose="020B0604030504040204" pitchFamily="34" charset="0"/>
                </a:defRPr>
              </a:lvl3pPr>
              <a:lvl4pPr marL="1600200" indent="-228600">
                <a:defRPr sz="1300">
                  <a:solidFill>
                    <a:schemeClr val="tx1"/>
                  </a:solidFill>
                  <a:latin typeface="Tahoma" panose="020B0604030504040204" pitchFamily="34" charset="0"/>
                </a:defRPr>
              </a:lvl4pPr>
              <a:lvl5pPr marL="2057400" indent="-228600">
                <a:defRPr sz="1300">
                  <a:solidFill>
                    <a:schemeClr val="tx1"/>
                  </a:solidFill>
                  <a:latin typeface="Tahoma" panose="020B0604030504040204" pitchFamily="34" charset="0"/>
                </a:defRPr>
              </a:lvl5pPr>
              <a:lvl6pPr marL="2514600" indent="-228600" defTabSz="685800" fontAlgn="base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Tahoma" panose="020B0604030504040204" pitchFamily="34" charset="0"/>
                </a:defRPr>
              </a:lvl6pPr>
              <a:lvl7pPr marL="2971800" indent="-228600" defTabSz="685800" fontAlgn="base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Tahoma" panose="020B0604030504040204" pitchFamily="34" charset="0"/>
                </a:defRPr>
              </a:lvl7pPr>
              <a:lvl8pPr marL="3429000" indent="-228600" defTabSz="685800" fontAlgn="base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Tahoma" panose="020B0604030504040204" pitchFamily="34" charset="0"/>
                </a:defRPr>
              </a:lvl8pPr>
              <a:lvl9pPr marL="3886200" indent="-228600" defTabSz="685800" fontAlgn="base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chemeClr val="tx1"/>
                  </a:solidFill>
                  <a:latin typeface="Tahoma" panose="020B0604030504040204" pitchFamily="34" charset="0"/>
                </a:defRPr>
              </a:lvl9pPr>
            </a:lstStyle>
            <a:p>
              <a:pPr algn="ctr" eaLnBrk="1" hangingPunct="1">
                <a:buClr>
                  <a:srgbClr val="3E5057"/>
                </a:buClr>
                <a:buSzPts val="1200"/>
                <a:buFont typeface="Tahoma" panose="020B0604030504040204" pitchFamily="34" charset="0"/>
                <a:buNone/>
                <a:defRPr/>
              </a:pPr>
              <a:r>
                <a:rPr lang="ru-RU" altLang="ru-RU" sz="2286" b="1" dirty="0">
                  <a:solidFill>
                    <a:srgbClr val="8FC54C"/>
                  </a:solidFill>
                  <a:cs typeface="Tahoma" panose="020B0604030504040204" pitchFamily="34" charset="0"/>
                  <a:sym typeface="Tahoma" panose="020B0604030504040204" pitchFamily="34" charset="0"/>
                </a:rPr>
                <a:t>Категории ГОСТ Р для МКД</a:t>
              </a:r>
              <a:endParaRPr lang="ru-RU" altLang="ru-RU" sz="1871" dirty="0">
                <a:solidFill>
                  <a:srgbClr val="3E5057"/>
                </a:solidFill>
                <a:cs typeface="Tahoma" panose="020B0604030504040204" pitchFamily="34" charset="0"/>
                <a:sym typeface="Tahoma" panose="020B0604030504040204" pitchFamily="34" charset="0"/>
              </a:endParaRP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00CB2F1F-3669-B68C-2ACC-88D0745FE9B6}"/>
              </a:ext>
            </a:extLst>
          </p:cNvPr>
          <p:cNvGrpSpPr/>
          <p:nvPr/>
        </p:nvGrpSpPr>
        <p:grpSpPr>
          <a:xfrm>
            <a:off x="745887" y="1264338"/>
            <a:ext cx="17737969" cy="3903216"/>
            <a:chOff x="358773" y="608125"/>
            <a:chExt cx="8532000" cy="1877455"/>
          </a:xfrm>
        </p:grpSpPr>
        <p:sp>
          <p:nvSpPr>
            <p:cNvPr id="5" name="Прямоугольник: скругленные углы 1">
              <a:extLst>
                <a:ext uri="{FF2B5EF4-FFF2-40B4-BE49-F238E27FC236}">
                  <a16:creationId xmlns:a16="http://schemas.microsoft.com/office/drawing/2014/main" id="{C6A25917-35A9-4458-2C13-49AEE07B933E}"/>
                </a:ext>
              </a:extLst>
            </p:cNvPr>
            <p:cNvSpPr/>
            <p:nvPr/>
          </p:nvSpPr>
          <p:spPr>
            <a:xfrm>
              <a:off x="358773" y="608125"/>
              <a:ext cx="4143729" cy="17329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4844" tIns="74844" rIns="74844" bIns="74844" rtlCol="0" anchor="ctr"/>
            <a:lstStyle/>
            <a:p>
              <a:pPr marL="374208" indent="-374208">
                <a:spcAft>
                  <a:spcPts val="624"/>
                </a:spcAft>
                <a:buClr>
                  <a:schemeClr val="accent6"/>
                </a:buClr>
                <a:buSzPct val="100000"/>
                <a:buFont typeface="Wingdings" pitchFamily="2" charset="2"/>
                <a:buChar char="§"/>
              </a:pPr>
              <a:r>
                <a:rPr lang="ru-RU" sz="2227" b="1" dirty="0">
                  <a:solidFill>
                    <a:schemeClr val="dk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/>
                </a:rPr>
                <a:t>Национальный</a:t>
              </a:r>
              <a:r>
                <a:rPr lang="ru-RU" sz="2227" dirty="0">
                  <a:solidFill>
                    <a:schemeClr val="dk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/>
                </a:rPr>
                <a:t> </a:t>
              </a:r>
              <a:r>
                <a:rPr lang="ru-RU" sz="2227" b="1" dirty="0">
                  <a:solidFill>
                    <a:schemeClr val="dk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/>
                </a:rPr>
                <a:t>стандарт Российской Федерации </a:t>
              </a:r>
              <a:r>
                <a:rPr lang="ru-RU" sz="2227" dirty="0">
                  <a:solidFill>
                    <a:schemeClr val="dk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/>
                </a:rPr>
                <a:t>серии</a:t>
              </a:r>
              <a:r>
                <a:rPr lang="ru-RU" sz="2227" b="1" dirty="0">
                  <a:solidFill>
                    <a:schemeClr val="dk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/>
                </a:rPr>
                <a:t> </a:t>
              </a:r>
              <a:r>
                <a:rPr lang="ru-RU" sz="2227" dirty="0">
                  <a:solidFill>
                    <a:schemeClr val="dk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/>
                </a:rPr>
                <a:t>ГОСТ Р 70346-2022 «Здания многоквартирные жилые «зеленые». Методика оценки и критерии проектирования, строительства и </a:t>
              </a:r>
              <a:r>
                <a:rPr lang="ru-RU" sz="2227" dirty="0">
                  <a:solidFill>
                    <a:schemeClr val="accent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/>
                </a:rPr>
                <a:t>эксплуатации» (ГОСТ Р)</a:t>
              </a:r>
            </a:p>
            <a:p>
              <a:pPr marL="374208" indent="-374208">
                <a:spcAft>
                  <a:spcPts val="624"/>
                </a:spcAft>
                <a:buClr>
                  <a:schemeClr val="accent6"/>
                </a:buClr>
                <a:buSzPct val="100000"/>
                <a:buFont typeface="Wingdings" pitchFamily="2" charset="2"/>
                <a:buChar char="§"/>
              </a:pPr>
              <a:r>
                <a:rPr lang="ru" sz="2227" dirty="0">
                  <a:solidFill>
                    <a:schemeClr val="dk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/>
                </a:rPr>
                <a:t>Призван</a:t>
              </a:r>
              <a:r>
                <a:rPr lang="ru" sz="2227" b="1" dirty="0">
                  <a:solidFill>
                    <a:schemeClr val="dk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/>
                </a:rPr>
                <a:t> заместить зарубежные системы</a:t>
              </a:r>
              <a:endParaRPr lang="ru-RU" sz="2227" b="1" dirty="0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endParaRPr>
            </a:p>
            <a:p>
              <a:pPr marL="374208" indent="-374208">
                <a:spcAft>
                  <a:spcPts val="624"/>
                </a:spcAft>
                <a:buClr>
                  <a:schemeClr val="accent6"/>
                </a:buClr>
                <a:buSzPct val="100000"/>
                <a:buFont typeface="Wingdings" pitchFamily="2" charset="2"/>
                <a:buChar char="§"/>
              </a:pPr>
              <a:r>
                <a:rPr lang="ru-RU" sz="2227" dirty="0">
                  <a:solidFill>
                    <a:schemeClr val="dk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/>
                </a:rPr>
                <a:t>Строительство зеленых зданий относится к </a:t>
              </a:r>
              <a:r>
                <a:rPr lang="ru-RU" sz="2227" b="1" dirty="0">
                  <a:solidFill>
                    <a:schemeClr val="dk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/>
                </a:rPr>
                <a:t>проектам устойчивого (зеленого) развития </a:t>
              </a:r>
              <a:r>
                <a:rPr lang="ru-RU" sz="2227" dirty="0">
                  <a:solidFill>
                    <a:schemeClr val="dk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/>
                </a:rPr>
                <a:t>по</a:t>
              </a:r>
              <a:br>
                <a:rPr lang="ru-RU" sz="2227" dirty="0">
                  <a:solidFill>
                    <a:schemeClr val="dk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/>
                </a:rPr>
              </a:br>
              <a:r>
                <a:rPr lang="ru-RU" sz="2227" dirty="0">
                  <a:solidFill>
                    <a:schemeClr val="dk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Tahoma"/>
                </a:rPr>
                <a:t>Постановлению Правительства РФ № 1587</a:t>
              </a:r>
              <a:endParaRPr lang="ru-RU" sz="2227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6" name="Группа 5">
              <a:extLst>
                <a:ext uri="{FF2B5EF4-FFF2-40B4-BE49-F238E27FC236}">
                  <a16:creationId xmlns:a16="http://schemas.microsoft.com/office/drawing/2014/main" id="{72931A73-E30B-32A5-FB56-9D6C29AC3760}"/>
                </a:ext>
              </a:extLst>
            </p:cNvPr>
            <p:cNvGrpSpPr/>
            <p:nvPr/>
          </p:nvGrpSpPr>
          <p:grpSpPr>
            <a:xfrm>
              <a:off x="4689668" y="608125"/>
              <a:ext cx="4201105" cy="840270"/>
              <a:chOff x="4689668" y="608125"/>
              <a:chExt cx="4201105" cy="840270"/>
            </a:xfrm>
          </p:grpSpPr>
          <p:sp>
            <p:nvSpPr>
              <p:cNvPr id="11" name="Google Shape;73;p17">
                <a:extLst>
                  <a:ext uri="{FF2B5EF4-FFF2-40B4-BE49-F238E27FC236}">
                    <a16:creationId xmlns:a16="http://schemas.microsoft.com/office/drawing/2014/main" id="{FA1A5B34-D319-2FB4-5277-F78B4CC59125}"/>
                  </a:ext>
                </a:extLst>
              </p:cNvPr>
              <p:cNvSpPr/>
              <p:nvPr/>
            </p:nvSpPr>
            <p:spPr>
              <a:xfrm>
                <a:off x="4689668" y="608125"/>
                <a:ext cx="4196507" cy="359999"/>
              </a:xfrm>
              <a:prstGeom prst="roundRect">
                <a:avLst>
                  <a:gd name="adj" fmla="val 0"/>
                </a:avLst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74844" bIns="74844" rtlCol="0" anchor="ctr"/>
              <a:lstStyle/>
              <a:p>
                <a:pPr algn="ctr">
                  <a:spcAft>
                    <a:spcPts val="2495"/>
                  </a:spcAft>
                  <a:buClr>
                    <a:schemeClr val="accent6"/>
                  </a:buClr>
                  <a:buSzPct val="100000"/>
                </a:pPr>
                <a:r>
                  <a:rPr lang="ru-RU" sz="2286" b="1" dirty="0">
                    <a:solidFill>
                      <a:schemeClr val="accent6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  <a:sym typeface="Tahoma"/>
                  </a:rPr>
                  <a:t>При разработке зеленых критериев ГОСТ Р учитывался лучший международный опыт</a:t>
                </a:r>
              </a:p>
            </p:txBody>
          </p:sp>
          <p:sp>
            <p:nvSpPr>
              <p:cNvPr id="12" name="Google Shape;75;p17">
                <a:extLst>
                  <a:ext uri="{FF2B5EF4-FFF2-40B4-BE49-F238E27FC236}">
                    <a16:creationId xmlns:a16="http://schemas.microsoft.com/office/drawing/2014/main" id="{7FA27509-4722-358D-7071-F5B5905A36BB}"/>
                  </a:ext>
                </a:extLst>
              </p:cNvPr>
              <p:cNvSpPr txBox="1"/>
              <p:nvPr/>
            </p:nvSpPr>
            <p:spPr>
              <a:xfrm>
                <a:off x="5104468" y="1028761"/>
                <a:ext cx="3545100" cy="30780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t" anchorCtr="0">
                <a:spAutoFit/>
              </a:bodyPr>
              <a:lstStyle/>
              <a:p>
                <a:pPr>
                  <a:buClr>
                    <a:srgbClr val="000000"/>
                  </a:buClr>
                  <a:buSzPts val="1000"/>
                </a:pPr>
                <a:r>
                  <a:rPr lang="ru" sz="2079" b="1" dirty="0">
                    <a:solidFill>
                      <a:schemeClr val="dk1"/>
                    </a:solidFill>
                    <a:latin typeface="Tahoma"/>
                    <a:ea typeface="Tahoma"/>
                    <a:cs typeface="Tahoma"/>
                    <a:sym typeface="Tahoma"/>
                  </a:rPr>
                  <a:t>BREEAM </a:t>
                </a:r>
              </a:p>
              <a:p>
                <a:pPr>
                  <a:buClr>
                    <a:srgbClr val="000000"/>
                  </a:buClr>
                  <a:buSzPts val="1000"/>
                </a:pPr>
                <a:r>
                  <a:rPr lang="ru" sz="2079" dirty="0">
                    <a:solidFill>
                      <a:schemeClr val="dk1"/>
                    </a:solidFill>
                    <a:latin typeface="Tahoma"/>
                    <a:ea typeface="Tahoma"/>
                    <a:cs typeface="Tahoma"/>
                    <a:sym typeface="Tahoma"/>
                  </a:rPr>
                  <a:t>(Великобритания)</a:t>
                </a:r>
                <a:endParaRPr sz="2079" b="1" dirty="0">
                  <a:solidFill>
                    <a:schemeClr val="dk1"/>
                  </a:solidFill>
                  <a:latin typeface="Tahoma"/>
                  <a:ea typeface="Tahoma"/>
                  <a:cs typeface="Tahoma"/>
                  <a:sym typeface="Tahoma"/>
                </a:endParaRPr>
              </a:p>
            </p:txBody>
          </p:sp>
          <p:pic>
            <p:nvPicPr>
              <p:cNvPr id="13" name="Google Shape;76;p17" descr="Сертификация по стандарту LEED - PM Services sp. z o.o.">
                <a:extLst>
                  <a:ext uri="{FF2B5EF4-FFF2-40B4-BE49-F238E27FC236}">
                    <a16:creationId xmlns:a16="http://schemas.microsoft.com/office/drawing/2014/main" id="{51C9B2E9-6DA9-D1AC-7065-110E191BE637}"/>
                  </a:ext>
                </a:extLst>
              </p:cNvPr>
              <p:cNvPicPr preferRelativeResize="0"/>
              <p:nvPr/>
            </p:nvPicPr>
            <p:blipFill rotWithShape="1">
              <a:blip r:embed="rId7">
                <a:alphaModFix/>
              </a:blip>
              <a:srcRect/>
              <a:stretch/>
            </p:blipFill>
            <p:spPr>
              <a:xfrm>
                <a:off x="4689668" y="1028761"/>
                <a:ext cx="345087" cy="324000"/>
              </a:xfrm>
              <a:prstGeom prst="rect">
                <a:avLst/>
              </a:prstGeom>
              <a:noFill/>
              <a:ln>
                <a:noFill/>
              </a:ln>
            </p:spPr>
          </p:pic>
          <p:grpSp>
            <p:nvGrpSpPr>
              <p:cNvPr id="14" name="Google Shape;77;p17">
                <a:extLst>
                  <a:ext uri="{FF2B5EF4-FFF2-40B4-BE49-F238E27FC236}">
                    <a16:creationId xmlns:a16="http://schemas.microsoft.com/office/drawing/2014/main" id="{83D25943-658B-E741-FD87-9F34C8B221D9}"/>
                  </a:ext>
                </a:extLst>
              </p:cNvPr>
              <p:cNvGrpSpPr/>
              <p:nvPr/>
            </p:nvGrpSpPr>
            <p:grpSpPr>
              <a:xfrm>
                <a:off x="6424147" y="1028761"/>
                <a:ext cx="1165821" cy="419634"/>
                <a:chOff x="2240089" y="2064217"/>
                <a:chExt cx="1165821" cy="419634"/>
              </a:xfrm>
            </p:grpSpPr>
            <p:pic>
              <p:nvPicPr>
                <p:cNvPr id="18" name="Google Shape;78;p17" descr="Система добровольной экологической сертификации LEED - Паркетные полы Косвик">
                  <a:extLst>
                    <a:ext uri="{FF2B5EF4-FFF2-40B4-BE49-F238E27FC236}">
                      <a16:creationId xmlns:a16="http://schemas.microsoft.com/office/drawing/2014/main" id="{0311E19B-4995-CF4D-369D-4C33C52753CE}"/>
                    </a:ext>
                  </a:extLst>
                </p:cNvPr>
                <p:cNvPicPr preferRelativeResize="0"/>
                <p:nvPr/>
              </p:nvPicPr>
              <p:blipFill rotWithShape="1">
                <a:blip r:embed="rId8">
                  <a:alphaModFix/>
                </a:blip>
                <a:srcRect/>
                <a:stretch/>
              </p:blipFill>
              <p:spPr>
                <a:xfrm>
                  <a:off x="2240089" y="2064217"/>
                  <a:ext cx="324000" cy="324000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sp>
              <p:nvSpPr>
                <p:cNvPr id="19" name="Google Shape;79;p17">
                  <a:extLst>
                    <a:ext uri="{FF2B5EF4-FFF2-40B4-BE49-F238E27FC236}">
                      <a16:creationId xmlns:a16="http://schemas.microsoft.com/office/drawing/2014/main" id="{0F254086-E6CD-181F-0E70-1A653E44A3C0}"/>
                    </a:ext>
                  </a:extLst>
                </p:cNvPr>
                <p:cNvSpPr/>
                <p:nvPr/>
              </p:nvSpPr>
              <p:spPr>
                <a:xfrm>
                  <a:off x="2654890" y="2125861"/>
                  <a:ext cx="751020" cy="35799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0" tIns="0" rIns="0" bIns="0" anchor="t" anchorCtr="0">
                  <a:noAutofit/>
                </a:bodyPr>
                <a:lstStyle/>
                <a:p>
                  <a:pPr>
                    <a:buClr>
                      <a:srgbClr val="000000"/>
                    </a:buClr>
                    <a:buSzPts val="1000"/>
                  </a:pPr>
                  <a:r>
                    <a:rPr lang="ru" sz="2079" b="1" dirty="0">
                      <a:solidFill>
                        <a:srgbClr val="3E5057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LEED</a:t>
                  </a:r>
                  <a:r>
                    <a:rPr lang="ru" sz="2079" dirty="0">
                      <a:solidFill>
                        <a:srgbClr val="3E5057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 </a:t>
                  </a:r>
                </a:p>
                <a:p>
                  <a:pPr>
                    <a:buClr>
                      <a:srgbClr val="000000"/>
                    </a:buClr>
                    <a:buSzPts val="1000"/>
                  </a:pPr>
                  <a:r>
                    <a:rPr lang="ru" sz="2079" dirty="0">
                      <a:solidFill>
                        <a:srgbClr val="3E5057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(США)</a:t>
                  </a:r>
                  <a:endParaRPr sz="2910" dirty="0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15" name="Google Shape;80;p17">
                <a:extLst>
                  <a:ext uri="{FF2B5EF4-FFF2-40B4-BE49-F238E27FC236}">
                    <a16:creationId xmlns:a16="http://schemas.microsoft.com/office/drawing/2014/main" id="{0E7AEDAB-F9D4-DDC5-FEF5-1D502E5B8B0C}"/>
                  </a:ext>
                </a:extLst>
              </p:cNvPr>
              <p:cNvGrpSpPr/>
              <p:nvPr/>
            </p:nvGrpSpPr>
            <p:grpSpPr>
              <a:xfrm>
                <a:off x="7700608" y="1044389"/>
                <a:ext cx="1190165" cy="359170"/>
                <a:chOff x="3516550" y="2046218"/>
                <a:chExt cx="1190165" cy="359170"/>
              </a:xfrm>
            </p:grpSpPr>
            <p:pic>
              <p:nvPicPr>
                <p:cNvPr id="16" name="Google Shape;81;p17" descr="DGNB – Blog rund um Nachhaltiges Bauen – architekturmeldungen.de">
                  <a:extLst>
                    <a:ext uri="{FF2B5EF4-FFF2-40B4-BE49-F238E27FC236}">
                      <a16:creationId xmlns:a16="http://schemas.microsoft.com/office/drawing/2014/main" id="{C68C7BDC-6AD1-6771-7AD9-445FB1BF00D4}"/>
                    </a:ext>
                  </a:extLst>
                </p:cNvPr>
                <p:cNvPicPr preferRelativeResize="0"/>
                <p:nvPr/>
              </p:nvPicPr>
              <p:blipFill rotWithShape="1">
                <a:blip r:embed="rId9">
                  <a:alphaModFix/>
                </a:blip>
                <a:srcRect l="14062" t="27947" r="62747" b="27578"/>
                <a:stretch/>
              </p:blipFill>
              <p:spPr>
                <a:xfrm>
                  <a:off x="3516550" y="2046218"/>
                  <a:ext cx="346995" cy="324000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sp>
              <p:nvSpPr>
                <p:cNvPr id="17" name="Google Shape;82;p17">
                  <a:extLst>
                    <a:ext uri="{FF2B5EF4-FFF2-40B4-BE49-F238E27FC236}">
                      <a16:creationId xmlns:a16="http://schemas.microsoft.com/office/drawing/2014/main" id="{FE357420-1CD2-97D5-8124-0A37FD3E7351}"/>
                    </a:ext>
                  </a:extLst>
                </p:cNvPr>
                <p:cNvSpPr/>
                <p:nvPr/>
              </p:nvSpPr>
              <p:spPr>
                <a:xfrm>
                  <a:off x="3931350" y="2097588"/>
                  <a:ext cx="775365" cy="307800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spcFirstLastPara="1" wrap="square" lIns="0" tIns="0" rIns="0" bIns="0" anchor="t" anchorCtr="0">
                  <a:noAutofit/>
                </a:bodyPr>
                <a:lstStyle/>
                <a:p>
                  <a:pPr>
                    <a:buClr>
                      <a:srgbClr val="000000"/>
                    </a:buClr>
                    <a:buSzPts val="1000"/>
                  </a:pPr>
                  <a:r>
                    <a:rPr lang="ru" sz="2079" b="1" dirty="0">
                      <a:solidFill>
                        <a:srgbClr val="3E5057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DGNB</a:t>
                  </a:r>
                  <a:r>
                    <a:rPr lang="ru" sz="2079" dirty="0">
                      <a:solidFill>
                        <a:srgbClr val="3E5057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 </a:t>
                  </a:r>
                </a:p>
                <a:p>
                  <a:pPr>
                    <a:buClr>
                      <a:srgbClr val="000000"/>
                    </a:buClr>
                    <a:buSzPts val="1000"/>
                  </a:pPr>
                  <a:r>
                    <a:rPr lang="ru" sz="2079" dirty="0">
                      <a:solidFill>
                        <a:srgbClr val="3E5057"/>
                      </a:solidFill>
                      <a:latin typeface="Tahoma"/>
                      <a:ea typeface="Tahoma"/>
                      <a:cs typeface="Tahoma"/>
                      <a:sym typeface="Tahoma"/>
                    </a:rPr>
                    <a:t>(Германия)</a:t>
                  </a:r>
                  <a:endParaRPr sz="2079" dirty="0">
                    <a:solidFill>
                      <a:srgbClr val="C00000"/>
                    </a:solidFill>
                    <a:latin typeface="Tahoma"/>
                    <a:ea typeface="Tahoma"/>
                    <a:cs typeface="Tahoma"/>
                    <a:sym typeface="Tahoma"/>
                  </a:endParaRPr>
                </a:p>
              </p:txBody>
            </p:sp>
          </p:grpSp>
        </p:grpSp>
        <p:grpSp>
          <p:nvGrpSpPr>
            <p:cNvPr id="7" name="Группа 6">
              <a:extLst>
                <a:ext uri="{FF2B5EF4-FFF2-40B4-BE49-F238E27FC236}">
                  <a16:creationId xmlns:a16="http://schemas.microsoft.com/office/drawing/2014/main" id="{87F669BB-0D1B-A98E-C062-0E525897A149}"/>
                </a:ext>
              </a:extLst>
            </p:cNvPr>
            <p:cNvGrpSpPr/>
            <p:nvPr/>
          </p:nvGrpSpPr>
          <p:grpSpPr>
            <a:xfrm>
              <a:off x="4689668" y="1488807"/>
              <a:ext cx="4196507" cy="996773"/>
              <a:chOff x="4689668" y="1631243"/>
              <a:chExt cx="4196507" cy="996773"/>
            </a:xfrm>
          </p:grpSpPr>
          <p:sp>
            <p:nvSpPr>
              <p:cNvPr id="8" name="Google Shape;73;p17">
                <a:extLst>
                  <a:ext uri="{FF2B5EF4-FFF2-40B4-BE49-F238E27FC236}">
                    <a16:creationId xmlns:a16="http://schemas.microsoft.com/office/drawing/2014/main" id="{985C7648-3859-EA58-4DB2-40C7031C6706}"/>
                  </a:ext>
                </a:extLst>
              </p:cNvPr>
              <p:cNvSpPr/>
              <p:nvPr/>
            </p:nvSpPr>
            <p:spPr>
              <a:xfrm>
                <a:off x="4689668" y="2043254"/>
                <a:ext cx="2444580" cy="5847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algn="ctr">
                  <a:buClr>
                    <a:srgbClr val="000000"/>
                  </a:buClr>
                  <a:buSzPts val="1000"/>
                </a:pPr>
                <a:r>
                  <a:rPr lang="ru" sz="5821" b="1" dirty="0">
                    <a:solidFill>
                      <a:schemeClr val="accent6"/>
                    </a:solidFill>
                    <a:latin typeface="Tahoma"/>
                    <a:ea typeface="Tahoma"/>
                    <a:cs typeface="Tahoma"/>
                    <a:sym typeface="Tahoma"/>
                  </a:rPr>
                  <a:t>81</a:t>
                </a:r>
                <a:r>
                  <a:rPr lang="ru" sz="2079" b="1" dirty="0">
                    <a:solidFill>
                      <a:schemeClr val="accent6"/>
                    </a:solidFill>
                    <a:latin typeface="Tahoma"/>
                    <a:ea typeface="Tahoma"/>
                    <a:cs typeface="Tahoma"/>
                    <a:sym typeface="Tahoma"/>
                  </a:rPr>
                  <a:t> </a:t>
                </a:r>
                <a:r>
                  <a:rPr lang="ru-RU" sz="2495" b="1" dirty="0">
                    <a:solidFill>
                      <a:schemeClr val="accent6"/>
                    </a:solidFill>
                    <a:latin typeface="Tahoma"/>
                    <a:ea typeface="Tahoma"/>
                    <a:cs typeface="Tahoma"/>
                    <a:sym typeface="Tahoma"/>
                  </a:rPr>
                  <a:t>к</a:t>
                </a:r>
                <a:r>
                  <a:rPr lang="ru" sz="2495" b="1" dirty="0">
                    <a:solidFill>
                      <a:schemeClr val="accent6"/>
                    </a:solidFill>
                    <a:latin typeface="Tahoma"/>
                    <a:ea typeface="Tahoma"/>
                    <a:cs typeface="Tahoma"/>
                    <a:sym typeface="Tahoma"/>
                  </a:rPr>
                  <a:t>ритерий </a:t>
                </a:r>
              </a:p>
              <a:p>
                <a:pPr algn="ctr">
                  <a:buClr>
                    <a:srgbClr val="000000"/>
                  </a:buClr>
                  <a:buSzPts val="1000"/>
                </a:pPr>
                <a:r>
                  <a:rPr lang="ru" sz="2079" dirty="0">
                    <a:solidFill>
                      <a:schemeClr val="accent3"/>
                    </a:solidFill>
                    <a:latin typeface="Tahoma"/>
                    <a:ea typeface="Tahoma"/>
                    <a:cs typeface="Tahoma"/>
                    <a:sym typeface="Tahoma"/>
                  </a:rPr>
                  <a:t>37 обязательны</a:t>
                </a:r>
                <a:r>
                  <a:rPr lang="ru-RU" sz="2079" dirty="0">
                    <a:solidFill>
                      <a:schemeClr val="accent3"/>
                    </a:solidFill>
                    <a:latin typeface="Tahoma"/>
                    <a:ea typeface="Tahoma"/>
                    <a:cs typeface="Tahoma"/>
                    <a:sym typeface="Tahoma"/>
                  </a:rPr>
                  <a:t>х</a:t>
                </a:r>
                <a:r>
                  <a:rPr lang="ru" sz="2079" dirty="0">
                    <a:solidFill>
                      <a:schemeClr val="accent3"/>
                    </a:solidFill>
                    <a:latin typeface="Tahoma"/>
                    <a:ea typeface="Tahoma"/>
                    <a:cs typeface="Tahoma"/>
                    <a:sym typeface="Tahoma"/>
                  </a:rPr>
                  <a:t>        44 добровольных  </a:t>
                </a:r>
              </a:p>
            </p:txBody>
          </p:sp>
          <p:sp>
            <p:nvSpPr>
              <p:cNvPr id="9" name="Google Shape;73;p17">
                <a:extLst>
                  <a:ext uri="{FF2B5EF4-FFF2-40B4-BE49-F238E27FC236}">
                    <a16:creationId xmlns:a16="http://schemas.microsoft.com/office/drawing/2014/main" id="{65F7E04A-BFDB-1D8A-1667-80156C5940E0}"/>
                  </a:ext>
                </a:extLst>
              </p:cNvPr>
              <p:cNvSpPr/>
              <p:nvPr/>
            </p:nvSpPr>
            <p:spPr>
              <a:xfrm>
                <a:off x="4694265" y="1631243"/>
                <a:ext cx="4191910" cy="394867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74844" bIns="74844" rtlCol="0" anchor="ctr"/>
              <a:lstStyle/>
              <a:p>
                <a:pPr algn="ctr">
                  <a:spcAft>
                    <a:spcPts val="2495"/>
                  </a:spcAft>
                  <a:buClr>
                    <a:schemeClr val="accent6"/>
                  </a:buClr>
                  <a:buSzPct val="100000"/>
                </a:pPr>
                <a:r>
                  <a:rPr lang="ru-RU" sz="2079" b="1" dirty="0">
                    <a:solidFill>
                      <a:schemeClr val="dk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  <a:sym typeface="Tahoma"/>
                  </a:rPr>
                  <a:t>ГОСТ Р включает</a:t>
                </a:r>
              </a:p>
            </p:txBody>
          </p:sp>
          <p:sp>
            <p:nvSpPr>
              <p:cNvPr id="10" name="Google Shape;73;p17">
                <a:extLst>
                  <a:ext uri="{FF2B5EF4-FFF2-40B4-BE49-F238E27FC236}">
                    <a16:creationId xmlns:a16="http://schemas.microsoft.com/office/drawing/2014/main" id="{77E04956-1FB0-1C76-69F1-8A7F1F6FB2DD}"/>
                  </a:ext>
                </a:extLst>
              </p:cNvPr>
              <p:cNvSpPr/>
              <p:nvPr/>
            </p:nvSpPr>
            <p:spPr>
              <a:xfrm>
                <a:off x="7025267" y="2052587"/>
                <a:ext cx="1857662" cy="43086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spAutoFit/>
              </a:bodyPr>
              <a:lstStyle/>
              <a:p>
                <a:pPr algn="ctr">
                  <a:buClr>
                    <a:srgbClr val="000000"/>
                  </a:buClr>
                  <a:buSzPts val="1000"/>
                </a:pPr>
                <a:r>
                  <a:rPr lang="ru" sz="5821" b="1" dirty="0">
                    <a:solidFill>
                      <a:schemeClr val="accent6"/>
                    </a:solidFill>
                    <a:ea typeface="Tahoma"/>
                    <a:cs typeface="Tahoma"/>
                    <a:sym typeface="Tahoma"/>
                  </a:rPr>
                  <a:t>10</a:t>
                </a:r>
                <a:r>
                  <a:rPr lang="ru" sz="2495" b="1" dirty="0">
                    <a:solidFill>
                      <a:schemeClr val="accent6"/>
                    </a:solidFill>
                    <a:ea typeface="Tahoma"/>
                    <a:cs typeface="Tahoma"/>
                    <a:sym typeface="Tahoma"/>
                  </a:rPr>
                  <a:t> категорий</a:t>
                </a:r>
                <a:endParaRPr lang="ru-RU" sz="2495" dirty="0">
                  <a:solidFill>
                    <a:schemeClr val="accent6"/>
                  </a:solidFill>
                </a:endParaRPr>
              </a:p>
            </p:txBody>
          </p:sp>
        </p:grpSp>
      </p:grpSp>
      <p:cxnSp>
        <p:nvCxnSpPr>
          <p:cNvPr id="26" name="Прямая соединительная линия 29">
            <a:extLst>
              <a:ext uri="{FF2B5EF4-FFF2-40B4-BE49-F238E27FC236}">
                <a16:creationId xmlns:a16="http://schemas.microsoft.com/office/drawing/2014/main" id="{E91DC696-043E-4B73-9CB7-0CA13D31A268}"/>
              </a:ext>
            </a:extLst>
          </p:cNvPr>
          <p:cNvCxnSpPr>
            <a:cxnSpLocks/>
          </p:cNvCxnSpPr>
          <p:nvPr/>
        </p:nvCxnSpPr>
        <p:spPr>
          <a:xfrm>
            <a:off x="3971358" y="8861395"/>
            <a:ext cx="5385838" cy="14060"/>
          </a:xfrm>
          <a:prstGeom prst="line">
            <a:avLst/>
          </a:prstGeom>
          <a:ln w="9525">
            <a:solidFill>
              <a:schemeClr val="accent6"/>
            </a:solidFill>
            <a:prstDash val="lgDash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56">
            <a:extLst>
              <a:ext uri="{FF2B5EF4-FFF2-40B4-BE49-F238E27FC236}">
                <a16:creationId xmlns:a16="http://schemas.microsoft.com/office/drawing/2014/main" id="{25CE03AA-E4AC-419D-912E-71654D965338}"/>
              </a:ext>
            </a:extLst>
          </p:cNvPr>
          <p:cNvCxnSpPr>
            <a:cxnSpLocks/>
            <a:stCxn id="31" idx="3"/>
          </p:cNvCxnSpPr>
          <p:nvPr/>
        </p:nvCxnSpPr>
        <p:spPr>
          <a:xfrm flipV="1">
            <a:off x="1313682" y="8846463"/>
            <a:ext cx="2631568" cy="14930"/>
          </a:xfrm>
          <a:prstGeom prst="line">
            <a:avLst/>
          </a:prstGeom>
          <a:ln w="9525">
            <a:solidFill>
              <a:schemeClr val="accent6"/>
            </a:solidFill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Oval 39">
            <a:extLst>
              <a:ext uri="{FF2B5EF4-FFF2-40B4-BE49-F238E27FC236}">
                <a16:creationId xmlns:a16="http://schemas.microsoft.com/office/drawing/2014/main" id="{CDC90896-2069-42BC-A06A-7D8CBBEB004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41163" y="8600194"/>
            <a:ext cx="593270" cy="525551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defTabSz="2963271">
              <a:defRPr/>
            </a:pPr>
            <a:r>
              <a:rPr lang="ru-RU" sz="1852" b="1" dirty="0">
                <a:solidFill>
                  <a:srgbClr val="3E5057"/>
                </a:solidFill>
                <a:latin typeface="Tahoma"/>
              </a:rPr>
              <a:t>3</a:t>
            </a:r>
          </a:p>
        </p:txBody>
      </p:sp>
      <p:sp>
        <p:nvSpPr>
          <p:cNvPr id="29" name="Прямоугольник 44">
            <a:extLst>
              <a:ext uri="{FF2B5EF4-FFF2-40B4-BE49-F238E27FC236}">
                <a16:creationId xmlns:a16="http://schemas.microsoft.com/office/drawing/2014/main" id="{7D5D8BB7-86E6-4776-AAAA-6454C4881E78}"/>
              </a:ext>
            </a:extLst>
          </p:cNvPr>
          <p:cNvSpPr/>
          <p:nvPr/>
        </p:nvSpPr>
        <p:spPr>
          <a:xfrm>
            <a:off x="3464264" y="8110347"/>
            <a:ext cx="5834987" cy="285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2963271" fontAlgn="ctr">
              <a:defRPr/>
            </a:pPr>
            <a:r>
              <a:rPr lang="ru-RU" sz="1852" b="1" dirty="0">
                <a:solidFill>
                  <a:srgbClr val="3E5057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2023</a:t>
            </a:r>
          </a:p>
        </p:txBody>
      </p:sp>
      <p:sp>
        <p:nvSpPr>
          <p:cNvPr id="30" name="Прямоугольник 45">
            <a:extLst>
              <a:ext uri="{FF2B5EF4-FFF2-40B4-BE49-F238E27FC236}">
                <a16:creationId xmlns:a16="http://schemas.microsoft.com/office/drawing/2014/main" id="{1273D6FD-0C58-4B48-9E72-90543FB7D37F}"/>
              </a:ext>
            </a:extLst>
          </p:cNvPr>
          <p:cNvSpPr/>
          <p:nvPr/>
        </p:nvSpPr>
        <p:spPr>
          <a:xfrm>
            <a:off x="745887" y="8111162"/>
            <a:ext cx="5834987" cy="285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2963271" fontAlgn="ctr">
              <a:defRPr/>
            </a:pPr>
            <a:r>
              <a:rPr lang="ru-RU" sz="1852" b="1" dirty="0">
                <a:solidFill>
                  <a:srgbClr val="3E5057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9 сентября 2022</a:t>
            </a:r>
          </a:p>
        </p:txBody>
      </p:sp>
      <p:sp>
        <p:nvSpPr>
          <p:cNvPr id="31" name="Oval 39">
            <a:extLst>
              <a:ext uri="{FF2B5EF4-FFF2-40B4-BE49-F238E27FC236}">
                <a16:creationId xmlns:a16="http://schemas.microsoft.com/office/drawing/2014/main" id="{2359100E-DDE2-42C3-A7CF-0A4C4D06850B}"/>
              </a:ext>
            </a:extLst>
          </p:cNvPr>
          <p:cNvSpPr>
            <a:spLocks noChangeArrowheads="1"/>
          </p:cNvSpPr>
          <p:nvPr/>
        </p:nvSpPr>
        <p:spPr bwMode="gray">
          <a:xfrm>
            <a:off x="745889" y="8598621"/>
            <a:ext cx="567792" cy="525549"/>
          </a:xfrm>
          <a:prstGeom prst="rect">
            <a:avLst/>
          </a:prstGeom>
          <a:solidFill>
            <a:schemeClr val="accent6"/>
          </a:solidFill>
          <a:ln w="12700" algn="ctr">
            <a:solidFill>
              <a:schemeClr val="accent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defTabSz="2963271">
              <a:defRPr/>
            </a:pPr>
            <a:r>
              <a:rPr lang="ru-RU" sz="1852" b="1" dirty="0">
                <a:solidFill>
                  <a:prstClr val="white"/>
                </a:solidFill>
                <a:latin typeface="Tahoma"/>
              </a:rPr>
              <a:t>1</a:t>
            </a:r>
          </a:p>
        </p:txBody>
      </p:sp>
      <p:sp>
        <p:nvSpPr>
          <p:cNvPr id="32" name="Прямоугольник 50">
            <a:extLst>
              <a:ext uri="{FF2B5EF4-FFF2-40B4-BE49-F238E27FC236}">
                <a16:creationId xmlns:a16="http://schemas.microsoft.com/office/drawing/2014/main" id="{B1144F55-9F55-4CF5-AAF5-0BD0804F83A3}"/>
              </a:ext>
            </a:extLst>
          </p:cNvPr>
          <p:cNvSpPr/>
          <p:nvPr/>
        </p:nvSpPr>
        <p:spPr>
          <a:xfrm>
            <a:off x="3401506" y="9242839"/>
            <a:ext cx="2454128" cy="9256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2963271" fontAlgn="ctr">
              <a:defRPr/>
            </a:pPr>
            <a:r>
              <a:rPr lang="ru-RU" sz="2005" dirty="0">
                <a:solidFill>
                  <a:srgbClr val="3E5057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Утверждение</a:t>
            </a:r>
            <a:r>
              <a:rPr lang="en-US" sz="2005" dirty="0">
                <a:solidFill>
                  <a:srgbClr val="3E5057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sz="2005" dirty="0">
                <a:solidFill>
                  <a:srgbClr val="3E5057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005" dirty="0">
                <a:solidFill>
                  <a:srgbClr val="3E5057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«зеленого» ГОСТ Р</a:t>
            </a:r>
            <a:r>
              <a:rPr lang="en-US" sz="2005" dirty="0">
                <a:solidFill>
                  <a:srgbClr val="3E5057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sz="2005" dirty="0">
                <a:solidFill>
                  <a:srgbClr val="3E5057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005" b="1" dirty="0">
                <a:solidFill>
                  <a:srgbClr val="8FC54C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для ИЖС</a:t>
            </a:r>
            <a:r>
              <a:rPr lang="ru-RU" sz="2005" b="1" baseline="30000" dirty="0">
                <a:solidFill>
                  <a:srgbClr val="8FC54C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</a:p>
        </p:txBody>
      </p:sp>
      <p:sp>
        <p:nvSpPr>
          <p:cNvPr id="34" name="Прямоугольник 51">
            <a:extLst>
              <a:ext uri="{FF2B5EF4-FFF2-40B4-BE49-F238E27FC236}">
                <a16:creationId xmlns:a16="http://schemas.microsoft.com/office/drawing/2014/main" id="{7D2A8659-8E70-4C54-BEBB-BB40960051EA}"/>
              </a:ext>
            </a:extLst>
          </p:cNvPr>
          <p:cNvSpPr/>
          <p:nvPr/>
        </p:nvSpPr>
        <p:spPr>
          <a:xfrm>
            <a:off x="745888" y="9274908"/>
            <a:ext cx="2512448" cy="9256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2963271" fontAlgn="ctr">
              <a:defRPr/>
            </a:pPr>
            <a:r>
              <a:rPr lang="ru-RU" sz="2005" dirty="0">
                <a:solidFill>
                  <a:srgbClr val="3E5057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Утверждение</a:t>
            </a:r>
            <a:r>
              <a:rPr lang="en-US" sz="2005" dirty="0">
                <a:solidFill>
                  <a:srgbClr val="3E5057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sz="2005" dirty="0">
                <a:solidFill>
                  <a:srgbClr val="3E5057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005" dirty="0">
                <a:solidFill>
                  <a:srgbClr val="3E5057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«зеленого» ГОСТ</a:t>
            </a:r>
            <a:r>
              <a:rPr lang="en-US" sz="2005" dirty="0">
                <a:solidFill>
                  <a:srgbClr val="3E5057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 Р </a:t>
            </a:r>
            <a:r>
              <a:rPr lang="ru-RU" sz="2005" b="1" dirty="0">
                <a:solidFill>
                  <a:srgbClr val="8FC54C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для МКД</a:t>
            </a:r>
          </a:p>
        </p:txBody>
      </p:sp>
      <p:sp>
        <p:nvSpPr>
          <p:cNvPr id="35" name="Прямоугольник 60">
            <a:extLst>
              <a:ext uri="{FF2B5EF4-FFF2-40B4-BE49-F238E27FC236}">
                <a16:creationId xmlns:a16="http://schemas.microsoft.com/office/drawing/2014/main" id="{351BDEA8-DD84-4141-AA32-262A37A65B7E}"/>
              </a:ext>
            </a:extLst>
          </p:cNvPr>
          <p:cNvSpPr/>
          <p:nvPr/>
        </p:nvSpPr>
        <p:spPr>
          <a:xfrm>
            <a:off x="5969026" y="9242841"/>
            <a:ext cx="3901418" cy="9256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2963271" fontAlgn="ctr">
              <a:defRPr/>
            </a:pPr>
            <a:r>
              <a:rPr lang="ru-RU" sz="2005" dirty="0">
                <a:solidFill>
                  <a:srgbClr val="3E5057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Утверждение</a:t>
            </a:r>
            <a:r>
              <a:rPr lang="en-US" sz="2005" dirty="0">
                <a:solidFill>
                  <a:srgbClr val="3E5057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sz="2005" dirty="0">
                <a:solidFill>
                  <a:srgbClr val="3E5057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005" dirty="0">
                <a:solidFill>
                  <a:srgbClr val="3E5057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«зеленого» ГОСТ Р</a:t>
            </a:r>
            <a:endParaRPr lang="en-US" sz="2005" dirty="0">
              <a:solidFill>
                <a:srgbClr val="3E5057"/>
              </a:solidFill>
              <a:latin typeface="Tahoma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2963271" fontAlgn="ctr">
              <a:defRPr/>
            </a:pPr>
            <a:r>
              <a:rPr lang="ru-RU" sz="2005" b="1" dirty="0">
                <a:solidFill>
                  <a:srgbClr val="8FC54C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для капитального ремонта</a:t>
            </a:r>
          </a:p>
        </p:txBody>
      </p:sp>
      <p:sp>
        <p:nvSpPr>
          <p:cNvPr id="38" name="Oval 39">
            <a:extLst>
              <a:ext uri="{FF2B5EF4-FFF2-40B4-BE49-F238E27FC236}">
                <a16:creationId xmlns:a16="http://schemas.microsoft.com/office/drawing/2014/main" id="{CDC90896-2069-42BC-A06A-7D8CBBEB004F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01501" y="8598620"/>
            <a:ext cx="593270" cy="525551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6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defTabSz="2963271">
              <a:defRPr/>
            </a:pPr>
            <a:r>
              <a:rPr lang="en-US" sz="1852" b="1" dirty="0">
                <a:solidFill>
                  <a:srgbClr val="3E5057"/>
                </a:solidFill>
                <a:latin typeface="Tahoma"/>
              </a:rPr>
              <a:t>2</a:t>
            </a:r>
            <a:endParaRPr lang="ru-RU" sz="1852" b="1" dirty="0">
              <a:solidFill>
                <a:srgbClr val="3E5057"/>
              </a:solidFill>
              <a:latin typeface="Tahoma"/>
            </a:endParaRPr>
          </a:p>
        </p:txBody>
      </p:sp>
      <p:sp>
        <p:nvSpPr>
          <p:cNvPr id="39" name="Прямоугольник 44">
            <a:extLst>
              <a:ext uri="{FF2B5EF4-FFF2-40B4-BE49-F238E27FC236}">
                <a16:creationId xmlns:a16="http://schemas.microsoft.com/office/drawing/2014/main" id="{7D5D8BB7-86E6-4776-AAAA-6454C4881E78}"/>
              </a:ext>
            </a:extLst>
          </p:cNvPr>
          <p:cNvSpPr/>
          <p:nvPr/>
        </p:nvSpPr>
        <p:spPr>
          <a:xfrm>
            <a:off x="5941163" y="8131489"/>
            <a:ext cx="5834987" cy="2850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2963271" fontAlgn="ctr">
              <a:defRPr/>
            </a:pPr>
            <a:r>
              <a:rPr lang="ru-RU" sz="1852" b="1" dirty="0">
                <a:solidFill>
                  <a:srgbClr val="3E5057"/>
                </a:solidFill>
                <a:latin typeface="Tahoma"/>
                <a:ea typeface="Tahoma" panose="020B0604030504040204" pitchFamily="34" charset="0"/>
                <a:cs typeface="Tahoma" panose="020B0604030504040204" pitchFamily="34" charset="0"/>
              </a:rPr>
              <a:t>2024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321390" y="6597406"/>
            <a:ext cx="3949958" cy="7848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425681">
              <a:spcBef>
                <a:spcPts val="624"/>
              </a:spcBef>
              <a:buClr>
                <a:srgbClr val="8FC54C"/>
              </a:buClr>
              <a:defRPr/>
            </a:pPr>
            <a:r>
              <a:rPr lang="ru-RU" altLang="ru-RU" sz="1700" b="1" dirty="0">
                <a:solidFill>
                  <a:srgbClr val="3E5057"/>
                </a:solidFill>
                <a:latin typeface="Tahoma"/>
              </a:rPr>
              <a:t>Страница</a:t>
            </a:r>
            <a:r>
              <a:rPr lang="en-US" altLang="ru-RU" sz="1700" b="1" dirty="0">
                <a:solidFill>
                  <a:srgbClr val="3E5057"/>
                </a:solidFill>
                <a:latin typeface="Tahoma"/>
              </a:rPr>
              <a:t> </a:t>
            </a:r>
            <a:r>
              <a:rPr lang="ru-RU" altLang="ru-RU" sz="1700" b="1" dirty="0">
                <a:solidFill>
                  <a:srgbClr val="3E5057"/>
                </a:solidFill>
                <a:latin typeface="Tahoma"/>
              </a:rPr>
              <a:t>зеленого </a:t>
            </a:r>
            <a:r>
              <a:rPr lang="en-US" altLang="ru-RU" sz="1700" b="1" dirty="0">
                <a:solidFill>
                  <a:srgbClr val="3E5057"/>
                </a:solidFill>
                <a:latin typeface="Tahoma"/>
              </a:rPr>
              <a:t/>
            </a:r>
            <a:br>
              <a:rPr lang="en-US" altLang="ru-RU" sz="1700" b="1" dirty="0">
                <a:solidFill>
                  <a:srgbClr val="3E5057"/>
                </a:solidFill>
                <a:latin typeface="Tahoma"/>
              </a:rPr>
            </a:br>
            <a:r>
              <a:rPr lang="ru-RU" altLang="ru-RU" sz="1700" b="1" dirty="0">
                <a:solidFill>
                  <a:srgbClr val="3E5057"/>
                </a:solidFill>
                <a:latin typeface="Tahoma"/>
              </a:rPr>
              <a:t>ГОСТ Р </a:t>
            </a:r>
            <a:r>
              <a:rPr lang="en-US" altLang="ru-RU" sz="1700" b="1" dirty="0">
                <a:solidFill>
                  <a:srgbClr val="3E5057"/>
                </a:solidFill>
                <a:latin typeface="Tahoma"/>
              </a:rPr>
              <a:t/>
            </a:r>
            <a:br>
              <a:rPr lang="en-US" altLang="ru-RU" sz="1700" b="1" dirty="0">
                <a:solidFill>
                  <a:srgbClr val="3E5057"/>
                </a:solidFill>
                <a:latin typeface="Tahoma"/>
              </a:rPr>
            </a:br>
            <a:endParaRPr lang="ru-RU" altLang="ru-RU" sz="1700" b="1" dirty="0">
              <a:solidFill>
                <a:srgbClr val="3E5057"/>
              </a:solidFill>
              <a:latin typeface="Tahoma"/>
            </a:endParaRPr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321390" y="5058787"/>
            <a:ext cx="1515313" cy="1495634"/>
          </a:xfrm>
          <a:prstGeom prst="rect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</a:ln>
        </p:spPr>
      </p:pic>
      <p:sp>
        <p:nvSpPr>
          <p:cNvPr id="44" name="Прямоугольник 43"/>
          <p:cNvSpPr/>
          <p:nvPr/>
        </p:nvSpPr>
        <p:spPr>
          <a:xfrm>
            <a:off x="812579" y="6597408"/>
            <a:ext cx="3226052" cy="10464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425739">
              <a:spcAft>
                <a:spcPts val="600"/>
              </a:spcAft>
              <a:buClr>
                <a:srgbClr val="8FC54C"/>
              </a:buClr>
            </a:pPr>
            <a:r>
              <a:rPr lang="ru-RU" sz="1700" b="1" dirty="0">
                <a:solidFill>
                  <a:srgbClr val="3E50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М.РФ – лауреат премии «Компания будущего» </a:t>
            </a:r>
            <a:br>
              <a:rPr lang="ru-RU" sz="1700" b="1" dirty="0">
                <a:solidFill>
                  <a:srgbClr val="3E50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700" b="1" dirty="0">
                <a:solidFill>
                  <a:srgbClr val="3E50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номинации «Экология» </a:t>
            </a:r>
            <a:br>
              <a:rPr lang="ru-RU" sz="1700" b="1" dirty="0">
                <a:solidFill>
                  <a:srgbClr val="3E50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700" dirty="0">
                <a:solidFill>
                  <a:srgbClr val="3E505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 ГОСТ Р для «зеленых» МКД</a:t>
            </a:r>
          </a:p>
        </p:txBody>
      </p:sp>
      <p:pic>
        <p:nvPicPr>
          <p:cNvPr id="45" name="Рисунок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579" y="5058787"/>
            <a:ext cx="2506934" cy="1426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B11F75E6-B594-E841-8662-BB7CB5212934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17754069" y="390301"/>
            <a:ext cx="732337" cy="767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7838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45901" y="1095769"/>
          <a:ext cx="2626" cy="26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7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45901" y="1095769"/>
                        <a:ext cx="2626" cy="26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6" name="Google Shape;66;p6">
            <a:extLst>
              <a:ext uri="{FF2B5EF4-FFF2-40B4-BE49-F238E27FC236}">
                <a16:creationId xmlns:a16="http://schemas.microsoft.com/office/drawing/2014/main" id="{C278C282-A4FD-1FCE-9826-B731D06C7DCB}"/>
              </a:ext>
            </a:extLst>
          </p:cNvPr>
          <p:cNvSpPr/>
          <p:nvPr/>
        </p:nvSpPr>
        <p:spPr>
          <a:xfrm>
            <a:off x="745892" y="1572479"/>
            <a:ext cx="12505432" cy="47804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74844" tIns="14969" rIns="74844" bIns="14969" anchor="ctr" anchorCtr="0">
            <a:spAutoFit/>
          </a:bodyPr>
          <a:lstStyle/>
          <a:p>
            <a:pPr algn="ctr" defTabSz="1134338">
              <a:defRPr/>
            </a:pPr>
            <a:r>
              <a:rPr lang="ru-RU" sz="1663" b="1" dirty="0">
                <a:solidFill>
                  <a:srgbClr val="3E5057"/>
                </a:solidFill>
                <a:latin typeface="Tahoma"/>
                <a:ea typeface="Tahoma"/>
                <a:cs typeface="Tahoma"/>
                <a:sym typeface="Tahoma"/>
              </a:rPr>
              <a:t>Краткосрочный горизонт </a:t>
            </a:r>
            <a:r>
              <a:rPr lang="ru-RU" sz="1414" b="1" dirty="0">
                <a:solidFill>
                  <a:srgbClr val="3E5057"/>
                </a:solidFill>
                <a:latin typeface="Tahoma"/>
                <a:ea typeface="Tahoma"/>
                <a:cs typeface="Tahoma"/>
                <a:sym typeface="Tahoma"/>
              </a:rPr>
              <a:t/>
            </a:r>
            <a:br>
              <a:rPr lang="ru-RU" sz="1414" b="1" dirty="0">
                <a:solidFill>
                  <a:srgbClr val="3E5057"/>
                </a:solidFill>
                <a:latin typeface="Tahoma"/>
                <a:ea typeface="Tahoma"/>
                <a:cs typeface="Tahoma"/>
                <a:sym typeface="Tahoma"/>
              </a:rPr>
            </a:br>
            <a:r>
              <a:rPr lang="ru-RU" sz="1247" dirty="0">
                <a:solidFill>
                  <a:srgbClr val="3E5057"/>
                </a:solidFill>
                <a:latin typeface="Tahoma"/>
                <a:ea typeface="Tahoma"/>
                <a:cs typeface="Tahoma"/>
                <a:sym typeface="Tahoma"/>
              </a:rPr>
              <a:t>(1-3 года)</a:t>
            </a:r>
            <a:endParaRPr sz="1414" dirty="0">
              <a:solidFill>
                <a:srgbClr val="3E5057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507" name="Google Shape;66;p6">
            <a:extLst>
              <a:ext uri="{FF2B5EF4-FFF2-40B4-BE49-F238E27FC236}">
                <a16:creationId xmlns:a16="http://schemas.microsoft.com/office/drawing/2014/main" id="{219DF264-293B-A529-D857-00E1B87968CB}"/>
              </a:ext>
            </a:extLst>
          </p:cNvPr>
          <p:cNvSpPr/>
          <p:nvPr/>
        </p:nvSpPr>
        <p:spPr>
          <a:xfrm>
            <a:off x="13500842" y="1572479"/>
            <a:ext cx="4988007" cy="47804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74844" tIns="14969" rIns="74844" bIns="14969" anchor="ctr" anchorCtr="0">
            <a:spAutoFit/>
          </a:bodyPr>
          <a:lstStyle/>
          <a:p>
            <a:pPr algn="ctr" defTabSz="1134338">
              <a:defRPr/>
            </a:pPr>
            <a:r>
              <a:rPr lang="ru-RU" sz="1663" b="1" dirty="0">
                <a:solidFill>
                  <a:srgbClr val="3E5057"/>
                </a:solidFill>
                <a:latin typeface="Tahoma"/>
                <a:ea typeface="Tahoma"/>
                <a:cs typeface="Tahoma"/>
                <a:sym typeface="Tahoma"/>
              </a:rPr>
              <a:t>Долгосрочный горизонт </a:t>
            </a:r>
            <a:br>
              <a:rPr lang="ru-RU" sz="1663" b="1" dirty="0">
                <a:solidFill>
                  <a:srgbClr val="3E5057"/>
                </a:solidFill>
                <a:latin typeface="Tahoma"/>
                <a:ea typeface="Tahoma"/>
                <a:cs typeface="Tahoma"/>
                <a:sym typeface="Tahoma"/>
              </a:rPr>
            </a:br>
            <a:r>
              <a:rPr lang="ru-RU" sz="1247" dirty="0">
                <a:solidFill>
                  <a:srgbClr val="3E5057"/>
                </a:solidFill>
                <a:latin typeface="Tahoma"/>
                <a:ea typeface="Tahoma"/>
                <a:cs typeface="Tahoma"/>
                <a:sym typeface="Tahoma"/>
              </a:rPr>
              <a:t>(До </a:t>
            </a:r>
            <a:r>
              <a:rPr lang="en-US" sz="1247" dirty="0">
                <a:solidFill>
                  <a:srgbClr val="3E5057"/>
                </a:solidFill>
                <a:latin typeface="Tahoma"/>
                <a:ea typeface="Tahoma"/>
                <a:cs typeface="Tahoma"/>
                <a:sym typeface="Tahoma"/>
              </a:rPr>
              <a:t>60 </a:t>
            </a:r>
            <a:r>
              <a:rPr lang="ru-RU" sz="1247" dirty="0">
                <a:solidFill>
                  <a:srgbClr val="3E5057"/>
                </a:solidFill>
                <a:latin typeface="Tahoma"/>
                <a:ea typeface="Tahoma"/>
                <a:cs typeface="Tahoma"/>
                <a:sym typeface="Tahoma"/>
              </a:rPr>
              <a:t>лет после ввода в эксплуатацию)</a:t>
            </a:r>
            <a:endParaRPr sz="1414" dirty="0">
              <a:solidFill>
                <a:srgbClr val="3E5057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573" name="Google Shape;66;p6">
            <a:extLst>
              <a:ext uri="{FF2B5EF4-FFF2-40B4-BE49-F238E27FC236}">
                <a16:creationId xmlns:a16="http://schemas.microsoft.com/office/drawing/2014/main" id="{F43AC30F-9321-19E8-F9E5-BCEF72960EE5}"/>
              </a:ext>
            </a:extLst>
          </p:cNvPr>
          <p:cNvSpPr/>
          <p:nvPr/>
        </p:nvSpPr>
        <p:spPr>
          <a:xfrm>
            <a:off x="6998607" y="2079248"/>
            <a:ext cx="2828759" cy="287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134338">
              <a:defRPr/>
            </a:pPr>
            <a:r>
              <a:rPr lang="en-US" sz="1871" b="1" dirty="0" err="1">
                <a:solidFill>
                  <a:srgbClr val="8FC54C"/>
                </a:solidFill>
                <a:latin typeface="Tahoma"/>
                <a:ea typeface="Tahoma"/>
                <a:cs typeface="Tahoma"/>
                <a:sym typeface="Tahoma"/>
              </a:rPr>
              <a:t>Строительство</a:t>
            </a:r>
            <a:endParaRPr sz="1871" b="1" dirty="0">
              <a:solidFill>
                <a:srgbClr val="8FC54C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574" name="Google Shape;66;p6">
            <a:extLst>
              <a:ext uri="{FF2B5EF4-FFF2-40B4-BE49-F238E27FC236}">
                <a16:creationId xmlns:a16="http://schemas.microsoft.com/office/drawing/2014/main" id="{F43AC30F-9321-19E8-F9E5-BCEF72960EE5}"/>
              </a:ext>
            </a:extLst>
          </p:cNvPr>
          <p:cNvSpPr/>
          <p:nvPr/>
        </p:nvSpPr>
        <p:spPr>
          <a:xfrm>
            <a:off x="13535947" y="2079248"/>
            <a:ext cx="2688292" cy="287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defTabSz="1134338">
              <a:defRPr/>
            </a:pPr>
            <a:r>
              <a:rPr lang="en-US" sz="1871" b="1" dirty="0" err="1">
                <a:solidFill>
                  <a:srgbClr val="8FC54C"/>
                </a:solidFill>
                <a:latin typeface="Tahoma"/>
                <a:ea typeface="Tahoma"/>
                <a:cs typeface="Tahoma"/>
                <a:sym typeface="Tahoma"/>
              </a:rPr>
              <a:t>Эксплуатация</a:t>
            </a:r>
            <a:endParaRPr sz="1871" b="1" dirty="0">
              <a:solidFill>
                <a:srgbClr val="8FC54C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575" name="Google Shape;66;p6">
            <a:extLst>
              <a:ext uri="{FF2B5EF4-FFF2-40B4-BE49-F238E27FC236}">
                <a16:creationId xmlns:a16="http://schemas.microsoft.com/office/drawing/2014/main" id="{F43AC30F-9321-19E8-F9E5-BCEF72960EE5}"/>
              </a:ext>
            </a:extLst>
          </p:cNvPr>
          <p:cNvSpPr/>
          <p:nvPr/>
        </p:nvSpPr>
        <p:spPr>
          <a:xfrm>
            <a:off x="745887" y="2079267"/>
            <a:ext cx="3176533" cy="2878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defTabSz="1134338">
              <a:defRPr/>
            </a:pPr>
            <a:r>
              <a:rPr lang="en-US" sz="1871" b="1" dirty="0">
                <a:solidFill>
                  <a:srgbClr val="8FC54C"/>
                </a:solidFill>
                <a:latin typeface="Tahoma"/>
                <a:ea typeface="Tahoma"/>
                <a:cs typeface="Tahoma"/>
                <a:sym typeface="Tahoma"/>
              </a:rPr>
              <a:t>Проектирование</a:t>
            </a:r>
            <a:endParaRPr sz="1871" b="1" dirty="0">
              <a:solidFill>
                <a:srgbClr val="8FC54C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716853" y="9835716"/>
            <a:ext cx="17742958" cy="61555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>
              <a:spcAft>
                <a:spcPts val="331"/>
              </a:spcAft>
              <a:buClr>
                <a:srgbClr val="C00000"/>
              </a:buClr>
            </a:pPr>
            <a:r>
              <a:rPr lang="ru-RU" sz="2000" b="1" dirty="0">
                <a:solidFill>
                  <a:srgbClr val="FFC000"/>
                </a:solidFill>
                <a:ea typeface="Tahoma"/>
                <a:cs typeface="Tahoma"/>
              </a:rPr>
              <a:t>Положительные экономические эффекты от зеленого строительства на горизонте жизненного цикла здания </a:t>
            </a:r>
            <a:br>
              <a:rPr lang="ru-RU" sz="2000" b="1" dirty="0">
                <a:solidFill>
                  <a:srgbClr val="FFC000"/>
                </a:solidFill>
                <a:ea typeface="Tahoma"/>
                <a:cs typeface="Tahoma"/>
              </a:rPr>
            </a:br>
            <a:r>
              <a:rPr lang="ru-RU" sz="2000" b="1" dirty="0">
                <a:solidFill>
                  <a:srgbClr val="FFC000"/>
                </a:solidFill>
                <a:ea typeface="Tahoma"/>
                <a:cs typeface="Tahoma"/>
              </a:rPr>
              <a:t>делают его выгодным для всех сторон несмотря на издержки</a:t>
            </a:r>
            <a:endParaRPr lang="ru-RU" sz="2000" dirty="0">
              <a:solidFill>
                <a:srgbClr val="FFC000"/>
              </a:solidFill>
              <a:ea typeface="Tahoma"/>
              <a:cs typeface="Tahoma"/>
            </a:endParaRPr>
          </a:p>
        </p:txBody>
      </p:sp>
      <p:grpSp>
        <p:nvGrpSpPr>
          <p:cNvPr id="477" name="Группа 476">
            <a:extLst>
              <a:ext uri="{FF2B5EF4-FFF2-40B4-BE49-F238E27FC236}">
                <a16:creationId xmlns:a16="http://schemas.microsoft.com/office/drawing/2014/main" id="{B416946F-4E73-52E5-1240-206D3E2613DC}"/>
              </a:ext>
            </a:extLst>
          </p:cNvPr>
          <p:cNvGrpSpPr/>
          <p:nvPr/>
        </p:nvGrpSpPr>
        <p:grpSpPr>
          <a:xfrm>
            <a:off x="732811" y="7893933"/>
            <a:ext cx="18356324" cy="1673064"/>
            <a:chOff x="352484" y="3937763"/>
            <a:chExt cx="8829430" cy="804747"/>
          </a:xfrm>
        </p:grpSpPr>
        <p:grpSp>
          <p:nvGrpSpPr>
            <p:cNvPr id="476" name="Группа 475">
              <a:extLst>
                <a:ext uri="{FF2B5EF4-FFF2-40B4-BE49-F238E27FC236}">
                  <a16:creationId xmlns:a16="http://schemas.microsoft.com/office/drawing/2014/main" id="{7DA48451-4D9C-D44F-BAAD-ADCE40445B9C}"/>
                </a:ext>
              </a:extLst>
            </p:cNvPr>
            <p:cNvGrpSpPr/>
            <p:nvPr/>
          </p:nvGrpSpPr>
          <p:grpSpPr>
            <a:xfrm>
              <a:off x="352484" y="3937763"/>
              <a:ext cx="8545497" cy="180000"/>
              <a:chOff x="352484" y="3928710"/>
              <a:chExt cx="8545497" cy="180000"/>
            </a:xfrm>
          </p:grpSpPr>
          <p:sp>
            <p:nvSpPr>
              <p:cNvPr id="19" name="Скругленный прямоугольник 136">
                <a:extLst>
                  <a:ext uri="{FF2B5EF4-FFF2-40B4-BE49-F238E27FC236}">
                    <a16:creationId xmlns:a16="http://schemas.microsoft.com/office/drawing/2014/main" id="{378E1396-7448-B7AC-670E-04D0C293C6DA}"/>
                  </a:ext>
                </a:extLst>
              </p:cNvPr>
              <p:cNvSpPr/>
              <p:nvPr/>
            </p:nvSpPr>
            <p:spPr>
              <a:xfrm>
                <a:off x="352484" y="3928710"/>
                <a:ext cx="8545497" cy="1800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523906" tIns="14969" rIns="74844" bIns="14969" rtlCol="0" anchor="ctr" anchorCtr="0">
                <a:noAutofit/>
              </a:bodyPr>
              <a:lstStyle/>
              <a:p>
                <a:r>
                  <a:rPr lang="ru-RU" sz="1663" b="1" dirty="0">
                    <a:solidFill>
                      <a:schemeClr val="tx1"/>
                    </a:solidFill>
                  </a:rPr>
                  <a:t>Население</a:t>
                </a:r>
              </a:p>
            </p:txBody>
          </p:sp>
          <p:grpSp>
            <p:nvGrpSpPr>
              <p:cNvPr id="9" name="CustomIcon">
                <a:extLst>
                  <a:ext uri="{FF2B5EF4-FFF2-40B4-BE49-F238E27FC236}">
                    <a16:creationId xmlns:a16="http://schemas.microsoft.com/office/drawing/2014/main" id="{92DDF282-BE07-1D66-475C-E9572BDE4380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76074" y="3947976"/>
                <a:ext cx="137240" cy="141468"/>
                <a:chOff x="572360" y="2727826"/>
                <a:chExt cx="377624" cy="440918"/>
              </a:xfrm>
            </p:grpSpPr>
            <p:sp>
              <p:nvSpPr>
                <p:cNvPr id="10" name="Freeform: Shape 63">
                  <a:extLst>
                    <a:ext uri="{FF2B5EF4-FFF2-40B4-BE49-F238E27FC236}">
                      <a16:creationId xmlns:a16="http://schemas.microsoft.com/office/drawing/2014/main" id="{7E5E40C0-10EA-32BE-8ED5-A78138ADEEC3}"/>
                    </a:ext>
                  </a:extLst>
                </p:cNvPr>
                <p:cNvSpPr/>
                <p:nvPr/>
              </p:nvSpPr>
              <p:spPr>
                <a:xfrm>
                  <a:off x="655542" y="2727826"/>
                  <a:ext cx="211952" cy="253883"/>
                </a:xfrm>
                <a:custGeom>
                  <a:avLst/>
                  <a:gdLst>
                    <a:gd name="connsiteX0" fmla="*/ 105986 w 211952"/>
                    <a:gd name="connsiteY0" fmla="*/ 0 h 253883"/>
                    <a:gd name="connsiteX1" fmla="*/ 17803 w 211952"/>
                    <a:gd name="connsiteY1" fmla="*/ 90317 h 253883"/>
                    <a:gd name="connsiteX2" fmla="*/ 17803 w 211952"/>
                    <a:gd name="connsiteY2" fmla="*/ 113074 h 253883"/>
                    <a:gd name="connsiteX3" fmla="*/ 24 w 211952"/>
                    <a:gd name="connsiteY3" fmla="*/ 142943 h 253883"/>
                    <a:gd name="connsiteX4" fmla="*/ 23492 w 211952"/>
                    <a:gd name="connsiteY4" fmla="*/ 188457 h 253883"/>
                    <a:gd name="connsiteX5" fmla="*/ 68295 w 211952"/>
                    <a:gd name="connsiteY5" fmla="*/ 253172 h 253883"/>
                    <a:gd name="connsiteX6" fmla="*/ 143678 w 211952"/>
                    <a:gd name="connsiteY6" fmla="*/ 253883 h 253883"/>
                    <a:gd name="connsiteX7" fmla="*/ 188480 w 211952"/>
                    <a:gd name="connsiteY7" fmla="*/ 189168 h 253883"/>
                    <a:gd name="connsiteX8" fmla="*/ 211949 w 211952"/>
                    <a:gd name="connsiteY8" fmla="*/ 143654 h 253883"/>
                    <a:gd name="connsiteX9" fmla="*/ 194170 w 211952"/>
                    <a:gd name="connsiteY9" fmla="*/ 113785 h 253883"/>
                    <a:gd name="connsiteX10" fmla="*/ 194170 w 211952"/>
                    <a:gd name="connsiteY10" fmla="*/ 91028 h 253883"/>
                    <a:gd name="connsiteX11" fmla="*/ 105986 w 211952"/>
                    <a:gd name="connsiteY11" fmla="*/ 0 h 253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11952" h="253883">
                      <a:moveTo>
                        <a:pt x="105986" y="0"/>
                      </a:moveTo>
                      <a:cubicBezTo>
                        <a:pt x="64028" y="0"/>
                        <a:pt x="17803" y="24891"/>
                        <a:pt x="17803" y="90317"/>
                      </a:cubicBezTo>
                      <a:lnTo>
                        <a:pt x="17803" y="113074"/>
                      </a:lnTo>
                      <a:cubicBezTo>
                        <a:pt x="-1399" y="113074"/>
                        <a:pt x="24" y="136542"/>
                        <a:pt x="24" y="142943"/>
                      </a:cubicBezTo>
                      <a:cubicBezTo>
                        <a:pt x="24" y="149343"/>
                        <a:pt x="5002" y="188457"/>
                        <a:pt x="23492" y="188457"/>
                      </a:cubicBezTo>
                      <a:cubicBezTo>
                        <a:pt x="29892" y="215481"/>
                        <a:pt x="46249" y="238238"/>
                        <a:pt x="68295" y="253172"/>
                      </a:cubicBezTo>
                      <a:moveTo>
                        <a:pt x="143678" y="253883"/>
                      </a:moveTo>
                      <a:cubicBezTo>
                        <a:pt x="166435" y="238949"/>
                        <a:pt x="182080" y="215481"/>
                        <a:pt x="188480" y="189168"/>
                      </a:cubicBezTo>
                      <a:cubicBezTo>
                        <a:pt x="207682" y="189168"/>
                        <a:pt x="211949" y="149343"/>
                        <a:pt x="211949" y="143654"/>
                      </a:cubicBezTo>
                      <a:cubicBezTo>
                        <a:pt x="211949" y="137965"/>
                        <a:pt x="212660" y="114496"/>
                        <a:pt x="194170" y="113785"/>
                      </a:cubicBezTo>
                      <a:lnTo>
                        <a:pt x="194170" y="91028"/>
                      </a:lnTo>
                      <a:cubicBezTo>
                        <a:pt x="194170" y="24891"/>
                        <a:pt x="147945" y="0"/>
                        <a:pt x="105986" y="0"/>
                      </a:cubicBezTo>
                    </a:path>
                  </a:pathLst>
                </a:custGeom>
                <a:noFill/>
                <a:ln w="952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2852"/>
                </a:p>
              </p:txBody>
            </p:sp>
            <p:sp>
              <p:nvSpPr>
                <p:cNvPr id="11" name="Freeform: Shape 66">
                  <a:extLst>
                    <a:ext uri="{FF2B5EF4-FFF2-40B4-BE49-F238E27FC236}">
                      <a16:creationId xmlns:a16="http://schemas.microsoft.com/office/drawing/2014/main" id="{90CD76E9-6C87-8A33-7F60-80DD0D53B396}"/>
                    </a:ext>
                  </a:extLst>
                </p:cNvPr>
                <p:cNvSpPr/>
                <p:nvPr/>
              </p:nvSpPr>
              <p:spPr>
                <a:xfrm>
                  <a:off x="673344" y="2778298"/>
                  <a:ext cx="176367" cy="50512"/>
                </a:xfrm>
                <a:custGeom>
                  <a:avLst/>
                  <a:gdLst>
                    <a:gd name="connsiteX0" fmla="*/ 0 w 176367"/>
                    <a:gd name="connsiteY0" fmla="*/ 50512 h 50512"/>
                    <a:gd name="connsiteX1" fmla="*/ 125875 w 176367"/>
                    <a:gd name="connsiteY1" fmla="*/ 20 h 50512"/>
                    <a:gd name="connsiteX2" fmla="*/ 176367 w 176367"/>
                    <a:gd name="connsiteY2" fmla="*/ 44112 h 505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76367" h="50512">
                      <a:moveTo>
                        <a:pt x="0" y="50512"/>
                      </a:moveTo>
                      <a:cubicBezTo>
                        <a:pt x="75383" y="50512"/>
                        <a:pt x="75383" y="20"/>
                        <a:pt x="125875" y="20"/>
                      </a:cubicBezTo>
                      <a:cubicBezTo>
                        <a:pt x="152188" y="-691"/>
                        <a:pt x="174234" y="17799"/>
                        <a:pt x="176367" y="44112"/>
                      </a:cubicBezTo>
                    </a:path>
                  </a:pathLst>
                </a:custGeom>
                <a:noFill/>
                <a:ln w="952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2852"/>
                </a:p>
              </p:txBody>
            </p:sp>
            <p:sp>
              <p:nvSpPr>
                <p:cNvPr id="12" name="Freeform: Shape 68">
                  <a:extLst>
                    <a:ext uri="{FF2B5EF4-FFF2-40B4-BE49-F238E27FC236}">
                      <a16:creationId xmlns:a16="http://schemas.microsoft.com/office/drawing/2014/main" id="{863ACCE9-B15B-D1D2-D797-3D8CEED5C225}"/>
                    </a:ext>
                  </a:extLst>
                </p:cNvPr>
                <p:cNvSpPr/>
                <p:nvPr/>
              </p:nvSpPr>
              <p:spPr>
                <a:xfrm>
                  <a:off x="682589" y="3027935"/>
                  <a:ext cx="157877" cy="140809"/>
                </a:xfrm>
                <a:custGeom>
                  <a:avLst/>
                  <a:gdLst>
                    <a:gd name="connsiteX0" fmla="*/ 78939 w 157877"/>
                    <a:gd name="connsiteY0" fmla="*/ 30580 h 140809"/>
                    <a:gd name="connsiteX1" fmla="*/ 0 w 157877"/>
                    <a:gd name="connsiteY1" fmla="*/ 93873 h 140809"/>
                    <a:gd name="connsiteX2" fmla="*/ 0 w 157877"/>
                    <a:gd name="connsiteY2" fmla="*/ 711 h 140809"/>
                    <a:gd name="connsiteX3" fmla="*/ 78939 w 157877"/>
                    <a:gd name="connsiteY3" fmla="*/ 30580 h 140809"/>
                    <a:gd name="connsiteX4" fmla="*/ 157877 w 157877"/>
                    <a:gd name="connsiteY4" fmla="*/ 93873 h 140809"/>
                    <a:gd name="connsiteX5" fmla="*/ 157877 w 157877"/>
                    <a:gd name="connsiteY5" fmla="*/ 0 h 140809"/>
                    <a:gd name="connsiteX6" fmla="*/ 78939 w 157877"/>
                    <a:gd name="connsiteY6" fmla="*/ 30580 h 140809"/>
                    <a:gd name="connsiteX7" fmla="*/ 78939 w 157877"/>
                    <a:gd name="connsiteY7" fmla="*/ 140809 h 140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57877" h="140809">
                      <a:moveTo>
                        <a:pt x="78939" y="30580"/>
                      </a:moveTo>
                      <a:lnTo>
                        <a:pt x="0" y="93873"/>
                      </a:lnTo>
                      <a:lnTo>
                        <a:pt x="0" y="711"/>
                      </a:lnTo>
                      <a:moveTo>
                        <a:pt x="78939" y="30580"/>
                      </a:moveTo>
                      <a:lnTo>
                        <a:pt x="157877" y="93873"/>
                      </a:lnTo>
                      <a:lnTo>
                        <a:pt x="157877" y="0"/>
                      </a:lnTo>
                      <a:moveTo>
                        <a:pt x="78939" y="30580"/>
                      </a:moveTo>
                      <a:lnTo>
                        <a:pt x="78939" y="140809"/>
                      </a:lnTo>
                    </a:path>
                  </a:pathLst>
                </a:custGeom>
                <a:noFill/>
                <a:ln w="952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2852"/>
                </a:p>
              </p:txBody>
            </p:sp>
            <p:sp>
              <p:nvSpPr>
                <p:cNvPr id="13" name="Freeform: Shape 69">
                  <a:extLst>
                    <a:ext uri="{FF2B5EF4-FFF2-40B4-BE49-F238E27FC236}">
                      <a16:creationId xmlns:a16="http://schemas.microsoft.com/office/drawing/2014/main" id="{0CB98997-C2BF-A481-E135-C4C02C45718D}"/>
                    </a:ext>
                  </a:extLst>
                </p:cNvPr>
                <p:cNvSpPr/>
                <p:nvPr/>
              </p:nvSpPr>
              <p:spPr>
                <a:xfrm>
                  <a:off x="816998" y="3013712"/>
                  <a:ext cx="132986" cy="155032"/>
                </a:xfrm>
                <a:custGeom>
                  <a:avLst/>
                  <a:gdLst>
                    <a:gd name="connsiteX0" fmla="*/ 132987 w 132986"/>
                    <a:gd name="connsiteY0" fmla="*/ 155032 h 155032"/>
                    <a:gd name="connsiteX1" fmla="*/ 132987 w 132986"/>
                    <a:gd name="connsiteY1" fmla="*/ 91739 h 155032"/>
                    <a:gd name="connsiteX2" fmla="*/ 57604 w 132986"/>
                    <a:gd name="connsiteY2" fmla="*/ 22757 h 155032"/>
                    <a:gd name="connsiteX3" fmla="*/ 0 w 132986"/>
                    <a:gd name="connsiteY3" fmla="*/ 0 h 1550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2986" h="155032">
                      <a:moveTo>
                        <a:pt x="132987" y="155032"/>
                      </a:moveTo>
                      <a:lnTo>
                        <a:pt x="132987" y="91739"/>
                      </a:lnTo>
                      <a:cubicBezTo>
                        <a:pt x="132987" y="91739"/>
                        <a:pt x="132987" y="36269"/>
                        <a:pt x="57604" y="22757"/>
                      </a:cubicBezTo>
                      <a:cubicBezTo>
                        <a:pt x="22757" y="16357"/>
                        <a:pt x="7112" y="7823"/>
                        <a:pt x="0" y="0"/>
                      </a:cubicBezTo>
                    </a:path>
                  </a:pathLst>
                </a:custGeom>
                <a:noFill/>
                <a:ln w="952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2852"/>
                </a:p>
              </p:txBody>
            </p:sp>
            <p:sp>
              <p:nvSpPr>
                <p:cNvPr id="14" name="Freeform: Shape 75">
                  <a:extLst>
                    <a:ext uri="{FF2B5EF4-FFF2-40B4-BE49-F238E27FC236}">
                      <a16:creationId xmlns:a16="http://schemas.microsoft.com/office/drawing/2014/main" id="{4AD3D182-A311-5198-E072-EE5B66DCC80D}"/>
                    </a:ext>
                  </a:extLst>
                </p:cNvPr>
                <p:cNvSpPr/>
                <p:nvPr/>
              </p:nvSpPr>
              <p:spPr>
                <a:xfrm>
                  <a:off x="572360" y="3015134"/>
                  <a:ext cx="133697" cy="153610"/>
                </a:xfrm>
                <a:custGeom>
                  <a:avLst/>
                  <a:gdLst>
                    <a:gd name="connsiteX0" fmla="*/ 133698 w 133697"/>
                    <a:gd name="connsiteY0" fmla="*/ 0 h 153610"/>
                    <a:gd name="connsiteX1" fmla="*/ 75383 w 133697"/>
                    <a:gd name="connsiteY1" fmla="*/ 21335 h 153610"/>
                    <a:gd name="connsiteX2" fmla="*/ 0 w 133697"/>
                    <a:gd name="connsiteY2" fmla="*/ 90317 h 153610"/>
                    <a:gd name="connsiteX3" fmla="*/ 0 w 133697"/>
                    <a:gd name="connsiteY3" fmla="*/ 153610 h 1536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3697" h="153610">
                      <a:moveTo>
                        <a:pt x="133698" y="0"/>
                      </a:moveTo>
                      <a:cubicBezTo>
                        <a:pt x="126586" y="7823"/>
                        <a:pt x="109518" y="15645"/>
                        <a:pt x="75383" y="21335"/>
                      </a:cubicBezTo>
                      <a:cubicBezTo>
                        <a:pt x="0" y="34847"/>
                        <a:pt x="0" y="90317"/>
                        <a:pt x="0" y="90317"/>
                      </a:cubicBezTo>
                      <a:lnTo>
                        <a:pt x="0" y="153610"/>
                      </a:lnTo>
                    </a:path>
                  </a:pathLst>
                </a:custGeom>
                <a:noFill/>
                <a:ln w="952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2852"/>
                </a:p>
              </p:txBody>
            </p:sp>
            <p:sp>
              <p:nvSpPr>
                <p:cNvPr id="15" name="Freeform: Shape 81">
                  <a:extLst>
                    <a:ext uri="{FF2B5EF4-FFF2-40B4-BE49-F238E27FC236}">
                      <a16:creationId xmlns:a16="http://schemas.microsoft.com/office/drawing/2014/main" id="{04CAD802-0D93-1D6D-965A-BA61331E03F1}"/>
                    </a:ext>
                  </a:extLst>
                </p:cNvPr>
                <p:cNvSpPr/>
                <p:nvPr/>
              </p:nvSpPr>
              <p:spPr>
                <a:xfrm>
                  <a:off x="706058" y="2972464"/>
                  <a:ext cx="112362" cy="86050"/>
                </a:xfrm>
                <a:custGeom>
                  <a:avLst/>
                  <a:gdLst>
                    <a:gd name="connsiteX0" fmla="*/ 8534 w 112362"/>
                    <a:gd name="connsiteY0" fmla="*/ 1422 h 86050"/>
                    <a:gd name="connsiteX1" fmla="*/ 8534 w 112362"/>
                    <a:gd name="connsiteY1" fmla="*/ 19912 h 86050"/>
                    <a:gd name="connsiteX2" fmla="*/ 0 w 112362"/>
                    <a:gd name="connsiteY2" fmla="*/ 42669 h 86050"/>
                    <a:gd name="connsiteX3" fmla="*/ 56181 w 112362"/>
                    <a:gd name="connsiteY3" fmla="*/ 86050 h 86050"/>
                    <a:gd name="connsiteX4" fmla="*/ 112363 w 112362"/>
                    <a:gd name="connsiteY4" fmla="*/ 42669 h 86050"/>
                    <a:gd name="connsiteX5" fmla="*/ 106674 w 112362"/>
                    <a:gd name="connsiteY5" fmla="*/ 19912 h 86050"/>
                    <a:gd name="connsiteX6" fmla="*/ 105251 w 112362"/>
                    <a:gd name="connsiteY6" fmla="*/ 0 h 860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2362" h="86050">
                      <a:moveTo>
                        <a:pt x="8534" y="1422"/>
                      </a:moveTo>
                      <a:lnTo>
                        <a:pt x="8534" y="19912"/>
                      </a:lnTo>
                      <a:cubicBezTo>
                        <a:pt x="9245" y="28446"/>
                        <a:pt x="6400" y="36269"/>
                        <a:pt x="0" y="42669"/>
                      </a:cubicBezTo>
                      <a:lnTo>
                        <a:pt x="56181" y="86050"/>
                      </a:lnTo>
                      <a:lnTo>
                        <a:pt x="112363" y="42669"/>
                      </a:lnTo>
                      <a:cubicBezTo>
                        <a:pt x="107385" y="36269"/>
                        <a:pt x="106674" y="29157"/>
                        <a:pt x="106674" y="19912"/>
                      </a:cubicBezTo>
                      <a:lnTo>
                        <a:pt x="105251" y="0"/>
                      </a:lnTo>
                    </a:path>
                  </a:pathLst>
                </a:custGeom>
                <a:noFill/>
                <a:ln w="952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2852"/>
                </a:p>
              </p:txBody>
            </p:sp>
          </p:grp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35CEDE1-6B66-6AE2-C3E9-CA16EE07BDD0}"/>
                </a:ext>
              </a:extLst>
            </p:cNvPr>
            <p:cNvSpPr txBox="1"/>
            <p:nvPr/>
          </p:nvSpPr>
          <p:spPr>
            <a:xfrm>
              <a:off x="6493932" y="4136220"/>
              <a:ext cx="2687982" cy="6062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54619" indent="-254619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/>
                <a:t>Снижение стоимости эксплуатации жилья </a:t>
              </a:r>
              <a:br>
                <a:rPr lang="ru-RU" sz="1455" b="1" dirty="0"/>
              </a:br>
              <a:endParaRPr lang="ru-RU" sz="208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54619" indent="-254619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/>
                <a:t>Больший рост стоимости недвижимости</a:t>
              </a:r>
              <a:r>
                <a:rPr lang="ru-RU" sz="1455" dirty="0"/>
                <a:t/>
              </a:r>
              <a:br>
                <a:rPr lang="ru-RU" sz="1455" dirty="0"/>
              </a:br>
              <a: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  <a:t>повышенная ликвидность квартиры</a:t>
              </a:r>
              <a:endParaRPr lang="en-US" sz="1455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54619" indent="-254619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endParaRPr lang="ru-RU" sz="208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54619" indent="-254619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/>
                <a:t>Качественное и комфортное жилье</a:t>
              </a:r>
              <a:br>
                <a:rPr lang="ru-RU" sz="1455" b="1" dirty="0"/>
              </a:br>
              <a: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  <a:t>обеспеченное инфраструктурой на высоком уровне 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987411F-16D5-AF91-1860-4B2FF2A8DB39}"/>
                </a:ext>
              </a:extLst>
            </p:cNvPr>
            <p:cNvSpPr txBox="1"/>
            <p:nvPr/>
          </p:nvSpPr>
          <p:spPr>
            <a:xfrm>
              <a:off x="358774" y="4136220"/>
              <a:ext cx="2808000" cy="3631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99376" indent="-299376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>
                  <a:solidFill>
                    <a:schemeClr val="tx2"/>
                  </a:solidFill>
                </a:rPr>
                <a:t>Возможность покупки более качественного </a:t>
              </a:r>
              <a:br>
                <a:rPr lang="ru-RU" sz="1455" b="1" dirty="0">
                  <a:solidFill>
                    <a:schemeClr val="tx2"/>
                  </a:solidFill>
                </a:rPr>
              </a:br>
              <a:r>
                <a:rPr lang="ru-RU" sz="1455" b="1" dirty="0">
                  <a:solidFill>
                    <a:schemeClr val="tx2"/>
                  </a:solidFill>
                </a:rPr>
                <a:t>и экологичного жилья</a:t>
              </a:r>
              <a:endParaRPr lang="en-US" sz="1455" b="1" dirty="0">
                <a:solidFill>
                  <a:schemeClr val="tx2"/>
                </a:solidFill>
              </a:endParaRPr>
            </a:p>
            <a:p>
              <a:pPr marL="299376" indent="-299376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endParaRPr lang="ru-RU" sz="208" b="1" dirty="0">
                <a:solidFill>
                  <a:schemeClr val="tx2"/>
                </a:solidFill>
              </a:endParaRPr>
            </a:p>
            <a:p>
              <a:pPr marL="299376" indent="-299376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/>
                <a:t>Независимое подтверждение качества здания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97D56B7-D2BA-F796-D10A-D3498FC6A2AF}"/>
                </a:ext>
              </a:extLst>
            </p:cNvPr>
            <p:cNvSpPr txBox="1"/>
            <p:nvPr/>
          </p:nvSpPr>
          <p:spPr>
            <a:xfrm>
              <a:off x="3366344" y="4136220"/>
              <a:ext cx="2808000" cy="3508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99376" indent="-254619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/>
                <a:t>Уменьшение негативных эффектов </a:t>
              </a:r>
              <a:br>
                <a:rPr lang="ru-RU" sz="1455" b="1" dirty="0"/>
              </a:br>
              <a: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  <a:t>от процесса строительства в отношении соседних </a:t>
              </a:r>
              <a:b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  <a:t>жилых территорий</a:t>
              </a:r>
              <a:endParaRPr lang="en-US" sz="1455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99376" indent="-254619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endParaRPr lang="ru-RU" sz="208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grpSp>
        <p:nvGrpSpPr>
          <p:cNvPr id="482" name="Группа 481">
            <a:extLst>
              <a:ext uri="{FF2B5EF4-FFF2-40B4-BE49-F238E27FC236}">
                <a16:creationId xmlns:a16="http://schemas.microsoft.com/office/drawing/2014/main" id="{4BF85CF4-8E61-3C34-FEAF-74D549061D7C}"/>
              </a:ext>
            </a:extLst>
          </p:cNvPr>
          <p:cNvGrpSpPr/>
          <p:nvPr/>
        </p:nvGrpSpPr>
        <p:grpSpPr>
          <a:xfrm>
            <a:off x="745891" y="2396031"/>
            <a:ext cx="17742958" cy="178627"/>
            <a:chOff x="358775" y="1195979"/>
            <a:chExt cx="8534400" cy="85920"/>
          </a:xfrm>
        </p:grpSpPr>
        <p:cxnSp>
          <p:nvCxnSpPr>
            <p:cNvPr id="569" name="Google Shape;56;p6">
              <a:extLst>
                <a:ext uri="{FF2B5EF4-FFF2-40B4-BE49-F238E27FC236}">
                  <a16:creationId xmlns:a16="http://schemas.microsoft.com/office/drawing/2014/main" id="{3FC6C893-1373-CA74-8F11-2600D7AD3F1F}"/>
                </a:ext>
              </a:extLst>
            </p:cNvPr>
            <p:cNvCxnSpPr>
              <a:cxnSpLocks/>
            </p:cNvCxnSpPr>
            <p:nvPr/>
          </p:nvCxnSpPr>
          <p:spPr>
            <a:xfrm>
              <a:off x="444694" y="1238939"/>
              <a:ext cx="8448481" cy="0"/>
            </a:xfrm>
            <a:prstGeom prst="straightConnector1">
              <a:avLst/>
            </a:prstGeom>
            <a:noFill/>
            <a:ln w="12700" cap="flat" cmpd="sng">
              <a:solidFill>
                <a:schemeClr val="accent6"/>
              </a:solidFill>
              <a:prstDash val="solid"/>
              <a:round/>
              <a:headEnd type="none" w="sm" len="sm"/>
              <a:tailEnd type="stealth" w="lg" len="lg"/>
            </a:ln>
          </p:spPr>
        </p:cxnSp>
        <p:sp>
          <p:nvSpPr>
            <p:cNvPr id="570" name="Google Shape;57;p6">
              <a:extLst>
                <a:ext uri="{FF2B5EF4-FFF2-40B4-BE49-F238E27FC236}">
                  <a16:creationId xmlns:a16="http://schemas.microsoft.com/office/drawing/2014/main" id="{0381B98C-0A5C-45BE-4442-0E0875C26A15}"/>
                </a:ext>
              </a:extLst>
            </p:cNvPr>
            <p:cNvSpPr/>
            <p:nvPr/>
          </p:nvSpPr>
          <p:spPr>
            <a:xfrm>
              <a:off x="3366344" y="1195979"/>
              <a:ext cx="85920" cy="8592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151213" tIns="75586" rIns="151213" bIns="75586" anchor="ctr" anchorCtr="0">
              <a:noAutofit/>
            </a:bodyPr>
            <a:lstStyle/>
            <a:p>
              <a:pPr algn="ctr" defTabSz="1134338">
                <a:defRPr/>
              </a:pPr>
              <a:endParaRPr sz="1322">
                <a:solidFill>
                  <a:prstClr val="white"/>
                </a:solidFill>
                <a:latin typeface="Tahoma"/>
                <a:ea typeface="Arial"/>
                <a:cs typeface="Arial"/>
                <a:sym typeface="Arial"/>
              </a:endParaRPr>
            </a:p>
          </p:txBody>
        </p:sp>
        <p:sp>
          <p:nvSpPr>
            <p:cNvPr id="571" name="Google Shape;57;p6">
              <a:extLst>
                <a:ext uri="{FF2B5EF4-FFF2-40B4-BE49-F238E27FC236}">
                  <a16:creationId xmlns:a16="http://schemas.microsoft.com/office/drawing/2014/main" id="{0381B98C-0A5C-45BE-4442-0E0875C26A15}"/>
                </a:ext>
              </a:extLst>
            </p:cNvPr>
            <p:cNvSpPr/>
            <p:nvPr/>
          </p:nvSpPr>
          <p:spPr>
            <a:xfrm>
              <a:off x="6502349" y="1195979"/>
              <a:ext cx="85920" cy="8592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151213" tIns="75586" rIns="151213" bIns="75586" anchor="ctr" anchorCtr="0">
              <a:noAutofit/>
            </a:bodyPr>
            <a:lstStyle/>
            <a:p>
              <a:pPr algn="ctr" defTabSz="1134338">
                <a:defRPr/>
              </a:pPr>
              <a:endParaRPr sz="1322">
                <a:solidFill>
                  <a:prstClr val="white"/>
                </a:solidFill>
                <a:latin typeface="Tahoma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Google Shape;57;p6">
              <a:extLst>
                <a:ext uri="{FF2B5EF4-FFF2-40B4-BE49-F238E27FC236}">
                  <a16:creationId xmlns:a16="http://schemas.microsoft.com/office/drawing/2014/main" id="{85E999F5-B435-DF27-9C51-61C909C4D164}"/>
                </a:ext>
              </a:extLst>
            </p:cNvPr>
            <p:cNvSpPr/>
            <p:nvPr/>
          </p:nvSpPr>
          <p:spPr>
            <a:xfrm>
              <a:off x="358775" y="1195979"/>
              <a:ext cx="85920" cy="8592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151213" tIns="75586" rIns="151213" bIns="75586" anchor="ctr" anchorCtr="0">
              <a:noAutofit/>
            </a:bodyPr>
            <a:lstStyle/>
            <a:p>
              <a:pPr algn="ctr" defTabSz="1134338">
                <a:defRPr/>
              </a:pPr>
              <a:endParaRPr sz="1322">
                <a:solidFill>
                  <a:prstClr val="white"/>
                </a:solidFill>
                <a:latin typeface="Tahoma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80" name="Группа 479">
            <a:extLst>
              <a:ext uri="{FF2B5EF4-FFF2-40B4-BE49-F238E27FC236}">
                <a16:creationId xmlns:a16="http://schemas.microsoft.com/office/drawing/2014/main" id="{F4C6DFE0-BDC5-E9AC-D6DE-B7E6C2EAE73A}"/>
              </a:ext>
            </a:extLst>
          </p:cNvPr>
          <p:cNvGrpSpPr/>
          <p:nvPr/>
        </p:nvGrpSpPr>
        <p:grpSpPr>
          <a:xfrm>
            <a:off x="716853" y="2737409"/>
            <a:ext cx="18372282" cy="2357707"/>
            <a:chOff x="344808" y="1305845"/>
            <a:chExt cx="8837106" cy="1134062"/>
          </a:xfrm>
        </p:grpSpPr>
        <p:sp>
          <p:nvSpPr>
            <p:cNvPr id="472" name="TextBox 471">
              <a:extLst>
                <a:ext uri="{FF2B5EF4-FFF2-40B4-BE49-F238E27FC236}">
                  <a16:creationId xmlns:a16="http://schemas.microsoft.com/office/drawing/2014/main" id="{952C724B-35DA-40E9-6F80-52B9ECF68066}"/>
                </a:ext>
              </a:extLst>
            </p:cNvPr>
            <p:cNvSpPr txBox="1"/>
            <p:nvPr/>
          </p:nvSpPr>
          <p:spPr>
            <a:xfrm>
              <a:off x="6493934" y="1498180"/>
              <a:ext cx="2687980" cy="7663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54619" indent="-254619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/>
                <a:t>Пониженная нагрузка на инженерные сети </a:t>
              </a:r>
              <a:endParaRPr lang="en-US" sz="1455" b="1" dirty="0"/>
            </a:p>
            <a:p>
              <a:pPr marL="254619" indent="-254619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endParaRPr lang="ru-RU" sz="208" b="1" dirty="0"/>
            </a:p>
            <a:p>
              <a:pPr marL="254619" indent="-254619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/>
                <a:t>Снижение расходов на эксплуатацию </a:t>
              </a:r>
              <a:br>
                <a:rPr lang="ru-RU" sz="1455" b="1" dirty="0"/>
              </a:br>
              <a:r>
                <a:rPr lang="ru-RU" sz="1455" b="1" dirty="0"/>
                <a:t>и реконструкцию инфраструктуры</a:t>
              </a:r>
              <a:endParaRPr lang="en-US" sz="1455" b="1" dirty="0"/>
            </a:p>
            <a:p>
              <a:pPr marL="254619" indent="-254619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endParaRPr lang="ru-RU" sz="208" b="1" dirty="0"/>
            </a:p>
            <a:p>
              <a:pPr marL="254619" indent="-254619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/>
                <a:t>Увеличение налоговых поступлений в бюджет </a:t>
              </a:r>
              <a:br>
                <a:rPr lang="ru-RU" sz="1455" b="1" dirty="0"/>
              </a:br>
              <a: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  <a:t>за счет большей стоимости квартир в зеленых домах</a:t>
              </a:r>
              <a:endParaRPr lang="en-US" sz="1455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54619" indent="-254619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endParaRPr lang="ru-RU" sz="208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54619" indent="-254619">
                <a:spcAft>
                  <a:spcPts val="208"/>
                </a:spcAft>
                <a:buClr>
                  <a:srgbClr val="8FC54C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>
                  <a:solidFill>
                    <a:srgbClr val="3E5057"/>
                  </a:solidFill>
                </a:rPr>
                <a:t>Снижение выбросов СО</a:t>
              </a:r>
              <a:r>
                <a:rPr lang="ru-RU" sz="1455" b="1" baseline="-25000" dirty="0">
                  <a:solidFill>
                    <a:srgbClr val="3E5057"/>
                  </a:solidFill>
                </a:rPr>
                <a:t>2 </a:t>
              </a:r>
              <a:r>
                <a:rPr lang="ru-RU" sz="1455" dirty="0">
                  <a:solidFill>
                    <a:prstClr val="white">
                      <a:lumMod val="50000"/>
                    </a:prstClr>
                  </a:solidFill>
                </a:rPr>
                <a:t>от эксплуатации зданий</a:t>
              </a:r>
            </a:p>
          </p:txBody>
        </p:sp>
        <p:sp>
          <p:nvSpPr>
            <p:cNvPr id="469" name="TextBox 468">
              <a:extLst>
                <a:ext uri="{FF2B5EF4-FFF2-40B4-BE49-F238E27FC236}">
                  <a16:creationId xmlns:a16="http://schemas.microsoft.com/office/drawing/2014/main" id="{70F90FCB-BC6E-AC22-CD3A-54387D7F55C4}"/>
                </a:ext>
              </a:extLst>
            </p:cNvPr>
            <p:cNvSpPr txBox="1"/>
            <p:nvPr/>
          </p:nvSpPr>
          <p:spPr>
            <a:xfrm>
              <a:off x="358774" y="1498180"/>
              <a:ext cx="2808000" cy="9417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99376" indent="-299376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>
                  <a:solidFill>
                    <a:schemeClr val="tx2"/>
                  </a:solidFill>
                  <a:sym typeface="Tahoma"/>
                </a:rPr>
                <a:t>Снижение стоимости </a:t>
              </a:r>
              <a:r>
                <a:rPr lang="ru-RU" sz="1455" dirty="0">
                  <a:solidFill>
                    <a:schemeClr val="bg1">
                      <a:lumMod val="50000"/>
                    </a:schemeClr>
                  </a:solidFill>
                  <a:sym typeface="Tahoma"/>
                </a:rPr>
                <a:t>строительства инженерной инфраструктуры или </a:t>
              </a:r>
              <a:r>
                <a:rPr lang="ru-RU" sz="1455" b="1" dirty="0">
                  <a:solidFill>
                    <a:schemeClr val="tx2"/>
                  </a:solidFill>
                  <a:sym typeface="Tahoma"/>
                </a:rPr>
                <a:t>возможность ввода социального жилья </a:t>
              </a:r>
              <a:r>
                <a:rPr lang="ru-RU" sz="1455" dirty="0">
                  <a:solidFill>
                    <a:schemeClr val="bg1">
                      <a:lumMod val="50000"/>
                    </a:schemeClr>
                  </a:solidFill>
                  <a:sym typeface="Tahoma"/>
                </a:rPr>
                <a:t>за счет повышения класса энергоэффективности и сокращения затрат на ремонт инфраструктуры</a:t>
              </a:r>
            </a:p>
            <a:p>
              <a:pPr marL="299376" indent="-299376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endParaRPr lang="ru-RU" sz="208" dirty="0">
                <a:solidFill>
                  <a:schemeClr val="bg1">
                    <a:lumMod val="50000"/>
                  </a:schemeClr>
                </a:solidFill>
                <a:sym typeface="Tahoma"/>
              </a:endParaRPr>
            </a:p>
            <a:p>
              <a:pPr marL="299376" indent="-299376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>
                  <a:solidFill>
                    <a:schemeClr val="tx2"/>
                  </a:solidFill>
                </a:rPr>
                <a:t>Меньший кредитный риск и более высокое качество залогов </a:t>
              </a:r>
              <a: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  <a:t>в финансовой системе</a:t>
              </a:r>
              <a:endParaRPr lang="en-US" sz="1455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99376" indent="-299376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endParaRPr lang="ru-RU" sz="208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99376" indent="-299376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>
                  <a:solidFill>
                    <a:schemeClr val="tx2"/>
                  </a:solidFill>
                </a:rPr>
                <a:t>Создание высококвалифицированных рабочих мест </a:t>
              </a:r>
              <a:br>
                <a:rPr lang="ru-RU" sz="1455" b="1" dirty="0">
                  <a:solidFill>
                    <a:schemeClr val="tx2"/>
                  </a:solidFill>
                </a:rPr>
              </a:br>
              <a: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  <a:t>в сфере зеленых технологий</a:t>
              </a:r>
              <a:endParaRPr lang="en-US" sz="1455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470" name="TextBox 469">
              <a:extLst>
                <a:ext uri="{FF2B5EF4-FFF2-40B4-BE49-F238E27FC236}">
                  <a16:creationId xmlns:a16="http://schemas.microsoft.com/office/drawing/2014/main" id="{C1AE7CFC-C51F-3BD0-E4BA-E5CD65903BF5}"/>
                </a:ext>
              </a:extLst>
            </p:cNvPr>
            <p:cNvSpPr txBox="1"/>
            <p:nvPr/>
          </p:nvSpPr>
          <p:spPr>
            <a:xfrm>
              <a:off x="3366344" y="1498180"/>
              <a:ext cx="2808000" cy="5109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99376" indent="-299376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/>
                <a:t>Повышенный вклад в ВВП </a:t>
              </a:r>
            </a:p>
            <a:p>
              <a:pPr marL="598752" lvl="1" indent="-299376">
                <a:spcAft>
                  <a:spcPts val="208"/>
                </a:spcAft>
                <a:buClr>
                  <a:schemeClr val="accent6"/>
                </a:buClr>
                <a:buFont typeface="Tahoma" panose="020B0604030504040204" pitchFamily="34" charset="0"/>
                <a:buChar char="‒"/>
              </a:pPr>
              <a:endParaRPr lang="ru-RU" sz="208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99376" indent="-299376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/>
                <a:t>Снижение выбросов СО</a:t>
              </a:r>
              <a:r>
                <a:rPr lang="ru-RU" sz="1455" b="1" baseline="-25000" dirty="0"/>
                <a:t>2</a:t>
              </a:r>
              <a:r>
                <a:rPr lang="ru-RU" sz="1455" b="1" dirty="0"/>
                <a:t> </a:t>
              </a:r>
              <a: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  <a:t>при строительстве зданий</a:t>
              </a:r>
              <a:endParaRPr lang="en-US" sz="1455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99376" indent="-299376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endParaRPr lang="ru-RU" sz="208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99376" indent="-299376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/>
                <a:t>Стимул развития производств </a:t>
              </a:r>
              <a: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  <a:t>энергоэффективных </a:t>
              </a:r>
              <a:b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  <a:t>и зеленых технологий, материалов, оборудования</a:t>
              </a:r>
            </a:p>
          </p:txBody>
        </p:sp>
        <p:grpSp>
          <p:nvGrpSpPr>
            <p:cNvPr id="479" name="Группа 478">
              <a:extLst>
                <a:ext uri="{FF2B5EF4-FFF2-40B4-BE49-F238E27FC236}">
                  <a16:creationId xmlns:a16="http://schemas.microsoft.com/office/drawing/2014/main" id="{5CC1689C-67EF-A231-C88B-0564D4D7D13E}"/>
                </a:ext>
              </a:extLst>
            </p:cNvPr>
            <p:cNvGrpSpPr/>
            <p:nvPr/>
          </p:nvGrpSpPr>
          <p:grpSpPr>
            <a:xfrm>
              <a:off x="344808" y="1305845"/>
              <a:ext cx="8545496" cy="180000"/>
              <a:chOff x="344808" y="1305845"/>
              <a:chExt cx="8545496" cy="180000"/>
            </a:xfrm>
          </p:grpSpPr>
          <p:sp>
            <p:nvSpPr>
              <p:cNvPr id="450" name="Скругленный прямоугольник 136">
                <a:extLst>
                  <a:ext uri="{FF2B5EF4-FFF2-40B4-BE49-F238E27FC236}">
                    <a16:creationId xmlns:a16="http://schemas.microsoft.com/office/drawing/2014/main" id="{5035FB19-AF02-3AB4-D305-DFB03FF758B9}"/>
                  </a:ext>
                </a:extLst>
              </p:cNvPr>
              <p:cNvSpPr/>
              <p:nvPr/>
            </p:nvSpPr>
            <p:spPr>
              <a:xfrm>
                <a:off x="344808" y="1305845"/>
                <a:ext cx="8545496" cy="1800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523906" tIns="14969" rIns="74844" bIns="14969" rtlCol="0" anchor="ctr" anchorCtr="0">
                <a:noAutofit/>
              </a:bodyPr>
              <a:lstStyle/>
              <a:p>
                <a:r>
                  <a:rPr lang="ru-RU" sz="1663" b="1" dirty="0">
                    <a:solidFill>
                      <a:schemeClr val="tx1"/>
                    </a:solidFill>
                  </a:rPr>
                  <a:t>Государство</a:t>
                </a:r>
              </a:p>
            </p:txBody>
          </p:sp>
          <p:grpSp>
            <p:nvGrpSpPr>
              <p:cNvPr id="23" name="Group 24">
                <a:extLst>
                  <a:ext uri="{FF2B5EF4-FFF2-40B4-BE49-F238E27FC236}">
                    <a16:creationId xmlns:a16="http://schemas.microsoft.com/office/drawing/2014/main" id="{683A6ABF-C8A6-808A-F7AB-48485C3B2E1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76074" y="1316842"/>
                <a:ext cx="148468" cy="153046"/>
                <a:chOff x="7731297" y="2978749"/>
                <a:chExt cx="330142" cy="296594"/>
              </a:xfrm>
            </p:grpSpPr>
            <p:grpSp>
              <p:nvGrpSpPr>
                <p:cNvPr id="27" name="CustomIcon">
                  <a:extLst>
                    <a:ext uri="{FF2B5EF4-FFF2-40B4-BE49-F238E27FC236}">
                      <a16:creationId xmlns:a16="http://schemas.microsoft.com/office/drawing/2014/main" id="{13761128-514C-1369-4A52-B9051010642C}"/>
                    </a:ext>
                  </a:extLst>
                </p:cNvPr>
                <p:cNvGrpSpPr/>
                <p:nvPr/>
              </p:nvGrpSpPr>
              <p:grpSpPr>
                <a:xfrm>
                  <a:off x="7731297" y="2978749"/>
                  <a:ext cx="330142" cy="296594"/>
                  <a:chOff x="7731297" y="2978749"/>
                  <a:chExt cx="330142" cy="296594"/>
                </a:xfrm>
              </p:grpSpPr>
              <p:sp>
                <p:nvSpPr>
                  <p:cNvPr id="29" name="Freeform: Shape 123">
                    <a:extLst>
                      <a:ext uri="{FF2B5EF4-FFF2-40B4-BE49-F238E27FC236}">
                        <a16:creationId xmlns:a16="http://schemas.microsoft.com/office/drawing/2014/main" id="{F429ACEB-B674-9A12-396A-5D835BA6FB3A}"/>
                      </a:ext>
                    </a:extLst>
                  </p:cNvPr>
                  <p:cNvSpPr/>
                  <p:nvPr/>
                </p:nvSpPr>
                <p:spPr>
                  <a:xfrm>
                    <a:off x="7747272" y="2978749"/>
                    <a:ext cx="298193" cy="91055"/>
                  </a:xfrm>
                  <a:custGeom>
                    <a:avLst/>
                    <a:gdLst>
                      <a:gd name="connsiteX0" fmla="*/ 298193 w 298193"/>
                      <a:gd name="connsiteY0" fmla="*/ 70288 h 91055"/>
                      <a:gd name="connsiteX1" fmla="*/ 149629 w 298193"/>
                      <a:gd name="connsiteY1" fmla="*/ 0 h 91055"/>
                      <a:gd name="connsiteX2" fmla="*/ 149097 w 298193"/>
                      <a:gd name="connsiteY2" fmla="*/ 0 h 91055"/>
                      <a:gd name="connsiteX3" fmla="*/ 148564 w 298193"/>
                      <a:gd name="connsiteY3" fmla="*/ 0 h 91055"/>
                      <a:gd name="connsiteX4" fmla="*/ 0 w 298193"/>
                      <a:gd name="connsiteY4" fmla="*/ 70288 h 91055"/>
                      <a:gd name="connsiteX5" fmla="*/ 0 w 298193"/>
                      <a:gd name="connsiteY5" fmla="*/ 91055 h 91055"/>
                      <a:gd name="connsiteX6" fmla="*/ 298193 w 298193"/>
                      <a:gd name="connsiteY6" fmla="*/ 91055 h 910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98193" h="91055">
                        <a:moveTo>
                          <a:pt x="298193" y="70288"/>
                        </a:moveTo>
                        <a:lnTo>
                          <a:pt x="149629" y="0"/>
                        </a:lnTo>
                        <a:lnTo>
                          <a:pt x="149097" y="0"/>
                        </a:lnTo>
                        <a:lnTo>
                          <a:pt x="148564" y="0"/>
                        </a:lnTo>
                        <a:lnTo>
                          <a:pt x="0" y="70288"/>
                        </a:lnTo>
                        <a:lnTo>
                          <a:pt x="0" y="91055"/>
                        </a:lnTo>
                        <a:lnTo>
                          <a:pt x="298193" y="91055"/>
                        </a:lnTo>
                        <a:close/>
                      </a:path>
                    </a:pathLst>
                  </a:custGeom>
                  <a:noFill/>
                  <a:ln w="9525" cap="flat">
                    <a:solidFill>
                      <a:schemeClr val="tx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sz="2852"/>
                  </a:p>
                </p:txBody>
              </p:sp>
              <p:sp>
                <p:nvSpPr>
                  <p:cNvPr id="30" name="Freeform: Shape 124">
                    <a:extLst>
                      <a:ext uri="{FF2B5EF4-FFF2-40B4-BE49-F238E27FC236}">
                        <a16:creationId xmlns:a16="http://schemas.microsoft.com/office/drawing/2014/main" id="{7474F900-2230-E9B2-DCF4-959E0A48D9DC}"/>
                      </a:ext>
                    </a:extLst>
                  </p:cNvPr>
                  <p:cNvSpPr/>
                  <p:nvPr/>
                </p:nvSpPr>
                <p:spPr>
                  <a:xfrm>
                    <a:off x="7811171" y="3156067"/>
                    <a:ext cx="170396" cy="5324"/>
                  </a:xfrm>
                  <a:custGeom>
                    <a:avLst/>
                    <a:gdLst>
                      <a:gd name="connsiteX0" fmla="*/ 0 w 170396"/>
                      <a:gd name="connsiteY0" fmla="*/ 0 h 5324"/>
                      <a:gd name="connsiteX1" fmla="*/ 170396 w 170396"/>
                      <a:gd name="connsiteY1" fmla="*/ 0 h 53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70396" h="5324">
                        <a:moveTo>
                          <a:pt x="0" y="0"/>
                        </a:moveTo>
                        <a:lnTo>
                          <a:pt x="170396" y="0"/>
                        </a:lnTo>
                      </a:path>
                    </a:pathLst>
                  </a:custGeom>
                  <a:ln w="9525" cap="flat">
                    <a:solidFill>
                      <a:schemeClr val="tx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sz="2852"/>
                  </a:p>
                </p:txBody>
              </p:sp>
              <p:sp>
                <p:nvSpPr>
                  <p:cNvPr id="31" name="Freeform: Shape 125">
                    <a:extLst>
                      <a:ext uri="{FF2B5EF4-FFF2-40B4-BE49-F238E27FC236}">
                        <a16:creationId xmlns:a16="http://schemas.microsoft.com/office/drawing/2014/main" id="{892CDC0A-A35C-359D-7A2B-5A1027E986B0}"/>
                      </a:ext>
                    </a:extLst>
                  </p:cNvPr>
                  <p:cNvSpPr/>
                  <p:nvPr/>
                </p:nvSpPr>
                <p:spPr>
                  <a:xfrm>
                    <a:off x="7787209" y="3069804"/>
                    <a:ext cx="5324" cy="165071"/>
                  </a:xfrm>
                  <a:custGeom>
                    <a:avLst/>
                    <a:gdLst>
                      <a:gd name="connsiteX0" fmla="*/ 0 w 5324"/>
                      <a:gd name="connsiteY0" fmla="*/ 0 h 165071"/>
                      <a:gd name="connsiteX1" fmla="*/ 0 w 5324"/>
                      <a:gd name="connsiteY1" fmla="*/ 165071 h 1650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324" h="165071">
                        <a:moveTo>
                          <a:pt x="0" y="0"/>
                        </a:moveTo>
                        <a:lnTo>
                          <a:pt x="0" y="165071"/>
                        </a:lnTo>
                      </a:path>
                    </a:pathLst>
                  </a:custGeom>
                  <a:ln w="9525" cap="flat">
                    <a:solidFill>
                      <a:schemeClr val="tx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sz="2852"/>
                  </a:p>
                </p:txBody>
              </p:sp>
              <p:sp>
                <p:nvSpPr>
                  <p:cNvPr id="33" name="Freeform: Shape 126">
                    <a:extLst>
                      <a:ext uri="{FF2B5EF4-FFF2-40B4-BE49-F238E27FC236}">
                        <a16:creationId xmlns:a16="http://schemas.microsoft.com/office/drawing/2014/main" id="{4B3FAAB3-BCA2-6E7E-E0A9-0E9B93B5FDF8}"/>
                      </a:ext>
                    </a:extLst>
                  </p:cNvPr>
                  <p:cNvSpPr/>
                  <p:nvPr/>
                </p:nvSpPr>
                <p:spPr>
                  <a:xfrm>
                    <a:off x="8005528" y="3069804"/>
                    <a:ext cx="5324" cy="165071"/>
                  </a:xfrm>
                  <a:custGeom>
                    <a:avLst/>
                    <a:gdLst>
                      <a:gd name="connsiteX0" fmla="*/ 0 w 5324"/>
                      <a:gd name="connsiteY0" fmla="*/ 165071 h 165071"/>
                      <a:gd name="connsiteX1" fmla="*/ 0 w 5324"/>
                      <a:gd name="connsiteY1" fmla="*/ 0 h 1650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324" h="165071">
                        <a:moveTo>
                          <a:pt x="0" y="165071"/>
                        </a:moveTo>
                        <a:lnTo>
                          <a:pt x="0" y="0"/>
                        </a:lnTo>
                      </a:path>
                    </a:pathLst>
                  </a:custGeom>
                  <a:ln w="9525" cap="flat">
                    <a:solidFill>
                      <a:schemeClr val="tx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sz="2852"/>
                  </a:p>
                </p:txBody>
              </p:sp>
              <p:grpSp>
                <p:nvGrpSpPr>
                  <p:cNvPr id="34" name="CustomIcon">
                    <a:extLst>
                      <a:ext uri="{FF2B5EF4-FFF2-40B4-BE49-F238E27FC236}">
                        <a16:creationId xmlns:a16="http://schemas.microsoft.com/office/drawing/2014/main" id="{E4D04A3D-DF68-D4E9-EBB4-F927E7A688A5}"/>
                      </a:ext>
                    </a:extLst>
                  </p:cNvPr>
                  <p:cNvGrpSpPr/>
                  <p:nvPr/>
                </p:nvGrpSpPr>
                <p:grpSpPr>
                  <a:xfrm>
                    <a:off x="7828210" y="3094831"/>
                    <a:ext cx="136316" cy="118744"/>
                    <a:chOff x="7828210" y="3094831"/>
                    <a:chExt cx="136316" cy="118744"/>
                  </a:xfrm>
                </p:grpSpPr>
                <p:sp>
                  <p:nvSpPr>
                    <p:cNvPr id="37" name="Freeform: Shape 128">
                      <a:extLst>
                        <a:ext uri="{FF2B5EF4-FFF2-40B4-BE49-F238E27FC236}">
                          <a16:creationId xmlns:a16="http://schemas.microsoft.com/office/drawing/2014/main" id="{AFF2C794-B53A-D6D8-73F3-F0B99106BF3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828210" y="3094831"/>
                      <a:ext cx="5324" cy="36209"/>
                    </a:xfrm>
                    <a:custGeom>
                      <a:avLst/>
                      <a:gdLst>
                        <a:gd name="connsiteX0" fmla="*/ 0 w 5324"/>
                        <a:gd name="connsiteY0" fmla="*/ 0 h 36209"/>
                        <a:gd name="connsiteX1" fmla="*/ 0 w 5324"/>
                        <a:gd name="connsiteY1" fmla="*/ 36209 h 362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324" h="36209">
                          <a:moveTo>
                            <a:pt x="0" y="0"/>
                          </a:moveTo>
                          <a:lnTo>
                            <a:pt x="0" y="36209"/>
                          </a:lnTo>
                        </a:path>
                      </a:pathLst>
                    </a:custGeom>
                    <a:ln w="9525" cap="flat">
                      <a:solidFill>
                        <a:schemeClr val="tx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 sz="2852" dirty="0"/>
                    </a:p>
                  </p:txBody>
                </p:sp>
                <p:sp>
                  <p:nvSpPr>
                    <p:cNvPr id="38" name="Freeform: Shape 129">
                      <a:extLst>
                        <a:ext uri="{FF2B5EF4-FFF2-40B4-BE49-F238E27FC236}">
                          <a16:creationId xmlns:a16="http://schemas.microsoft.com/office/drawing/2014/main" id="{1E836CD7-224D-EB8B-ADED-4B7143984B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896369" y="3094831"/>
                      <a:ext cx="5324" cy="36209"/>
                    </a:xfrm>
                    <a:custGeom>
                      <a:avLst/>
                      <a:gdLst>
                        <a:gd name="connsiteX0" fmla="*/ 0 w 5324"/>
                        <a:gd name="connsiteY0" fmla="*/ 0 h 36209"/>
                        <a:gd name="connsiteX1" fmla="*/ 0 w 5324"/>
                        <a:gd name="connsiteY1" fmla="*/ 36209 h 362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324" h="36209">
                          <a:moveTo>
                            <a:pt x="0" y="0"/>
                          </a:moveTo>
                          <a:lnTo>
                            <a:pt x="0" y="36209"/>
                          </a:lnTo>
                        </a:path>
                      </a:pathLst>
                    </a:custGeom>
                    <a:ln w="9525" cap="flat">
                      <a:solidFill>
                        <a:schemeClr val="tx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 sz="2852"/>
                    </a:p>
                  </p:txBody>
                </p:sp>
                <p:sp>
                  <p:nvSpPr>
                    <p:cNvPr id="39" name="Freeform: Shape 130">
                      <a:extLst>
                        <a:ext uri="{FF2B5EF4-FFF2-40B4-BE49-F238E27FC236}">
                          <a16:creationId xmlns:a16="http://schemas.microsoft.com/office/drawing/2014/main" id="{619F320F-7867-66F4-3C11-036B9E79330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964527" y="3094831"/>
                      <a:ext cx="5324" cy="36209"/>
                    </a:xfrm>
                    <a:custGeom>
                      <a:avLst/>
                      <a:gdLst>
                        <a:gd name="connsiteX0" fmla="*/ 0 w 5324"/>
                        <a:gd name="connsiteY0" fmla="*/ 0 h 36209"/>
                        <a:gd name="connsiteX1" fmla="*/ 0 w 5324"/>
                        <a:gd name="connsiteY1" fmla="*/ 36209 h 362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324" h="36209">
                          <a:moveTo>
                            <a:pt x="0" y="0"/>
                          </a:moveTo>
                          <a:lnTo>
                            <a:pt x="0" y="36209"/>
                          </a:lnTo>
                        </a:path>
                      </a:pathLst>
                    </a:custGeom>
                    <a:ln w="9525" cap="flat">
                      <a:solidFill>
                        <a:schemeClr val="tx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 sz="2852"/>
                    </a:p>
                  </p:txBody>
                </p:sp>
                <p:sp>
                  <p:nvSpPr>
                    <p:cNvPr id="40" name="Freeform: Shape 131">
                      <a:extLst>
                        <a:ext uri="{FF2B5EF4-FFF2-40B4-BE49-F238E27FC236}">
                          <a16:creationId xmlns:a16="http://schemas.microsoft.com/office/drawing/2014/main" id="{62DDB207-2073-D04E-22B5-1AAFF47B13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828210" y="3177367"/>
                      <a:ext cx="5324" cy="36209"/>
                    </a:xfrm>
                    <a:custGeom>
                      <a:avLst/>
                      <a:gdLst>
                        <a:gd name="connsiteX0" fmla="*/ 0 w 5324"/>
                        <a:gd name="connsiteY0" fmla="*/ 0 h 36209"/>
                        <a:gd name="connsiteX1" fmla="*/ 0 w 5324"/>
                        <a:gd name="connsiteY1" fmla="*/ 36209 h 362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324" h="36209">
                          <a:moveTo>
                            <a:pt x="0" y="0"/>
                          </a:moveTo>
                          <a:lnTo>
                            <a:pt x="0" y="36209"/>
                          </a:lnTo>
                        </a:path>
                      </a:pathLst>
                    </a:custGeom>
                    <a:ln w="9525" cap="flat">
                      <a:solidFill>
                        <a:schemeClr val="tx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 sz="2852"/>
                    </a:p>
                  </p:txBody>
                </p:sp>
                <p:sp>
                  <p:nvSpPr>
                    <p:cNvPr id="41" name="Freeform: Shape 132">
                      <a:extLst>
                        <a:ext uri="{FF2B5EF4-FFF2-40B4-BE49-F238E27FC236}">
                          <a16:creationId xmlns:a16="http://schemas.microsoft.com/office/drawing/2014/main" id="{AB087465-889F-E2BF-15B3-51323239EB5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964527" y="3177367"/>
                      <a:ext cx="5324" cy="36209"/>
                    </a:xfrm>
                    <a:custGeom>
                      <a:avLst/>
                      <a:gdLst>
                        <a:gd name="connsiteX0" fmla="*/ 0 w 5324"/>
                        <a:gd name="connsiteY0" fmla="*/ 0 h 36209"/>
                        <a:gd name="connsiteX1" fmla="*/ 0 w 5324"/>
                        <a:gd name="connsiteY1" fmla="*/ 36209 h 362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324" h="36209">
                          <a:moveTo>
                            <a:pt x="0" y="0"/>
                          </a:moveTo>
                          <a:lnTo>
                            <a:pt x="0" y="36209"/>
                          </a:lnTo>
                        </a:path>
                      </a:pathLst>
                    </a:custGeom>
                    <a:ln w="9525" cap="flat">
                      <a:solidFill>
                        <a:schemeClr val="tx2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 sz="2852"/>
                    </a:p>
                  </p:txBody>
                </p:sp>
              </p:grpSp>
              <p:sp>
                <p:nvSpPr>
                  <p:cNvPr id="35" name="Freeform: Shape 133">
                    <a:extLst>
                      <a:ext uri="{FF2B5EF4-FFF2-40B4-BE49-F238E27FC236}">
                        <a16:creationId xmlns:a16="http://schemas.microsoft.com/office/drawing/2014/main" id="{D24F76EC-22B8-4058-606C-AE57A2246F1D}"/>
                      </a:ext>
                    </a:extLst>
                  </p:cNvPr>
                  <p:cNvSpPr/>
                  <p:nvPr/>
                </p:nvSpPr>
                <p:spPr>
                  <a:xfrm>
                    <a:off x="7731297" y="3270019"/>
                    <a:ext cx="330142" cy="5324"/>
                  </a:xfrm>
                  <a:custGeom>
                    <a:avLst/>
                    <a:gdLst>
                      <a:gd name="connsiteX0" fmla="*/ 0 w 330142"/>
                      <a:gd name="connsiteY0" fmla="*/ 0 h 5324"/>
                      <a:gd name="connsiteX1" fmla="*/ 330142 w 330142"/>
                      <a:gd name="connsiteY1" fmla="*/ 0 h 53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30142" h="5324">
                        <a:moveTo>
                          <a:pt x="0" y="0"/>
                        </a:moveTo>
                        <a:lnTo>
                          <a:pt x="330142" y="0"/>
                        </a:lnTo>
                      </a:path>
                    </a:pathLst>
                  </a:custGeom>
                  <a:ln w="9525" cap="flat">
                    <a:solidFill>
                      <a:schemeClr val="tx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sz="2852"/>
                  </a:p>
                </p:txBody>
              </p:sp>
              <p:sp>
                <p:nvSpPr>
                  <p:cNvPr id="36" name="Freeform: Shape 134">
                    <a:extLst>
                      <a:ext uri="{FF2B5EF4-FFF2-40B4-BE49-F238E27FC236}">
                        <a16:creationId xmlns:a16="http://schemas.microsoft.com/office/drawing/2014/main" id="{E256BCB3-22A9-84C7-4F92-A29D225A7129}"/>
                      </a:ext>
                    </a:extLst>
                  </p:cNvPr>
                  <p:cNvSpPr/>
                  <p:nvPr/>
                </p:nvSpPr>
                <p:spPr>
                  <a:xfrm>
                    <a:off x="7870809" y="3182691"/>
                    <a:ext cx="51118" cy="52183"/>
                  </a:xfrm>
                  <a:custGeom>
                    <a:avLst/>
                    <a:gdLst>
                      <a:gd name="connsiteX0" fmla="*/ 0 w 51118"/>
                      <a:gd name="connsiteY0" fmla="*/ 52184 h 52183"/>
                      <a:gd name="connsiteX1" fmla="*/ 0 w 51118"/>
                      <a:gd name="connsiteY1" fmla="*/ 0 h 52183"/>
                      <a:gd name="connsiteX2" fmla="*/ 51119 w 51118"/>
                      <a:gd name="connsiteY2" fmla="*/ 0 h 52183"/>
                      <a:gd name="connsiteX3" fmla="*/ 51119 w 51118"/>
                      <a:gd name="connsiteY3" fmla="*/ 52184 h 521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1118" h="52183">
                        <a:moveTo>
                          <a:pt x="0" y="52184"/>
                        </a:moveTo>
                        <a:lnTo>
                          <a:pt x="0" y="0"/>
                        </a:lnTo>
                        <a:lnTo>
                          <a:pt x="51119" y="0"/>
                        </a:lnTo>
                        <a:lnTo>
                          <a:pt x="51119" y="52184"/>
                        </a:lnTo>
                      </a:path>
                    </a:pathLst>
                  </a:custGeom>
                  <a:noFill/>
                  <a:ln w="9525" cap="flat">
                    <a:solidFill>
                      <a:schemeClr val="tx2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 sz="1985" dirty="0"/>
                  </a:p>
                </p:txBody>
              </p:sp>
            </p:grpSp>
            <p:sp>
              <p:nvSpPr>
                <p:cNvPr id="28" name="Freeform: Shape 152">
                  <a:extLst>
                    <a:ext uri="{FF2B5EF4-FFF2-40B4-BE49-F238E27FC236}">
                      <a16:creationId xmlns:a16="http://schemas.microsoft.com/office/drawing/2014/main" id="{F5AB2B10-B14D-63C9-1A0B-D682779EFF02}"/>
                    </a:ext>
                  </a:extLst>
                </p:cNvPr>
                <p:cNvSpPr/>
                <p:nvPr/>
              </p:nvSpPr>
              <p:spPr>
                <a:xfrm>
                  <a:off x="7762714" y="3234875"/>
                  <a:ext cx="266776" cy="35144"/>
                </a:xfrm>
                <a:custGeom>
                  <a:avLst/>
                  <a:gdLst>
                    <a:gd name="connsiteX0" fmla="*/ 0 w 266776"/>
                    <a:gd name="connsiteY0" fmla="*/ 35144 h 35144"/>
                    <a:gd name="connsiteX1" fmla="*/ 0 w 266776"/>
                    <a:gd name="connsiteY1" fmla="*/ 0 h 35144"/>
                    <a:gd name="connsiteX2" fmla="*/ 266776 w 266776"/>
                    <a:gd name="connsiteY2" fmla="*/ 0 h 35144"/>
                    <a:gd name="connsiteX3" fmla="*/ 266776 w 266776"/>
                    <a:gd name="connsiteY3" fmla="*/ 35144 h 35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6776" h="35144">
                      <a:moveTo>
                        <a:pt x="0" y="35144"/>
                      </a:moveTo>
                      <a:lnTo>
                        <a:pt x="0" y="0"/>
                      </a:lnTo>
                      <a:lnTo>
                        <a:pt x="266776" y="0"/>
                      </a:lnTo>
                      <a:lnTo>
                        <a:pt x="266776" y="35144"/>
                      </a:lnTo>
                    </a:path>
                  </a:pathLst>
                </a:custGeom>
                <a:noFill/>
                <a:ln w="9525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 sz="2852"/>
                </a:p>
              </p:txBody>
            </p:sp>
          </p:grpSp>
        </p:grpSp>
      </p:grpSp>
      <p:grpSp>
        <p:nvGrpSpPr>
          <p:cNvPr id="481" name="Группа 480">
            <a:extLst>
              <a:ext uri="{FF2B5EF4-FFF2-40B4-BE49-F238E27FC236}">
                <a16:creationId xmlns:a16="http://schemas.microsoft.com/office/drawing/2014/main" id="{17FBC219-679E-03AF-CC67-5A2592BADFBA}"/>
              </a:ext>
            </a:extLst>
          </p:cNvPr>
          <p:cNvGrpSpPr/>
          <p:nvPr/>
        </p:nvGrpSpPr>
        <p:grpSpPr>
          <a:xfrm>
            <a:off x="732813" y="5482384"/>
            <a:ext cx="17766029" cy="2296319"/>
            <a:chOff x="352484" y="2707672"/>
            <a:chExt cx="8545497" cy="1104534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7B072CA5-C1F0-42E2-EE33-13F0FCDA4926}"/>
                </a:ext>
              </a:extLst>
            </p:cNvPr>
            <p:cNvSpPr txBox="1"/>
            <p:nvPr/>
          </p:nvSpPr>
          <p:spPr>
            <a:xfrm>
              <a:off x="6493932" y="2910543"/>
              <a:ext cx="2404049" cy="9016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54619" indent="-254619">
                <a:spcAft>
                  <a:spcPts val="208"/>
                </a:spcAft>
                <a:buClr>
                  <a:srgbClr val="8FC54C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>
                  <a:solidFill>
                    <a:schemeClr val="tx2"/>
                  </a:solidFill>
                </a:rPr>
                <a:t>Ассоциирование застройщика</a:t>
              </a:r>
              <a:r>
                <a:rPr lang="en-US" sz="1455" b="1" dirty="0">
                  <a:solidFill>
                    <a:schemeClr val="tx2"/>
                  </a:solidFill>
                </a:rPr>
                <a:t/>
              </a:r>
              <a:br>
                <a:rPr lang="en-US" sz="1455" b="1" dirty="0">
                  <a:solidFill>
                    <a:schemeClr val="tx2"/>
                  </a:solidFill>
                </a:rPr>
              </a:br>
              <a:r>
                <a:rPr lang="ru-RU" sz="1455" b="1" dirty="0">
                  <a:solidFill>
                    <a:schemeClr val="tx2"/>
                  </a:solidFill>
                </a:rPr>
                <a:t>с предоставлением комфортных</a:t>
              </a:r>
              <a:r>
                <a:rPr lang="en-US" sz="1455" b="1" dirty="0">
                  <a:solidFill>
                    <a:schemeClr val="tx2"/>
                  </a:solidFill>
                </a:rPr>
                <a:t/>
              </a:r>
              <a:br>
                <a:rPr lang="en-US" sz="1455" b="1" dirty="0">
                  <a:solidFill>
                    <a:schemeClr val="tx2"/>
                  </a:solidFill>
                </a:rPr>
              </a:br>
              <a:r>
                <a:rPr lang="ru-RU" sz="1455" b="1" dirty="0">
                  <a:solidFill>
                    <a:schemeClr val="tx2"/>
                  </a:solidFill>
                </a:rPr>
                <a:t>и качественных домов </a:t>
              </a:r>
              <a:r>
                <a:rPr lang="ru-RU" sz="1455" dirty="0">
                  <a:solidFill>
                    <a:prstClr val="white">
                      <a:lumMod val="50000"/>
                    </a:prstClr>
                  </a:solidFill>
                </a:rPr>
                <a:t>является маркетинговым преимуществом</a:t>
              </a:r>
              <a:endParaRPr lang="en-US" sz="1455" dirty="0">
                <a:solidFill>
                  <a:prstClr val="white">
                    <a:lumMod val="50000"/>
                  </a:prstClr>
                </a:solidFill>
              </a:endParaRPr>
            </a:p>
            <a:p>
              <a:pPr marL="254619" indent="-254619">
                <a:spcAft>
                  <a:spcPts val="208"/>
                </a:spcAft>
                <a:buClr>
                  <a:srgbClr val="8FC54C"/>
                </a:buClr>
                <a:buFont typeface="Wingdings" panose="05000000000000000000" pitchFamily="2" charset="2"/>
                <a:buChar char="§"/>
              </a:pPr>
              <a:endParaRPr lang="ru-RU" sz="208" dirty="0">
                <a:solidFill>
                  <a:prstClr val="white">
                    <a:lumMod val="50000"/>
                  </a:prstClr>
                </a:solidFill>
              </a:endParaRPr>
            </a:p>
            <a:p>
              <a:pPr marL="254619" indent="-254619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/>
                <a:t>Увеличение срока службы конструкций здания</a:t>
              </a:r>
              <a:r>
                <a:rPr lang="ru-RU" sz="1455" dirty="0"/>
                <a:t> </a:t>
              </a:r>
              <a:br>
                <a:rPr lang="ru-RU" sz="1455" dirty="0"/>
              </a:br>
              <a: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  <a:t>как результат – экономия на обслуживании </a:t>
              </a:r>
              <a:b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  <a:t>(если управляющая компания принадлежит застройщику)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B5ADE9A-A709-F104-2334-F531F77B8BE0}"/>
                </a:ext>
              </a:extLst>
            </p:cNvPr>
            <p:cNvSpPr txBox="1"/>
            <p:nvPr/>
          </p:nvSpPr>
          <p:spPr>
            <a:xfrm>
              <a:off x="358774" y="2910543"/>
              <a:ext cx="2808000" cy="49859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99376" indent="-299376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>
                  <a:solidFill>
                    <a:schemeClr val="tx2"/>
                  </a:solidFill>
                </a:rPr>
                <a:t>Имидж ответственного застройщика </a:t>
              </a:r>
              <a: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  <a:t>является маркетинговым преимуществом</a:t>
              </a:r>
              <a:endParaRPr lang="en-US" sz="1455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99376" indent="-299376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endParaRPr lang="ru-RU" sz="208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99376" indent="-299376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/>
                <a:t>Экономия ресурсов </a:t>
              </a:r>
              <a: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  <a:t>за счет использования готовых зеленых решений в организации строительства и подборе материалов</a:t>
              </a:r>
              <a:endParaRPr lang="en-US" sz="1455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99376" indent="-299376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endParaRPr lang="ru-RU" sz="208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7F489FBA-FE26-A758-99BB-0542D17D7DB3}"/>
                </a:ext>
              </a:extLst>
            </p:cNvPr>
            <p:cNvSpPr txBox="1"/>
            <p:nvPr/>
          </p:nvSpPr>
          <p:spPr>
            <a:xfrm>
              <a:off x="3366344" y="2910543"/>
              <a:ext cx="2808000" cy="4832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99376" indent="-254619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/>
                <a:t>Выгода 5-10% </a:t>
              </a:r>
              <a: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  <a:t>за счет роста цены продажи на 10-15% </a:t>
              </a:r>
              <a:b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  <a:t>и увеличения выручки</a:t>
              </a:r>
              <a:endParaRPr lang="en-US" sz="1455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99376" indent="-254619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endParaRPr lang="ru-RU" sz="208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99376" indent="-254619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1455" b="1" dirty="0">
                  <a:solidFill>
                    <a:srgbClr val="3E5057"/>
                  </a:solidFill>
                </a:rPr>
                <a:t>Более качественный продукт</a:t>
              </a:r>
              <a:r>
                <a:rPr lang="ru-RU" sz="1455" dirty="0">
                  <a:solidFill>
                    <a:srgbClr val="3E5057"/>
                  </a:solidFill>
                </a:rPr>
                <a:t> </a:t>
              </a:r>
              <a:r>
                <a:rPr lang="ru-RU" sz="1455" dirty="0">
                  <a:solidFill>
                    <a:schemeClr val="bg1">
                      <a:lumMod val="50000"/>
                    </a:schemeClr>
                  </a:solidFill>
                </a:rPr>
                <a:t>по сравнению с конкурентами</a:t>
              </a:r>
              <a:endParaRPr lang="en-US" sz="1455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99376" indent="-254619">
                <a:spcAft>
                  <a:spcPts val="208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endParaRPr lang="ru-RU" sz="1455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478" name="Группа 477">
              <a:extLst>
                <a:ext uri="{FF2B5EF4-FFF2-40B4-BE49-F238E27FC236}">
                  <a16:creationId xmlns:a16="http://schemas.microsoft.com/office/drawing/2014/main" id="{E988E5BE-7535-8B09-EC31-5B008BA515D1}"/>
                </a:ext>
              </a:extLst>
            </p:cNvPr>
            <p:cNvGrpSpPr/>
            <p:nvPr/>
          </p:nvGrpSpPr>
          <p:grpSpPr>
            <a:xfrm>
              <a:off x="352484" y="2707672"/>
              <a:ext cx="8545497" cy="180000"/>
              <a:chOff x="352484" y="2707672"/>
              <a:chExt cx="8545497" cy="180000"/>
            </a:xfrm>
          </p:grpSpPr>
          <p:sp>
            <p:nvSpPr>
              <p:cNvPr id="50" name="Скругленный прямоугольник 136">
                <a:extLst>
                  <a:ext uri="{FF2B5EF4-FFF2-40B4-BE49-F238E27FC236}">
                    <a16:creationId xmlns:a16="http://schemas.microsoft.com/office/drawing/2014/main" id="{E7F2AD1C-FD2F-5200-0E17-68BE44C85FD9}"/>
                  </a:ext>
                </a:extLst>
              </p:cNvPr>
              <p:cNvSpPr/>
              <p:nvPr/>
            </p:nvSpPr>
            <p:spPr>
              <a:xfrm>
                <a:off x="352484" y="2707672"/>
                <a:ext cx="8545497" cy="1800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523906" tIns="14969" rIns="74844" bIns="14969" rtlCol="0" anchor="ctr" anchorCtr="0">
                <a:noAutofit/>
              </a:bodyPr>
              <a:lstStyle/>
              <a:p>
                <a:r>
                  <a:rPr lang="ru-RU" sz="1663" b="1" dirty="0">
                    <a:solidFill>
                      <a:schemeClr val="tx1"/>
                    </a:solidFill>
                  </a:rPr>
                  <a:t>Застройщики</a:t>
                </a:r>
              </a:p>
            </p:txBody>
          </p:sp>
          <p:grpSp>
            <p:nvGrpSpPr>
              <p:cNvPr id="44" name="Group 62">
                <a:extLst>
                  <a:ext uri="{FF2B5EF4-FFF2-40B4-BE49-F238E27FC236}">
                    <a16:creationId xmlns:a16="http://schemas.microsoft.com/office/drawing/2014/main" id="{CA8D5927-F5F6-1EF5-661E-8A5924B17226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79380" y="2714879"/>
                <a:ext cx="156503" cy="161329"/>
                <a:chOff x="7336766" y="-813858"/>
                <a:chExt cx="438150" cy="438150"/>
              </a:xfrm>
            </p:grpSpPr>
            <p:grpSp>
              <p:nvGrpSpPr>
                <p:cNvPr id="45" name="Group 63">
                  <a:extLst>
                    <a:ext uri="{FF2B5EF4-FFF2-40B4-BE49-F238E27FC236}">
                      <a16:creationId xmlns:a16="http://schemas.microsoft.com/office/drawing/2014/main" id="{D03A99DA-A048-3394-BE15-FCE004E4B105}"/>
                    </a:ext>
                  </a:extLst>
                </p:cNvPr>
                <p:cNvGrpSpPr/>
                <p:nvPr/>
              </p:nvGrpSpPr>
              <p:grpSpPr>
                <a:xfrm>
                  <a:off x="7584416" y="-670983"/>
                  <a:ext cx="190500" cy="152400"/>
                  <a:chOff x="7584416" y="-670983"/>
                  <a:chExt cx="190500" cy="152400"/>
                </a:xfrm>
              </p:grpSpPr>
              <p:sp>
                <p:nvSpPr>
                  <p:cNvPr id="473" name="Freeform: Shape 225">
                    <a:extLst>
                      <a:ext uri="{FF2B5EF4-FFF2-40B4-BE49-F238E27FC236}">
                        <a16:creationId xmlns:a16="http://schemas.microsoft.com/office/drawing/2014/main" id="{A3785168-B5FB-E8EC-8DEE-56EBDEC1BD96}"/>
                      </a:ext>
                    </a:extLst>
                  </p:cNvPr>
                  <p:cNvSpPr/>
                  <p:nvPr/>
                </p:nvSpPr>
                <p:spPr>
                  <a:xfrm>
                    <a:off x="7679666" y="-670983"/>
                    <a:ext cx="9525" cy="66675"/>
                  </a:xfrm>
                  <a:custGeom>
                    <a:avLst/>
                    <a:gdLst>
                      <a:gd name="connsiteX0" fmla="*/ 0 w 9525"/>
                      <a:gd name="connsiteY0" fmla="*/ 0 h 66675"/>
                      <a:gd name="connsiteX1" fmla="*/ 0 w 9525"/>
                      <a:gd name="connsiteY1" fmla="*/ 66675 h 666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9525" h="66675">
                        <a:moveTo>
                          <a:pt x="0" y="0"/>
                        </a:moveTo>
                        <a:lnTo>
                          <a:pt x="0" y="66675"/>
                        </a:lnTo>
                      </a:path>
                    </a:pathLst>
                  </a:custGeom>
                  <a:noFill/>
                  <a:ln w="9525" cap="rnd">
                    <a:solidFill>
                      <a:schemeClr val="tx2"/>
                    </a:solidFill>
                    <a:prstDash val="solid"/>
                    <a:round/>
                  </a:ln>
                </p:spPr>
                <p:txBody>
                  <a:bodyPr rot="0" spcFirstLastPara="0" vertOverflow="overflow" horzOverflow="overflow" vert="horz" wrap="square" lIns="113430" tIns="56713" rIns="113430" bIns="5671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ru-RU" sz="2852"/>
                  </a:p>
                </p:txBody>
              </p:sp>
              <p:sp>
                <p:nvSpPr>
                  <p:cNvPr id="474" name="Freeform: Shape 226">
                    <a:extLst>
                      <a:ext uri="{FF2B5EF4-FFF2-40B4-BE49-F238E27FC236}">
                        <a16:creationId xmlns:a16="http://schemas.microsoft.com/office/drawing/2014/main" id="{82BE2BFF-9CD4-547B-F795-BF71065CF999}"/>
                      </a:ext>
                    </a:extLst>
                  </p:cNvPr>
                  <p:cNvSpPr/>
                  <p:nvPr/>
                </p:nvSpPr>
                <p:spPr>
                  <a:xfrm>
                    <a:off x="7584416" y="-528108"/>
                    <a:ext cx="190500" cy="9525"/>
                  </a:xfrm>
                  <a:custGeom>
                    <a:avLst/>
                    <a:gdLst>
                      <a:gd name="connsiteX0" fmla="*/ 0 w 190500"/>
                      <a:gd name="connsiteY0" fmla="*/ 0 h 9525"/>
                      <a:gd name="connsiteX1" fmla="*/ 190500 w 190500"/>
                      <a:gd name="connsiteY1" fmla="*/ 0 h 9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90500" h="9525">
                        <a:moveTo>
                          <a:pt x="0" y="0"/>
                        </a:moveTo>
                        <a:lnTo>
                          <a:pt x="190500" y="0"/>
                        </a:lnTo>
                      </a:path>
                    </a:pathLst>
                  </a:custGeom>
                  <a:noFill/>
                  <a:ln w="9525" cap="rnd">
                    <a:solidFill>
                      <a:schemeClr val="tx2"/>
                    </a:solidFill>
                    <a:prstDash val="solid"/>
                    <a:round/>
                  </a:ln>
                </p:spPr>
                <p:txBody>
                  <a:bodyPr rot="0" spcFirstLastPara="0" vertOverflow="overflow" horzOverflow="overflow" vert="horz" wrap="square" lIns="113430" tIns="56713" rIns="113430" bIns="5671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ru-RU" sz="2852"/>
                  </a:p>
                </p:txBody>
              </p:sp>
              <p:sp>
                <p:nvSpPr>
                  <p:cNvPr id="475" name="Freeform: Shape 227">
                    <a:extLst>
                      <a:ext uri="{FF2B5EF4-FFF2-40B4-BE49-F238E27FC236}">
                        <a16:creationId xmlns:a16="http://schemas.microsoft.com/office/drawing/2014/main" id="{DA99B568-19AF-BA66-3FDE-4C5BF1695920}"/>
                      </a:ext>
                    </a:extLst>
                  </p:cNvPr>
                  <p:cNvSpPr/>
                  <p:nvPr/>
                </p:nvSpPr>
                <p:spPr>
                  <a:xfrm>
                    <a:off x="7622516" y="-604308"/>
                    <a:ext cx="114300" cy="76200"/>
                  </a:xfrm>
                  <a:custGeom>
                    <a:avLst/>
                    <a:gdLst>
                      <a:gd name="connsiteX0" fmla="*/ 114300 w 114300"/>
                      <a:gd name="connsiteY0" fmla="*/ 76200 h 76200"/>
                      <a:gd name="connsiteX1" fmla="*/ 57150 w 114300"/>
                      <a:gd name="connsiteY1" fmla="*/ 0 h 76200"/>
                      <a:gd name="connsiteX2" fmla="*/ 0 w 114300"/>
                      <a:gd name="connsiteY2" fmla="*/ 76200 h 76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14300" h="76200">
                        <a:moveTo>
                          <a:pt x="114300" y="76200"/>
                        </a:moveTo>
                        <a:lnTo>
                          <a:pt x="57150" y="0"/>
                        </a:lnTo>
                        <a:lnTo>
                          <a:pt x="0" y="76200"/>
                        </a:lnTo>
                      </a:path>
                    </a:pathLst>
                  </a:custGeom>
                  <a:noFill/>
                  <a:ln w="9525" cap="rnd">
                    <a:solidFill>
                      <a:schemeClr val="tx2"/>
                    </a:solidFill>
                    <a:prstDash val="solid"/>
                    <a:round/>
                  </a:ln>
                </p:spPr>
                <p:txBody>
                  <a:bodyPr rot="0" spcFirstLastPara="0" vertOverflow="overflow" horzOverflow="overflow" vert="horz" wrap="square" lIns="113430" tIns="56713" rIns="113430" bIns="56713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endParaRPr lang="ru-RU" sz="2852"/>
                  </a:p>
                </p:txBody>
              </p:sp>
            </p:grpSp>
            <p:sp>
              <p:nvSpPr>
                <p:cNvPr id="46" name="Freeform: Shape 216">
                  <a:extLst>
                    <a:ext uri="{FF2B5EF4-FFF2-40B4-BE49-F238E27FC236}">
                      <a16:creationId xmlns:a16="http://schemas.microsoft.com/office/drawing/2014/main" id="{000BBC7D-BF91-B54C-10C9-01487D099CCE}"/>
                    </a:ext>
                  </a:extLst>
                </p:cNvPr>
                <p:cNvSpPr/>
                <p:nvPr/>
              </p:nvSpPr>
              <p:spPr>
                <a:xfrm>
                  <a:off x="7422491" y="-718608"/>
                  <a:ext cx="352425" cy="47625"/>
                </a:xfrm>
                <a:custGeom>
                  <a:avLst/>
                  <a:gdLst>
                    <a:gd name="connsiteX0" fmla="*/ 0 w 352425"/>
                    <a:gd name="connsiteY0" fmla="*/ 47625 h 47625"/>
                    <a:gd name="connsiteX1" fmla="*/ 352425 w 352425"/>
                    <a:gd name="connsiteY1" fmla="*/ 47625 h 47625"/>
                    <a:gd name="connsiteX2" fmla="*/ 304800 w 352425"/>
                    <a:gd name="connsiteY2" fmla="*/ 0 h 47625"/>
                    <a:gd name="connsiteX3" fmla="*/ 0 w 352425"/>
                    <a:gd name="connsiteY3" fmla="*/ 0 h 47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52425" h="47625">
                      <a:moveTo>
                        <a:pt x="0" y="47625"/>
                      </a:moveTo>
                      <a:lnTo>
                        <a:pt x="352425" y="47625"/>
                      </a:lnTo>
                      <a:lnTo>
                        <a:pt x="30480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rot="0" spcFirstLastPara="0" vertOverflow="overflow" horzOverflow="overflow" vert="horz" wrap="square" lIns="113430" tIns="56713" rIns="113430" bIns="5671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 sz="2852"/>
                </a:p>
              </p:txBody>
            </p:sp>
            <p:sp>
              <p:nvSpPr>
                <p:cNvPr id="47" name="Freeform: Shape 217">
                  <a:extLst>
                    <a:ext uri="{FF2B5EF4-FFF2-40B4-BE49-F238E27FC236}">
                      <a16:creationId xmlns:a16="http://schemas.microsoft.com/office/drawing/2014/main" id="{78B1E6A2-271C-2F87-8031-2F37B3D5C5FD}"/>
                    </a:ext>
                  </a:extLst>
                </p:cNvPr>
                <p:cNvSpPr/>
                <p:nvPr/>
              </p:nvSpPr>
              <p:spPr>
                <a:xfrm>
                  <a:off x="7479641" y="-813858"/>
                  <a:ext cx="47625" cy="76200"/>
                </a:xfrm>
                <a:custGeom>
                  <a:avLst/>
                  <a:gdLst>
                    <a:gd name="connsiteX0" fmla="*/ 0 w 47625"/>
                    <a:gd name="connsiteY0" fmla="*/ 76200 h 76200"/>
                    <a:gd name="connsiteX1" fmla="*/ 0 w 47625"/>
                    <a:gd name="connsiteY1" fmla="*/ 0 h 76200"/>
                    <a:gd name="connsiteX2" fmla="*/ 9525 w 47625"/>
                    <a:gd name="connsiteY2" fmla="*/ 0 h 76200"/>
                    <a:gd name="connsiteX3" fmla="*/ 47625 w 47625"/>
                    <a:gd name="connsiteY3" fmla="*/ 66675 h 76200"/>
                    <a:gd name="connsiteX4" fmla="*/ 47625 w 47625"/>
                    <a:gd name="connsiteY4" fmla="*/ 76200 h 76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625" h="76200">
                      <a:moveTo>
                        <a:pt x="0" y="76200"/>
                      </a:moveTo>
                      <a:lnTo>
                        <a:pt x="0" y="0"/>
                      </a:lnTo>
                      <a:lnTo>
                        <a:pt x="9525" y="0"/>
                      </a:lnTo>
                      <a:lnTo>
                        <a:pt x="47625" y="66675"/>
                      </a:lnTo>
                      <a:lnTo>
                        <a:pt x="47625" y="76200"/>
                      </a:lnTo>
                    </a:path>
                  </a:pathLst>
                </a:custGeom>
                <a:noFill/>
                <a:ln w="9525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rot="0" spcFirstLastPara="0" vertOverflow="overflow" horzOverflow="overflow" vert="horz" wrap="square" lIns="113430" tIns="56713" rIns="113430" bIns="5671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 sz="2852"/>
                </a:p>
              </p:txBody>
            </p:sp>
            <p:sp>
              <p:nvSpPr>
                <p:cNvPr id="48" name="Freeform: Shape 218">
                  <a:extLst>
                    <a:ext uri="{FF2B5EF4-FFF2-40B4-BE49-F238E27FC236}">
                      <a16:creationId xmlns:a16="http://schemas.microsoft.com/office/drawing/2014/main" id="{F892437E-30CF-0F78-045F-9B7D7AEE245D}"/>
                    </a:ext>
                  </a:extLst>
                </p:cNvPr>
                <p:cNvSpPr/>
                <p:nvPr/>
              </p:nvSpPr>
              <p:spPr>
                <a:xfrm>
                  <a:off x="7460591" y="-718608"/>
                  <a:ext cx="238125" cy="47625"/>
                </a:xfrm>
                <a:custGeom>
                  <a:avLst/>
                  <a:gdLst>
                    <a:gd name="connsiteX0" fmla="*/ 238125 w 238125"/>
                    <a:gd name="connsiteY0" fmla="*/ 0 h 47625"/>
                    <a:gd name="connsiteX1" fmla="*/ 190500 w 238125"/>
                    <a:gd name="connsiteY1" fmla="*/ 47625 h 47625"/>
                    <a:gd name="connsiteX2" fmla="*/ 142875 w 238125"/>
                    <a:gd name="connsiteY2" fmla="*/ 0 h 47625"/>
                    <a:gd name="connsiteX3" fmla="*/ 95250 w 238125"/>
                    <a:gd name="connsiteY3" fmla="*/ 47625 h 47625"/>
                    <a:gd name="connsiteX4" fmla="*/ 47625 w 238125"/>
                    <a:gd name="connsiteY4" fmla="*/ 0 h 47625"/>
                    <a:gd name="connsiteX5" fmla="*/ 0 w 238125"/>
                    <a:gd name="connsiteY5" fmla="*/ 47625 h 47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38125" h="47625">
                      <a:moveTo>
                        <a:pt x="238125" y="0"/>
                      </a:moveTo>
                      <a:lnTo>
                        <a:pt x="190500" y="47625"/>
                      </a:lnTo>
                      <a:lnTo>
                        <a:pt x="142875" y="0"/>
                      </a:lnTo>
                      <a:lnTo>
                        <a:pt x="95250" y="47625"/>
                      </a:lnTo>
                      <a:lnTo>
                        <a:pt x="47625" y="0"/>
                      </a:lnTo>
                      <a:lnTo>
                        <a:pt x="0" y="47625"/>
                      </a:lnTo>
                    </a:path>
                  </a:pathLst>
                </a:custGeom>
                <a:noFill/>
                <a:ln w="9525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rot="0" spcFirstLastPara="0" vertOverflow="overflow" horzOverflow="overflow" vert="horz" wrap="square" lIns="113430" tIns="56713" rIns="113430" bIns="5671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 sz="2852"/>
                </a:p>
              </p:txBody>
            </p:sp>
            <p:sp>
              <p:nvSpPr>
                <p:cNvPr id="49" name="Freeform: Shape 219">
                  <a:extLst>
                    <a:ext uri="{FF2B5EF4-FFF2-40B4-BE49-F238E27FC236}">
                      <a16:creationId xmlns:a16="http://schemas.microsoft.com/office/drawing/2014/main" id="{FFAE8450-BA2D-AD15-0822-71DBE360A0D1}"/>
                    </a:ext>
                  </a:extLst>
                </p:cNvPr>
                <p:cNvSpPr/>
                <p:nvPr/>
              </p:nvSpPr>
              <p:spPr>
                <a:xfrm>
                  <a:off x="7489166" y="-813858"/>
                  <a:ext cx="190500" cy="95250"/>
                </a:xfrm>
                <a:custGeom>
                  <a:avLst/>
                  <a:gdLst>
                    <a:gd name="connsiteX0" fmla="*/ 0 w 190500"/>
                    <a:gd name="connsiteY0" fmla="*/ 0 h 95250"/>
                    <a:gd name="connsiteX1" fmla="*/ 190500 w 190500"/>
                    <a:gd name="connsiteY1" fmla="*/ 95250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0500" h="95250">
                      <a:moveTo>
                        <a:pt x="0" y="0"/>
                      </a:moveTo>
                      <a:lnTo>
                        <a:pt x="190500" y="95250"/>
                      </a:lnTo>
                    </a:path>
                  </a:pathLst>
                </a:custGeom>
                <a:noFill/>
                <a:ln w="9525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rot="0" spcFirstLastPara="0" vertOverflow="overflow" horzOverflow="overflow" vert="horz" wrap="square" lIns="113430" tIns="56713" rIns="113430" bIns="5671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 sz="2852"/>
                </a:p>
              </p:txBody>
            </p:sp>
            <p:sp>
              <p:nvSpPr>
                <p:cNvPr id="449" name="Freeform: Shape 220">
                  <a:extLst>
                    <a:ext uri="{FF2B5EF4-FFF2-40B4-BE49-F238E27FC236}">
                      <a16:creationId xmlns:a16="http://schemas.microsoft.com/office/drawing/2014/main" id="{DF3B8F54-9A65-A02F-17C0-51B8B7469612}"/>
                    </a:ext>
                  </a:extLst>
                </p:cNvPr>
                <p:cNvSpPr/>
                <p:nvPr/>
              </p:nvSpPr>
              <p:spPr>
                <a:xfrm>
                  <a:off x="7346291" y="-813858"/>
                  <a:ext cx="133350" cy="95250"/>
                </a:xfrm>
                <a:custGeom>
                  <a:avLst/>
                  <a:gdLst>
                    <a:gd name="connsiteX0" fmla="*/ 133350 w 133350"/>
                    <a:gd name="connsiteY0" fmla="*/ 0 h 95250"/>
                    <a:gd name="connsiteX1" fmla="*/ 0 w 133350"/>
                    <a:gd name="connsiteY1" fmla="*/ 95250 h 952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33350" h="95250">
                      <a:moveTo>
                        <a:pt x="133350" y="0"/>
                      </a:moveTo>
                      <a:lnTo>
                        <a:pt x="0" y="95250"/>
                      </a:lnTo>
                    </a:path>
                  </a:pathLst>
                </a:custGeom>
                <a:noFill/>
                <a:ln w="9525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rot="0" spcFirstLastPara="0" vertOverflow="overflow" horzOverflow="overflow" vert="horz" wrap="square" lIns="113430" tIns="56713" rIns="113430" bIns="5671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 sz="2852"/>
                </a:p>
              </p:txBody>
            </p:sp>
            <p:sp>
              <p:nvSpPr>
                <p:cNvPr id="466" name="Freeform: Shape 221">
                  <a:extLst>
                    <a:ext uri="{FF2B5EF4-FFF2-40B4-BE49-F238E27FC236}">
                      <a16:creationId xmlns:a16="http://schemas.microsoft.com/office/drawing/2014/main" id="{F320C5DA-EFD5-13A9-E0BF-114B01008C11}"/>
                    </a:ext>
                  </a:extLst>
                </p:cNvPr>
                <p:cNvSpPr/>
                <p:nvPr/>
              </p:nvSpPr>
              <p:spPr>
                <a:xfrm>
                  <a:off x="7479641" y="-651933"/>
                  <a:ext cx="9525" cy="276225"/>
                </a:xfrm>
                <a:custGeom>
                  <a:avLst/>
                  <a:gdLst>
                    <a:gd name="connsiteX0" fmla="*/ 0 w 9525"/>
                    <a:gd name="connsiteY0" fmla="*/ 0 h 276225"/>
                    <a:gd name="connsiteX1" fmla="*/ 0 w 9525"/>
                    <a:gd name="connsiteY1" fmla="*/ 276225 h 2762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76225">
                      <a:moveTo>
                        <a:pt x="0" y="0"/>
                      </a:moveTo>
                      <a:lnTo>
                        <a:pt x="0" y="276225"/>
                      </a:lnTo>
                    </a:path>
                  </a:pathLst>
                </a:custGeom>
                <a:noFill/>
                <a:ln w="9525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rot="0" spcFirstLastPara="0" vertOverflow="overflow" horzOverflow="overflow" vert="horz" wrap="square" lIns="113430" tIns="56713" rIns="113430" bIns="5671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 sz="2852"/>
                </a:p>
              </p:txBody>
            </p:sp>
            <p:sp>
              <p:nvSpPr>
                <p:cNvPr id="467" name="Freeform: Shape 222">
                  <a:extLst>
                    <a:ext uri="{FF2B5EF4-FFF2-40B4-BE49-F238E27FC236}">
                      <a16:creationId xmlns:a16="http://schemas.microsoft.com/office/drawing/2014/main" id="{79491F50-26F6-0E70-8990-F9875FA47702}"/>
                    </a:ext>
                  </a:extLst>
                </p:cNvPr>
                <p:cNvSpPr/>
                <p:nvPr/>
              </p:nvSpPr>
              <p:spPr>
                <a:xfrm>
                  <a:off x="7527266" y="-651933"/>
                  <a:ext cx="9525" cy="276225"/>
                </a:xfrm>
                <a:custGeom>
                  <a:avLst/>
                  <a:gdLst>
                    <a:gd name="connsiteX0" fmla="*/ 0 w 9525"/>
                    <a:gd name="connsiteY0" fmla="*/ 0 h 276225"/>
                    <a:gd name="connsiteX1" fmla="*/ 0 w 9525"/>
                    <a:gd name="connsiteY1" fmla="*/ 276225 h 2762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76225">
                      <a:moveTo>
                        <a:pt x="0" y="0"/>
                      </a:moveTo>
                      <a:lnTo>
                        <a:pt x="0" y="276225"/>
                      </a:lnTo>
                    </a:path>
                  </a:pathLst>
                </a:custGeom>
                <a:noFill/>
                <a:ln w="9525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rot="0" spcFirstLastPara="0" vertOverflow="overflow" horzOverflow="overflow" vert="horz" wrap="square" lIns="113430" tIns="56713" rIns="113430" bIns="5671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 sz="2852"/>
                </a:p>
              </p:txBody>
            </p:sp>
            <p:sp>
              <p:nvSpPr>
                <p:cNvPr id="468" name="Freeform: Shape 223">
                  <a:extLst>
                    <a:ext uri="{FF2B5EF4-FFF2-40B4-BE49-F238E27FC236}">
                      <a16:creationId xmlns:a16="http://schemas.microsoft.com/office/drawing/2014/main" id="{512B147F-6EAD-D833-88E7-AB1243DDC0BA}"/>
                    </a:ext>
                  </a:extLst>
                </p:cNvPr>
                <p:cNvSpPr/>
                <p:nvPr/>
              </p:nvSpPr>
              <p:spPr>
                <a:xfrm>
                  <a:off x="7479641" y="-632883"/>
                  <a:ext cx="47625" cy="238125"/>
                </a:xfrm>
                <a:custGeom>
                  <a:avLst/>
                  <a:gdLst>
                    <a:gd name="connsiteX0" fmla="*/ 0 w 47625"/>
                    <a:gd name="connsiteY0" fmla="*/ 0 h 238125"/>
                    <a:gd name="connsiteX1" fmla="*/ 47625 w 47625"/>
                    <a:gd name="connsiteY1" fmla="*/ 47625 h 238125"/>
                    <a:gd name="connsiteX2" fmla="*/ 0 w 47625"/>
                    <a:gd name="connsiteY2" fmla="*/ 95250 h 238125"/>
                    <a:gd name="connsiteX3" fmla="*/ 47625 w 47625"/>
                    <a:gd name="connsiteY3" fmla="*/ 142875 h 238125"/>
                    <a:gd name="connsiteX4" fmla="*/ 0 w 47625"/>
                    <a:gd name="connsiteY4" fmla="*/ 190500 h 238125"/>
                    <a:gd name="connsiteX5" fmla="*/ 47625 w 47625"/>
                    <a:gd name="connsiteY5" fmla="*/ 238125 h 2381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7625" h="238125">
                      <a:moveTo>
                        <a:pt x="0" y="0"/>
                      </a:moveTo>
                      <a:lnTo>
                        <a:pt x="47625" y="47625"/>
                      </a:lnTo>
                      <a:lnTo>
                        <a:pt x="0" y="95250"/>
                      </a:lnTo>
                      <a:lnTo>
                        <a:pt x="47625" y="142875"/>
                      </a:lnTo>
                      <a:lnTo>
                        <a:pt x="0" y="190500"/>
                      </a:lnTo>
                      <a:lnTo>
                        <a:pt x="47625" y="238125"/>
                      </a:lnTo>
                    </a:path>
                  </a:pathLst>
                </a:custGeom>
                <a:noFill/>
                <a:ln w="9525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rot="0" spcFirstLastPara="0" vertOverflow="overflow" horzOverflow="overflow" vert="horz" wrap="square" lIns="113430" tIns="56713" rIns="113430" bIns="5671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 sz="2852"/>
                </a:p>
              </p:txBody>
            </p:sp>
            <p:sp>
              <p:nvSpPr>
                <p:cNvPr id="471" name="Freeform: Shape 224">
                  <a:extLst>
                    <a:ext uri="{FF2B5EF4-FFF2-40B4-BE49-F238E27FC236}">
                      <a16:creationId xmlns:a16="http://schemas.microsoft.com/office/drawing/2014/main" id="{1BB699BA-9FD5-E1F3-5CAE-6EDC514497C3}"/>
                    </a:ext>
                  </a:extLst>
                </p:cNvPr>
                <p:cNvSpPr/>
                <p:nvPr/>
              </p:nvSpPr>
              <p:spPr>
                <a:xfrm>
                  <a:off x="7336766" y="-718608"/>
                  <a:ext cx="85725" cy="85725"/>
                </a:xfrm>
                <a:custGeom>
                  <a:avLst/>
                  <a:gdLst>
                    <a:gd name="connsiteX0" fmla="*/ 0 w 85725"/>
                    <a:gd name="connsiteY0" fmla="*/ 0 h 85725"/>
                    <a:gd name="connsiteX1" fmla="*/ 85725 w 85725"/>
                    <a:gd name="connsiteY1" fmla="*/ 0 h 85725"/>
                    <a:gd name="connsiteX2" fmla="*/ 85725 w 85725"/>
                    <a:gd name="connsiteY2" fmla="*/ 85725 h 85725"/>
                    <a:gd name="connsiteX3" fmla="*/ 0 w 85725"/>
                    <a:gd name="connsiteY3" fmla="*/ 85725 h 85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5725" h="85725">
                      <a:moveTo>
                        <a:pt x="0" y="0"/>
                      </a:moveTo>
                      <a:lnTo>
                        <a:pt x="85725" y="0"/>
                      </a:lnTo>
                      <a:lnTo>
                        <a:pt x="85725" y="85725"/>
                      </a:lnTo>
                      <a:lnTo>
                        <a:pt x="0" y="85725"/>
                      </a:lnTo>
                      <a:close/>
                    </a:path>
                  </a:pathLst>
                </a:custGeom>
                <a:noFill/>
                <a:ln w="9525" cap="rnd">
                  <a:solidFill>
                    <a:schemeClr val="tx2"/>
                  </a:solidFill>
                  <a:prstDash val="solid"/>
                  <a:round/>
                </a:ln>
              </p:spPr>
              <p:txBody>
                <a:bodyPr rot="0" spcFirstLastPara="0" vertOverflow="overflow" horzOverflow="overflow" vert="horz" wrap="square" lIns="113430" tIns="56713" rIns="113430" bIns="56713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ru-RU" sz="2852"/>
                </a:p>
              </p:txBody>
            </p:sp>
          </p:grpSp>
        </p:grpSp>
      </p:grpSp>
      <p:sp>
        <p:nvSpPr>
          <p:cNvPr id="71" name="Заголовок 3"/>
          <p:cNvSpPr txBox="1">
            <a:spLocks/>
          </p:cNvSpPr>
          <p:nvPr/>
        </p:nvSpPr>
        <p:spPr bwMode="auto">
          <a:xfrm>
            <a:off x="382591" y="243649"/>
            <a:ext cx="18293206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18288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2860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27432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2004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defTabSz="1422394">
              <a:defRPr/>
            </a:pPr>
            <a:r>
              <a:rPr lang="ru-RU" altLang="ru-RU" sz="3600" b="1" dirty="0">
                <a:solidFill>
                  <a:srgbClr val="3E5057"/>
                </a:solidFill>
              </a:rPr>
              <a:t>Преимущества зеленого строительства:</a:t>
            </a:r>
            <a:br>
              <a:rPr lang="ru-RU" altLang="ru-RU" sz="3600" b="1" dirty="0">
                <a:solidFill>
                  <a:srgbClr val="3E5057"/>
                </a:solidFill>
              </a:rPr>
            </a:br>
            <a:r>
              <a:rPr lang="ru-RU" altLang="ru-RU" sz="3600" b="1" dirty="0">
                <a:solidFill>
                  <a:srgbClr val="3E5057"/>
                </a:solidFill>
              </a:rPr>
              <a:t>распределение во времени и между участниками рынка </a:t>
            </a:r>
          </a:p>
        </p:txBody>
      </p:sp>
    </p:spTree>
    <p:extLst>
      <p:ext uri="{BB962C8B-B14F-4D97-AF65-F5344CB8AC3E}">
        <p14:creationId xmlns:p14="http://schemas.microsoft.com/office/powerpoint/2010/main" val="32193631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Группа 13"/>
          <p:cNvGrpSpPr/>
          <p:nvPr/>
        </p:nvGrpSpPr>
        <p:grpSpPr>
          <a:xfrm>
            <a:off x="2903986" y="1190020"/>
            <a:ext cx="15941024" cy="8063134"/>
            <a:chOff x="1562866" y="1327180"/>
            <a:chExt cx="15941024" cy="8063134"/>
          </a:xfrm>
        </p:grpSpPr>
        <p:grpSp>
          <p:nvGrpSpPr>
            <p:cNvPr id="13" name="Группа 12"/>
            <p:cNvGrpSpPr/>
            <p:nvPr/>
          </p:nvGrpSpPr>
          <p:grpSpPr>
            <a:xfrm>
              <a:off x="1562866" y="1327180"/>
              <a:ext cx="15941024" cy="8063134"/>
              <a:chOff x="1562866" y="1327180"/>
              <a:chExt cx="15941024" cy="8063134"/>
            </a:xfrm>
          </p:grpSpPr>
          <p:grpSp>
            <p:nvGrpSpPr>
              <p:cNvPr id="12" name="Группа 11"/>
              <p:cNvGrpSpPr/>
              <p:nvPr/>
            </p:nvGrpSpPr>
            <p:grpSpPr>
              <a:xfrm>
                <a:off x="2025624" y="1327180"/>
                <a:ext cx="15478266" cy="7893435"/>
                <a:chOff x="2025624" y="1327180"/>
                <a:chExt cx="15478266" cy="7893435"/>
              </a:xfrm>
            </p:grpSpPr>
            <p:pic>
              <p:nvPicPr>
                <p:cNvPr id="7" name="Рисунок 6"/>
                <p:cNvPicPr>
                  <a:picLocks noChangeAspect="1"/>
                </p:cNvPicPr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3697568" y="5473862"/>
                  <a:ext cx="564340" cy="633569"/>
                </a:xfrm>
                <a:prstGeom prst="rect">
                  <a:avLst/>
                </a:prstGeom>
              </p:spPr>
            </p:pic>
            <p:grpSp>
              <p:nvGrpSpPr>
                <p:cNvPr id="11" name="Группа 10"/>
                <p:cNvGrpSpPr/>
                <p:nvPr/>
              </p:nvGrpSpPr>
              <p:grpSpPr>
                <a:xfrm>
                  <a:off x="2025624" y="1327180"/>
                  <a:ext cx="15478266" cy="7893435"/>
                  <a:chOff x="2025624" y="1327180"/>
                  <a:chExt cx="15478266" cy="7893435"/>
                </a:xfrm>
              </p:grpSpPr>
              <p:grpSp>
                <p:nvGrpSpPr>
                  <p:cNvPr id="9" name="Группа 8"/>
                  <p:cNvGrpSpPr/>
                  <p:nvPr/>
                </p:nvGrpSpPr>
                <p:grpSpPr>
                  <a:xfrm>
                    <a:off x="2025624" y="1327180"/>
                    <a:ext cx="15478266" cy="7893435"/>
                    <a:chOff x="3283639" y="1360616"/>
                    <a:chExt cx="15937811" cy="8451479"/>
                  </a:xfrm>
                </p:grpSpPr>
                <p:grpSp>
                  <p:nvGrpSpPr>
                    <p:cNvPr id="24612" name="Группа 3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3553326" y="1360616"/>
                      <a:ext cx="15668124" cy="8451479"/>
                      <a:chOff x="-49896" y="0"/>
                      <a:chExt cx="6385176" cy="3048001"/>
                    </a:xfrm>
                  </p:grpSpPr>
                  <p:pic>
                    <p:nvPicPr>
                      <p:cNvPr id="24614" name="Рисунок 20"/>
                      <p:cNvPicPr>
                        <a:picLocks noChangeAspect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 bwMode="auto">
                      <a:xfrm>
                        <a:off x="1870971" y="1485212"/>
                        <a:ext cx="1065213" cy="58724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grpSp>
                    <p:nvGrpSpPr>
                      <p:cNvPr id="22" name="Группа 21">
                        <a:extLst>
                          <a:ext uri="{FF2B5EF4-FFF2-40B4-BE49-F238E27FC236}">
                            <a16:creationId xmlns:a16="http://schemas.microsoft.com/office/drawing/2014/main" id="{F6F99972-C7BF-48EB-ABDA-E4609E19C210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-49896" y="0"/>
                        <a:ext cx="6385176" cy="3048001"/>
                        <a:chOff x="-48662" y="0"/>
                        <a:chExt cx="6227370" cy="3214530"/>
                      </a:xfrm>
                      <a:solidFill>
                        <a:srgbClr val="F2F2F2"/>
                      </a:solidFill>
                    </p:grpSpPr>
                    <p:sp>
                      <p:nvSpPr>
                        <p:cNvPr id="35" name="Freeform 145">
                          <a:extLst>
                            <a:ext uri="{FF2B5EF4-FFF2-40B4-BE49-F238E27FC236}">
                              <a16:creationId xmlns:a16="http://schemas.microsoft.com/office/drawing/2014/main" id="{5F84910C-389F-4DA3-859E-0FD69E10C514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025458" y="0"/>
                          <a:ext cx="807480" cy="964461"/>
                        </a:xfrm>
                        <a:custGeom>
                          <a:avLst/>
                          <a:gdLst>
                            <a:gd name="T0" fmla="*/ 746 w 787"/>
                            <a:gd name="T1" fmla="*/ 549 h 940"/>
                            <a:gd name="T2" fmla="*/ 787 w 787"/>
                            <a:gd name="T3" fmla="*/ 484 h 940"/>
                            <a:gd name="T4" fmla="*/ 646 w 787"/>
                            <a:gd name="T5" fmla="*/ 440 h 940"/>
                            <a:gd name="T6" fmla="*/ 595 w 787"/>
                            <a:gd name="T7" fmla="*/ 464 h 940"/>
                            <a:gd name="T8" fmla="*/ 562 w 787"/>
                            <a:gd name="T9" fmla="*/ 490 h 940"/>
                            <a:gd name="T10" fmla="*/ 595 w 787"/>
                            <a:gd name="T11" fmla="*/ 440 h 940"/>
                            <a:gd name="T12" fmla="*/ 601 w 787"/>
                            <a:gd name="T13" fmla="*/ 344 h 940"/>
                            <a:gd name="T14" fmla="*/ 572 w 787"/>
                            <a:gd name="T15" fmla="*/ 349 h 940"/>
                            <a:gd name="T16" fmla="*/ 541 w 787"/>
                            <a:gd name="T17" fmla="*/ 335 h 940"/>
                            <a:gd name="T18" fmla="*/ 528 w 787"/>
                            <a:gd name="T19" fmla="*/ 273 h 940"/>
                            <a:gd name="T20" fmla="*/ 568 w 787"/>
                            <a:gd name="T21" fmla="*/ 283 h 940"/>
                            <a:gd name="T22" fmla="*/ 603 w 787"/>
                            <a:gd name="T23" fmla="*/ 277 h 940"/>
                            <a:gd name="T24" fmla="*/ 624 w 787"/>
                            <a:gd name="T25" fmla="*/ 222 h 940"/>
                            <a:gd name="T26" fmla="*/ 734 w 787"/>
                            <a:gd name="T27" fmla="*/ 174 h 940"/>
                            <a:gd name="T28" fmla="*/ 752 w 787"/>
                            <a:gd name="T29" fmla="*/ 159 h 940"/>
                            <a:gd name="T30" fmla="*/ 714 w 787"/>
                            <a:gd name="T31" fmla="*/ 133 h 940"/>
                            <a:gd name="T32" fmla="*/ 652 w 787"/>
                            <a:gd name="T33" fmla="*/ 99 h 940"/>
                            <a:gd name="T34" fmla="*/ 646 w 787"/>
                            <a:gd name="T35" fmla="*/ 55 h 940"/>
                            <a:gd name="T36" fmla="*/ 640 w 787"/>
                            <a:gd name="T37" fmla="*/ 0 h 940"/>
                            <a:gd name="T38" fmla="*/ 552 w 787"/>
                            <a:gd name="T39" fmla="*/ 90 h 940"/>
                            <a:gd name="T40" fmla="*/ 586 w 787"/>
                            <a:gd name="T41" fmla="*/ 142 h 940"/>
                            <a:gd name="T42" fmla="*/ 464 w 787"/>
                            <a:gd name="T43" fmla="*/ 131 h 940"/>
                            <a:gd name="T44" fmla="*/ 200 w 787"/>
                            <a:gd name="T45" fmla="*/ 287 h 940"/>
                            <a:gd name="T46" fmla="*/ 162 w 787"/>
                            <a:gd name="T47" fmla="*/ 377 h 940"/>
                            <a:gd name="T48" fmla="*/ 93 w 787"/>
                            <a:gd name="T49" fmla="*/ 422 h 940"/>
                            <a:gd name="T50" fmla="*/ 147 w 787"/>
                            <a:gd name="T51" fmla="*/ 449 h 940"/>
                            <a:gd name="T52" fmla="*/ 181 w 787"/>
                            <a:gd name="T53" fmla="*/ 510 h 940"/>
                            <a:gd name="T54" fmla="*/ 122 w 787"/>
                            <a:gd name="T55" fmla="*/ 527 h 940"/>
                            <a:gd name="T56" fmla="*/ 72 w 787"/>
                            <a:gd name="T57" fmla="*/ 560 h 940"/>
                            <a:gd name="T58" fmla="*/ 0 w 787"/>
                            <a:gd name="T59" fmla="*/ 637 h 940"/>
                            <a:gd name="T60" fmla="*/ 87 w 787"/>
                            <a:gd name="T61" fmla="*/ 701 h 940"/>
                            <a:gd name="T62" fmla="*/ 87 w 787"/>
                            <a:gd name="T63" fmla="*/ 741 h 940"/>
                            <a:gd name="T64" fmla="*/ 86 w 787"/>
                            <a:gd name="T65" fmla="*/ 742 h 940"/>
                            <a:gd name="T66" fmla="*/ 38 w 787"/>
                            <a:gd name="T67" fmla="*/ 858 h 940"/>
                            <a:gd name="T68" fmla="*/ 109 w 787"/>
                            <a:gd name="T69" fmla="*/ 871 h 940"/>
                            <a:gd name="T70" fmla="*/ 111 w 787"/>
                            <a:gd name="T71" fmla="*/ 872 h 940"/>
                            <a:gd name="T72" fmla="*/ 154 w 787"/>
                            <a:gd name="T73" fmla="*/ 910 h 940"/>
                            <a:gd name="T74" fmla="*/ 155 w 787"/>
                            <a:gd name="T75" fmla="*/ 911 h 940"/>
                            <a:gd name="T76" fmla="*/ 208 w 787"/>
                            <a:gd name="T77" fmla="*/ 923 h 940"/>
                            <a:gd name="T78" fmla="*/ 209 w 787"/>
                            <a:gd name="T79" fmla="*/ 923 h 940"/>
                            <a:gd name="T80" fmla="*/ 268 w 787"/>
                            <a:gd name="T81" fmla="*/ 911 h 940"/>
                            <a:gd name="T82" fmla="*/ 269 w 787"/>
                            <a:gd name="T83" fmla="*/ 911 h 940"/>
                            <a:gd name="T84" fmla="*/ 337 w 787"/>
                            <a:gd name="T85" fmla="*/ 878 h 940"/>
                            <a:gd name="T86" fmla="*/ 332 w 787"/>
                            <a:gd name="T87" fmla="*/ 847 h 940"/>
                            <a:gd name="T88" fmla="*/ 363 w 787"/>
                            <a:gd name="T89" fmla="*/ 837 h 940"/>
                            <a:gd name="T90" fmla="*/ 371 w 787"/>
                            <a:gd name="T91" fmla="*/ 808 h 940"/>
                            <a:gd name="T92" fmla="*/ 397 w 787"/>
                            <a:gd name="T93" fmla="*/ 805 h 940"/>
                            <a:gd name="T94" fmla="*/ 405 w 787"/>
                            <a:gd name="T95" fmla="*/ 780 h 940"/>
                            <a:gd name="T96" fmla="*/ 452 w 787"/>
                            <a:gd name="T97" fmla="*/ 769 h 940"/>
                            <a:gd name="T98" fmla="*/ 465 w 787"/>
                            <a:gd name="T99" fmla="*/ 747 h 940"/>
                            <a:gd name="T100" fmla="*/ 535 w 787"/>
                            <a:gd name="T101" fmla="*/ 743 h 940"/>
                            <a:gd name="T102" fmla="*/ 536 w 787"/>
                            <a:gd name="T103" fmla="*/ 744 h 940"/>
                            <a:gd name="T104" fmla="*/ 600 w 787"/>
                            <a:gd name="T105" fmla="*/ 773 h 940"/>
                            <a:gd name="T106" fmla="*/ 601 w 787"/>
                            <a:gd name="T107" fmla="*/ 773 h 940"/>
                            <a:gd name="T108" fmla="*/ 695 w 787"/>
                            <a:gd name="T109" fmla="*/ 654 h 940"/>
                            <a:gd name="T110" fmla="*/ 698 w 787"/>
                            <a:gd name="T111" fmla="*/ 652 h 940"/>
                            <a:gd name="T112" fmla="*/ 756 w 787"/>
                            <a:gd name="T113" fmla="*/ 656 h 94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</a:cxnLst>
                          <a:rect l="0" t="0" r="r" b="b"/>
                          <a:pathLst>
                            <a:path w="787" h="940">
                              <a:moveTo>
                                <a:pt x="756" y="656"/>
                              </a:moveTo>
                              <a:lnTo>
                                <a:pt x="746" y="549"/>
                              </a:lnTo>
                              <a:lnTo>
                                <a:pt x="717" y="532"/>
                              </a:lnTo>
                              <a:lnTo>
                                <a:pt x="787" y="484"/>
                              </a:lnTo>
                              <a:lnTo>
                                <a:pt x="777" y="451"/>
                              </a:lnTo>
                              <a:lnTo>
                                <a:pt x="646" y="440"/>
                              </a:lnTo>
                              <a:lnTo>
                                <a:pt x="631" y="461"/>
                              </a:lnTo>
                              <a:lnTo>
                                <a:pt x="595" y="464"/>
                              </a:lnTo>
                              <a:lnTo>
                                <a:pt x="591" y="492"/>
                              </a:lnTo>
                              <a:lnTo>
                                <a:pt x="562" y="490"/>
                              </a:lnTo>
                              <a:lnTo>
                                <a:pt x="562" y="451"/>
                              </a:lnTo>
                              <a:lnTo>
                                <a:pt x="595" y="440"/>
                              </a:lnTo>
                              <a:lnTo>
                                <a:pt x="608" y="414"/>
                              </a:lnTo>
                              <a:lnTo>
                                <a:pt x="601" y="344"/>
                              </a:lnTo>
                              <a:lnTo>
                                <a:pt x="588" y="339"/>
                              </a:lnTo>
                              <a:lnTo>
                                <a:pt x="572" y="349"/>
                              </a:lnTo>
                              <a:lnTo>
                                <a:pt x="571" y="323"/>
                              </a:lnTo>
                              <a:lnTo>
                                <a:pt x="541" y="335"/>
                              </a:lnTo>
                              <a:lnTo>
                                <a:pt x="520" y="311"/>
                              </a:lnTo>
                              <a:lnTo>
                                <a:pt x="528" y="273"/>
                              </a:lnTo>
                              <a:lnTo>
                                <a:pt x="554" y="296"/>
                              </a:lnTo>
                              <a:lnTo>
                                <a:pt x="568" y="283"/>
                              </a:lnTo>
                              <a:lnTo>
                                <a:pt x="590" y="307"/>
                              </a:lnTo>
                              <a:lnTo>
                                <a:pt x="603" y="277"/>
                              </a:lnTo>
                              <a:lnTo>
                                <a:pt x="600" y="242"/>
                              </a:lnTo>
                              <a:lnTo>
                                <a:pt x="624" y="222"/>
                              </a:lnTo>
                              <a:lnTo>
                                <a:pt x="665" y="226"/>
                              </a:lnTo>
                              <a:lnTo>
                                <a:pt x="734" y="174"/>
                              </a:lnTo>
                              <a:lnTo>
                                <a:pt x="718" y="154"/>
                              </a:lnTo>
                              <a:lnTo>
                                <a:pt x="752" y="159"/>
                              </a:lnTo>
                              <a:lnTo>
                                <a:pt x="751" y="125"/>
                              </a:lnTo>
                              <a:lnTo>
                                <a:pt x="714" y="133"/>
                              </a:lnTo>
                              <a:lnTo>
                                <a:pt x="703" y="109"/>
                              </a:lnTo>
                              <a:lnTo>
                                <a:pt x="652" y="99"/>
                              </a:lnTo>
                              <a:lnTo>
                                <a:pt x="672" y="74"/>
                              </a:lnTo>
                              <a:lnTo>
                                <a:pt x="646" y="55"/>
                              </a:lnTo>
                              <a:lnTo>
                                <a:pt x="670" y="39"/>
                              </a:lnTo>
                              <a:lnTo>
                                <a:pt x="640" y="0"/>
                              </a:lnTo>
                              <a:lnTo>
                                <a:pt x="556" y="49"/>
                              </a:lnTo>
                              <a:lnTo>
                                <a:pt x="552" y="90"/>
                              </a:lnTo>
                              <a:lnTo>
                                <a:pt x="529" y="119"/>
                              </a:lnTo>
                              <a:lnTo>
                                <a:pt x="586" y="142"/>
                              </a:lnTo>
                              <a:lnTo>
                                <a:pt x="555" y="156"/>
                              </a:lnTo>
                              <a:lnTo>
                                <a:pt x="464" y="131"/>
                              </a:lnTo>
                              <a:lnTo>
                                <a:pt x="358" y="202"/>
                              </a:lnTo>
                              <a:lnTo>
                                <a:pt x="200" y="287"/>
                              </a:lnTo>
                              <a:lnTo>
                                <a:pt x="157" y="356"/>
                              </a:lnTo>
                              <a:lnTo>
                                <a:pt x="162" y="377"/>
                              </a:lnTo>
                              <a:lnTo>
                                <a:pt x="133" y="385"/>
                              </a:lnTo>
                              <a:lnTo>
                                <a:pt x="93" y="422"/>
                              </a:lnTo>
                              <a:lnTo>
                                <a:pt x="121" y="457"/>
                              </a:lnTo>
                              <a:lnTo>
                                <a:pt x="147" y="449"/>
                              </a:lnTo>
                              <a:lnTo>
                                <a:pt x="185" y="471"/>
                              </a:lnTo>
                              <a:lnTo>
                                <a:pt x="181" y="510"/>
                              </a:lnTo>
                              <a:lnTo>
                                <a:pt x="146" y="513"/>
                              </a:lnTo>
                              <a:lnTo>
                                <a:pt x="122" y="527"/>
                              </a:lnTo>
                              <a:lnTo>
                                <a:pt x="72" y="496"/>
                              </a:lnTo>
                              <a:lnTo>
                                <a:pt x="72" y="560"/>
                              </a:lnTo>
                              <a:lnTo>
                                <a:pt x="20" y="598"/>
                              </a:lnTo>
                              <a:lnTo>
                                <a:pt x="0" y="637"/>
                              </a:lnTo>
                              <a:lnTo>
                                <a:pt x="86" y="701"/>
                              </a:lnTo>
                              <a:lnTo>
                                <a:pt x="87" y="701"/>
                              </a:lnTo>
                              <a:lnTo>
                                <a:pt x="87" y="702"/>
                              </a:lnTo>
                              <a:lnTo>
                                <a:pt x="87" y="741"/>
                              </a:lnTo>
                              <a:lnTo>
                                <a:pt x="87" y="741"/>
                              </a:lnTo>
                              <a:lnTo>
                                <a:pt x="86" y="742"/>
                              </a:lnTo>
                              <a:lnTo>
                                <a:pt x="22" y="817"/>
                              </a:lnTo>
                              <a:lnTo>
                                <a:pt x="38" y="858"/>
                              </a:lnTo>
                              <a:lnTo>
                                <a:pt x="68" y="871"/>
                              </a:lnTo>
                              <a:lnTo>
                                <a:pt x="109" y="871"/>
                              </a:lnTo>
                              <a:lnTo>
                                <a:pt x="111" y="871"/>
                              </a:lnTo>
                              <a:lnTo>
                                <a:pt x="111" y="872"/>
                              </a:lnTo>
                              <a:lnTo>
                                <a:pt x="127" y="906"/>
                              </a:lnTo>
                              <a:lnTo>
                                <a:pt x="154" y="910"/>
                              </a:lnTo>
                              <a:lnTo>
                                <a:pt x="155" y="910"/>
                              </a:lnTo>
                              <a:lnTo>
                                <a:pt x="155" y="911"/>
                              </a:lnTo>
                              <a:lnTo>
                                <a:pt x="172" y="940"/>
                              </a:lnTo>
                              <a:lnTo>
                                <a:pt x="208" y="923"/>
                              </a:lnTo>
                              <a:lnTo>
                                <a:pt x="208" y="923"/>
                              </a:lnTo>
                              <a:lnTo>
                                <a:pt x="209" y="923"/>
                              </a:lnTo>
                              <a:lnTo>
                                <a:pt x="242" y="934"/>
                              </a:lnTo>
                              <a:lnTo>
                                <a:pt x="268" y="911"/>
                              </a:lnTo>
                              <a:lnTo>
                                <a:pt x="268" y="911"/>
                              </a:lnTo>
                              <a:lnTo>
                                <a:pt x="269" y="911"/>
                              </a:lnTo>
                              <a:lnTo>
                                <a:pt x="308" y="908"/>
                              </a:lnTo>
                              <a:lnTo>
                                <a:pt x="337" y="878"/>
                              </a:lnTo>
                              <a:lnTo>
                                <a:pt x="332" y="848"/>
                              </a:lnTo>
                              <a:lnTo>
                                <a:pt x="332" y="847"/>
                              </a:lnTo>
                              <a:lnTo>
                                <a:pt x="333" y="847"/>
                              </a:lnTo>
                              <a:lnTo>
                                <a:pt x="363" y="837"/>
                              </a:lnTo>
                              <a:lnTo>
                                <a:pt x="370" y="809"/>
                              </a:lnTo>
                              <a:lnTo>
                                <a:pt x="371" y="808"/>
                              </a:lnTo>
                              <a:lnTo>
                                <a:pt x="372" y="808"/>
                              </a:lnTo>
                              <a:lnTo>
                                <a:pt x="397" y="805"/>
                              </a:lnTo>
                              <a:lnTo>
                                <a:pt x="405" y="782"/>
                              </a:lnTo>
                              <a:lnTo>
                                <a:pt x="405" y="780"/>
                              </a:lnTo>
                              <a:lnTo>
                                <a:pt x="406" y="780"/>
                              </a:lnTo>
                              <a:lnTo>
                                <a:pt x="452" y="769"/>
                              </a:lnTo>
                              <a:lnTo>
                                <a:pt x="464" y="748"/>
                              </a:lnTo>
                              <a:lnTo>
                                <a:pt x="465" y="747"/>
                              </a:lnTo>
                              <a:lnTo>
                                <a:pt x="466" y="747"/>
                              </a:lnTo>
                              <a:lnTo>
                                <a:pt x="535" y="743"/>
                              </a:lnTo>
                              <a:lnTo>
                                <a:pt x="536" y="743"/>
                              </a:lnTo>
                              <a:lnTo>
                                <a:pt x="536" y="744"/>
                              </a:lnTo>
                              <a:lnTo>
                                <a:pt x="552" y="788"/>
                              </a:lnTo>
                              <a:lnTo>
                                <a:pt x="600" y="773"/>
                              </a:lnTo>
                              <a:lnTo>
                                <a:pt x="600" y="773"/>
                              </a:lnTo>
                              <a:lnTo>
                                <a:pt x="601" y="773"/>
                              </a:lnTo>
                              <a:lnTo>
                                <a:pt x="653" y="775"/>
                              </a:lnTo>
                              <a:lnTo>
                                <a:pt x="695" y="654"/>
                              </a:lnTo>
                              <a:lnTo>
                                <a:pt x="696" y="651"/>
                              </a:lnTo>
                              <a:lnTo>
                                <a:pt x="698" y="652"/>
                              </a:lnTo>
                              <a:lnTo>
                                <a:pt x="724" y="666"/>
                              </a:lnTo>
                              <a:lnTo>
                                <a:pt x="756" y="656"/>
                              </a:lnTo>
                              <a:lnTo>
                                <a:pt x="756" y="656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23" name="Freeform 133">
                          <a:extLst>
                            <a:ext uri="{FF2B5EF4-FFF2-40B4-BE49-F238E27FC236}">
                              <a16:creationId xmlns:a16="http://schemas.microsoft.com/office/drawing/2014/main" id="{88DC54A8-CBAD-4CB0-A7F1-1CE2A4C60B5B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893102" y="632030"/>
                          <a:ext cx="27703" cy="26677"/>
                        </a:xfrm>
                        <a:custGeom>
                          <a:avLst/>
                          <a:gdLst>
                            <a:gd name="T0" fmla="*/ 5 w 27"/>
                            <a:gd name="T1" fmla="*/ 4 h 26"/>
                            <a:gd name="T2" fmla="*/ 0 w 27"/>
                            <a:gd name="T3" fmla="*/ 18 h 26"/>
                            <a:gd name="T4" fmla="*/ 13 w 27"/>
                            <a:gd name="T5" fmla="*/ 26 h 26"/>
                            <a:gd name="T6" fmla="*/ 27 w 27"/>
                            <a:gd name="T7" fmla="*/ 18 h 26"/>
                            <a:gd name="T8" fmla="*/ 22 w 27"/>
                            <a:gd name="T9" fmla="*/ 0 h 26"/>
                            <a:gd name="T10" fmla="*/ 5 w 27"/>
                            <a:gd name="T11" fmla="*/ 4 h 26"/>
                            <a:gd name="T12" fmla="*/ 5 w 27"/>
                            <a:gd name="T13" fmla="*/ 4 h 2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27" h="26">
                              <a:moveTo>
                                <a:pt x="5" y="4"/>
                              </a:moveTo>
                              <a:lnTo>
                                <a:pt x="0" y="18"/>
                              </a:lnTo>
                              <a:lnTo>
                                <a:pt x="13" y="26"/>
                              </a:lnTo>
                              <a:lnTo>
                                <a:pt x="27" y="18"/>
                              </a:lnTo>
                              <a:lnTo>
                                <a:pt x="22" y="0"/>
                              </a:lnTo>
                              <a:lnTo>
                                <a:pt x="5" y="4"/>
                              </a:lnTo>
                              <a:lnTo>
                                <a:pt x="5" y="4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24" name="Freeform 134">
                          <a:extLst>
                            <a:ext uri="{FF2B5EF4-FFF2-40B4-BE49-F238E27FC236}">
                              <a16:creationId xmlns:a16="http://schemas.microsoft.com/office/drawing/2014/main" id="{AA7A40F6-FD1A-40D6-A668-AF4AD632D0C5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678291" y="1000372"/>
                          <a:ext cx="37963" cy="41041"/>
                        </a:xfrm>
                        <a:custGeom>
                          <a:avLst/>
                          <a:gdLst>
                            <a:gd name="T0" fmla="*/ 0 w 37"/>
                            <a:gd name="T1" fmla="*/ 22 h 40"/>
                            <a:gd name="T2" fmla="*/ 23 w 37"/>
                            <a:gd name="T3" fmla="*/ 40 h 40"/>
                            <a:gd name="T4" fmla="*/ 34 w 37"/>
                            <a:gd name="T5" fmla="*/ 24 h 40"/>
                            <a:gd name="T6" fmla="*/ 37 w 37"/>
                            <a:gd name="T7" fmla="*/ 10 h 40"/>
                            <a:gd name="T8" fmla="*/ 24 w 37"/>
                            <a:gd name="T9" fmla="*/ 2 h 40"/>
                            <a:gd name="T10" fmla="*/ 9 w 37"/>
                            <a:gd name="T11" fmla="*/ 0 h 40"/>
                            <a:gd name="T12" fmla="*/ 0 w 37"/>
                            <a:gd name="T13" fmla="*/ 22 h 40"/>
                            <a:gd name="T14" fmla="*/ 0 w 37"/>
                            <a:gd name="T15" fmla="*/ 22 h 4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</a:cxnLst>
                          <a:rect l="0" t="0" r="r" b="b"/>
                          <a:pathLst>
                            <a:path w="37" h="40">
                              <a:moveTo>
                                <a:pt x="0" y="22"/>
                              </a:moveTo>
                              <a:lnTo>
                                <a:pt x="23" y="40"/>
                              </a:lnTo>
                              <a:lnTo>
                                <a:pt x="34" y="24"/>
                              </a:lnTo>
                              <a:lnTo>
                                <a:pt x="37" y="10"/>
                              </a:lnTo>
                              <a:lnTo>
                                <a:pt x="24" y="2"/>
                              </a:lnTo>
                              <a:lnTo>
                                <a:pt x="9" y="0"/>
                              </a:lnTo>
                              <a:lnTo>
                                <a:pt x="0" y="22"/>
                              </a:lnTo>
                              <a:lnTo>
                                <a:pt x="0" y="22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25" name="Freeform 135">
                          <a:extLst>
                            <a:ext uri="{FF2B5EF4-FFF2-40B4-BE49-F238E27FC236}">
                              <a16:creationId xmlns:a16="http://schemas.microsoft.com/office/drawing/2014/main" id="{4D31BA72-3684-4F1F-8253-47072FDB9375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633146" y="1055777"/>
                          <a:ext cx="33859" cy="31807"/>
                        </a:xfrm>
                        <a:custGeom>
                          <a:avLst/>
                          <a:gdLst>
                            <a:gd name="T0" fmla="*/ 0 w 33"/>
                            <a:gd name="T1" fmla="*/ 22 h 31"/>
                            <a:gd name="T2" fmla="*/ 7 w 33"/>
                            <a:gd name="T3" fmla="*/ 31 h 31"/>
                            <a:gd name="T4" fmla="*/ 33 w 33"/>
                            <a:gd name="T5" fmla="*/ 15 h 31"/>
                            <a:gd name="T6" fmla="*/ 27 w 33"/>
                            <a:gd name="T7" fmla="*/ 0 h 31"/>
                            <a:gd name="T8" fmla="*/ 11 w 33"/>
                            <a:gd name="T9" fmla="*/ 0 h 31"/>
                            <a:gd name="T10" fmla="*/ 2 w 33"/>
                            <a:gd name="T11" fmla="*/ 13 h 31"/>
                            <a:gd name="T12" fmla="*/ 0 w 33"/>
                            <a:gd name="T13" fmla="*/ 22 h 31"/>
                            <a:gd name="T14" fmla="*/ 0 w 33"/>
                            <a:gd name="T15" fmla="*/ 22 h 31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</a:cxnLst>
                          <a:rect l="0" t="0" r="r" b="b"/>
                          <a:pathLst>
                            <a:path w="33" h="31">
                              <a:moveTo>
                                <a:pt x="0" y="22"/>
                              </a:moveTo>
                              <a:lnTo>
                                <a:pt x="7" y="31"/>
                              </a:lnTo>
                              <a:lnTo>
                                <a:pt x="33" y="15"/>
                              </a:lnTo>
                              <a:lnTo>
                                <a:pt x="27" y="0"/>
                              </a:lnTo>
                              <a:lnTo>
                                <a:pt x="11" y="0"/>
                              </a:lnTo>
                              <a:lnTo>
                                <a:pt x="2" y="13"/>
                              </a:lnTo>
                              <a:lnTo>
                                <a:pt x="0" y="22"/>
                              </a:lnTo>
                              <a:lnTo>
                                <a:pt x="0" y="22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26" name="Freeform 136">
                          <a:extLst>
                            <a:ext uri="{FF2B5EF4-FFF2-40B4-BE49-F238E27FC236}">
                              <a16:creationId xmlns:a16="http://schemas.microsoft.com/office/drawing/2014/main" id="{70991072-D92E-4236-B7B5-C26D745049A7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208744" y="836209"/>
                          <a:ext cx="41041" cy="28729"/>
                        </a:xfrm>
                        <a:custGeom>
                          <a:avLst/>
                          <a:gdLst>
                            <a:gd name="T0" fmla="*/ 0 w 40"/>
                            <a:gd name="T1" fmla="*/ 0 h 28"/>
                            <a:gd name="T2" fmla="*/ 38 w 40"/>
                            <a:gd name="T3" fmla="*/ 5 h 28"/>
                            <a:gd name="T4" fmla="*/ 40 w 40"/>
                            <a:gd name="T5" fmla="*/ 24 h 28"/>
                            <a:gd name="T6" fmla="*/ 25 w 40"/>
                            <a:gd name="T7" fmla="*/ 28 h 28"/>
                            <a:gd name="T8" fmla="*/ 7 w 40"/>
                            <a:gd name="T9" fmla="*/ 17 h 28"/>
                            <a:gd name="T10" fmla="*/ 0 w 40"/>
                            <a:gd name="T11" fmla="*/ 0 h 28"/>
                            <a:gd name="T12" fmla="*/ 0 w 40"/>
                            <a:gd name="T13" fmla="*/ 0 h 2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40" h="28">
                              <a:moveTo>
                                <a:pt x="0" y="0"/>
                              </a:moveTo>
                              <a:lnTo>
                                <a:pt x="38" y="5"/>
                              </a:lnTo>
                              <a:lnTo>
                                <a:pt x="40" y="24"/>
                              </a:lnTo>
                              <a:lnTo>
                                <a:pt x="25" y="28"/>
                              </a:lnTo>
                              <a:lnTo>
                                <a:pt x="7" y="17"/>
                              </a:lnTo>
                              <a:lnTo>
                                <a:pt x="0" y="0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27" name="Freeform 137">
                          <a:extLst>
                            <a:ext uri="{FF2B5EF4-FFF2-40B4-BE49-F238E27FC236}">
                              <a16:creationId xmlns:a16="http://schemas.microsoft.com/office/drawing/2014/main" id="{E0627EF0-0AD6-44AF-9B97-927EEBCBBE8E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311347" y="761309"/>
                          <a:ext cx="26677" cy="42067"/>
                        </a:xfrm>
                        <a:custGeom>
                          <a:avLst/>
                          <a:gdLst>
                            <a:gd name="T0" fmla="*/ 0 w 26"/>
                            <a:gd name="T1" fmla="*/ 10 h 41"/>
                            <a:gd name="T2" fmla="*/ 7 w 26"/>
                            <a:gd name="T3" fmla="*/ 41 h 41"/>
                            <a:gd name="T4" fmla="*/ 23 w 26"/>
                            <a:gd name="T5" fmla="*/ 41 h 41"/>
                            <a:gd name="T6" fmla="*/ 26 w 26"/>
                            <a:gd name="T7" fmla="*/ 13 h 41"/>
                            <a:gd name="T8" fmla="*/ 10 w 26"/>
                            <a:gd name="T9" fmla="*/ 0 h 41"/>
                            <a:gd name="T10" fmla="*/ 0 w 26"/>
                            <a:gd name="T11" fmla="*/ 10 h 41"/>
                            <a:gd name="T12" fmla="*/ 0 w 26"/>
                            <a:gd name="T13" fmla="*/ 10 h 41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26" h="41">
                              <a:moveTo>
                                <a:pt x="0" y="10"/>
                              </a:moveTo>
                              <a:lnTo>
                                <a:pt x="7" y="41"/>
                              </a:lnTo>
                              <a:lnTo>
                                <a:pt x="23" y="41"/>
                              </a:lnTo>
                              <a:lnTo>
                                <a:pt x="26" y="13"/>
                              </a:lnTo>
                              <a:lnTo>
                                <a:pt x="10" y="0"/>
                              </a:lnTo>
                              <a:lnTo>
                                <a:pt x="0" y="10"/>
                              </a:lnTo>
                              <a:lnTo>
                                <a:pt x="0" y="1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28" name="Freeform 138">
                          <a:extLst>
                            <a:ext uri="{FF2B5EF4-FFF2-40B4-BE49-F238E27FC236}">
                              <a16:creationId xmlns:a16="http://schemas.microsoft.com/office/drawing/2014/main" id="{28F40A9B-0A6A-4551-8955-326FA1E1013F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347258" y="768491"/>
                          <a:ext cx="77978" cy="64640"/>
                        </a:xfrm>
                        <a:custGeom>
                          <a:avLst/>
                          <a:gdLst>
                            <a:gd name="T0" fmla="*/ 0 w 76"/>
                            <a:gd name="T1" fmla="*/ 29 h 63"/>
                            <a:gd name="T2" fmla="*/ 0 w 76"/>
                            <a:gd name="T3" fmla="*/ 63 h 63"/>
                            <a:gd name="T4" fmla="*/ 39 w 76"/>
                            <a:gd name="T5" fmla="*/ 55 h 63"/>
                            <a:gd name="T6" fmla="*/ 76 w 76"/>
                            <a:gd name="T7" fmla="*/ 36 h 63"/>
                            <a:gd name="T8" fmla="*/ 63 w 76"/>
                            <a:gd name="T9" fmla="*/ 8 h 63"/>
                            <a:gd name="T10" fmla="*/ 39 w 76"/>
                            <a:gd name="T11" fmla="*/ 4 h 63"/>
                            <a:gd name="T12" fmla="*/ 21 w 76"/>
                            <a:gd name="T13" fmla="*/ 0 h 63"/>
                            <a:gd name="T14" fmla="*/ 8 w 76"/>
                            <a:gd name="T15" fmla="*/ 20 h 63"/>
                            <a:gd name="T16" fmla="*/ 0 w 76"/>
                            <a:gd name="T17" fmla="*/ 29 h 63"/>
                            <a:gd name="T18" fmla="*/ 0 w 76"/>
                            <a:gd name="T19" fmla="*/ 29 h 6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</a:cxnLst>
                          <a:rect l="0" t="0" r="r" b="b"/>
                          <a:pathLst>
                            <a:path w="76" h="63">
                              <a:moveTo>
                                <a:pt x="0" y="29"/>
                              </a:moveTo>
                              <a:lnTo>
                                <a:pt x="0" y="63"/>
                              </a:lnTo>
                              <a:lnTo>
                                <a:pt x="39" y="55"/>
                              </a:lnTo>
                              <a:lnTo>
                                <a:pt x="76" y="36"/>
                              </a:lnTo>
                              <a:lnTo>
                                <a:pt x="63" y="8"/>
                              </a:lnTo>
                              <a:lnTo>
                                <a:pt x="39" y="4"/>
                              </a:lnTo>
                              <a:lnTo>
                                <a:pt x="21" y="0"/>
                              </a:lnTo>
                              <a:lnTo>
                                <a:pt x="8" y="20"/>
                              </a:lnTo>
                              <a:lnTo>
                                <a:pt x="0" y="29"/>
                              </a:lnTo>
                              <a:lnTo>
                                <a:pt x="0" y="29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29" name="Freeform 139">
                          <a:extLst>
                            <a:ext uri="{FF2B5EF4-FFF2-40B4-BE49-F238E27FC236}">
                              <a16:creationId xmlns:a16="http://schemas.microsoft.com/office/drawing/2014/main" id="{0C72E3BD-CF58-48F4-9767-726D64ACD393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360596" y="552001"/>
                          <a:ext cx="110810" cy="72848"/>
                        </a:xfrm>
                        <a:custGeom>
                          <a:avLst/>
                          <a:gdLst>
                            <a:gd name="T0" fmla="*/ 0 w 108"/>
                            <a:gd name="T1" fmla="*/ 45 h 71"/>
                            <a:gd name="T2" fmla="*/ 11 w 108"/>
                            <a:gd name="T3" fmla="*/ 70 h 71"/>
                            <a:gd name="T4" fmla="*/ 86 w 108"/>
                            <a:gd name="T5" fmla="*/ 71 h 71"/>
                            <a:gd name="T6" fmla="*/ 108 w 108"/>
                            <a:gd name="T7" fmla="*/ 31 h 71"/>
                            <a:gd name="T8" fmla="*/ 94 w 108"/>
                            <a:gd name="T9" fmla="*/ 0 h 71"/>
                            <a:gd name="T10" fmla="*/ 78 w 108"/>
                            <a:gd name="T11" fmla="*/ 18 h 71"/>
                            <a:gd name="T12" fmla="*/ 47 w 108"/>
                            <a:gd name="T13" fmla="*/ 15 h 71"/>
                            <a:gd name="T14" fmla="*/ 39 w 108"/>
                            <a:gd name="T15" fmla="*/ 29 h 71"/>
                            <a:gd name="T16" fmla="*/ 22 w 108"/>
                            <a:gd name="T17" fmla="*/ 29 h 71"/>
                            <a:gd name="T18" fmla="*/ 20 w 108"/>
                            <a:gd name="T19" fmla="*/ 46 h 71"/>
                            <a:gd name="T20" fmla="*/ 0 w 108"/>
                            <a:gd name="T21" fmla="*/ 45 h 71"/>
                            <a:gd name="T22" fmla="*/ 0 w 108"/>
                            <a:gd name="T23" fmla="*/ 45 h 71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</a:cxnLst>
                          <a:rect l="0" t="0" r="r" b="b"/>
                          <a:pathLst>
                            <a:path w="108" h="71">
                              <a:moveTo>
                                <a:pt x="0" y="45"/>
                              </a:moveTo>
                              <a:lnTo>
                                <a:pt x="11" y="70"/>
                              </a:lnTo>
                              <a:lnTo>
                                <a:pt x="86" y="71"/>
                              </a:lnTo>
                              <a:lnTo>
                                <a:pt x="108" y="31"/>
                              </a:lnTo>
                              <a:lnTo>
                                <a:pt x="94" y="0"/>
                              </a:lnTo>
                              <a:lnTo>
                                <a:pt x="78" y="18"/>
                              </a:lnTo>
                              <a:lnTo>
                                <a:pt x="47" y="15"/>
                              </a:lnTo>
                              <a:lnTo>
                                <a:pt x="39" y="29"/>
                              </a:lnTo>
                              <a:lnTo>
                                <a:pt x="22" y="29"/>
                              </a:lnTo>
                              <a:lnTo>
                                <a:pt x="20" y="46"/>
                              </a:lnTo>
                              <a:lnTo>
                                <a:pt x="0" y="45"/>
                              </a:lnTo>
                              <a:lnTo>
                                <a:pt x="0" y="45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30" name="Freeform 140">
                          <a:extLst>
                            <a:ext uri="{FF2B5EF4-FFF2-40B4-BE49-F238E27FC236}">
                              <a16:creationId xmlns:a16="http://schemas.microsoft.com/office/drawing/2014/main" id="{F29C37E4-C396-478D-8FBD-C100A281C0B5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325711" y="469919"/>
                          <a:ext cx="20520" cy="22572"/>
                        </a:xfrm>
                        <a:custGeom>
                          <a:avLst/>
                          <a:gdLst>
                            <a:gd name="T0" fmla="*/ 5 w 20"/>
                            <a:gd name="T1" fmla="*/ 0 h 22"/>
                            <a:gd name="T2" fmla="*/ 0 w 20"/>
                            <a:gd name="T3" fmla="*/ 19 h 22"/>
                            <a:gd name="T4" fmla="*/ 15 w 20"/>
                            <a:gd name="T5" fmla="*/ 22 h 22"/>
                            <a:gd name="T6" fmla="*/ 20 w 20"/>
                            <a:gd name="T7" fmla="*/ 6 h 22"/>
                            <a:gd name="T8" fmla="*/ 5 w 20"/>
                            <a:gd name="T9" fmla="*/ 0 h 22"/>
                            <a:gd name="T10" fmla="*/ 5 w 20"/>
                            <a:gd name="T11" fmla="*/ 0 h 2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</a:cxnLst>
                          <a:rect l="0" t="0" r="r" b="b"/>
                          <a:pathLst>
                            <a:path w="20" h="22">
                              <a:moveTo>
                                <a:pt x="5" y="0"/>
                              </a:moveTo>
                              <a:lnTo>
                                <a:pt x="0" y="19"/>
                              </a:lnTo>
                              <a:lnTo>
                                <a:pt x="15" y="22"/>
                              </a:lnTo>
                              <a:lnTo>
                                <a:pt x="20" y="6"/>
                              </a:lnTo>
                              <a:lnTo>
                                <a:pt x="5" y="0"/>
                              </a:lnTo>
                              <a:lnTo>
                                <a:pt x="5" y="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31" name="Freeform 141">
                          <a:extLst>
                            <a:ext uri="{FF2B5EF4-FFF2-40B4-BE49-F238E27FC236}">
                              <a16:creationId xmlns:a16="http://schemas.microsoft.com/office/drawing/2014/main" id="{BF617837-9257-41C2-A6C3-B75A985BC436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176938" y="610484"/>
                          <a:ext cx="164164" cy="152878"/>
                        </a:xfrm>
                        <a:custGeom>
                          <a:avLst/>
                          <a:gdLst>
                            <a:gd name="T0" fmla="*/ 110 w 160"/>
                            <a:gd name="T1" fmla="*/ 25 h 149"/>
                            <a:gd name="T2" fmla="*/ 127 w 160"/>
                            <a:gd name="T3" fmla="*/ 51 h 149"/>
                            <a:gd name="T4" fmla="*/ 160 w 160"/>
                            <a:gd name="T5" fmla="*/ 58 h 149"/>
                            <a:gd name="T6" fmla="*/ 160 w 160"/>
                            <a:gd name="T7" fmla="*/ 21 h 149"/>
                            <a:gd name="T8" fmla="*/ 150 w 160"/>
                            <a:gd name="T9" fmla="*/ 2 h 149"/>
                            <a:gd name="T10" fmla="*/ 111 w 160"/>
                            <a:gd name="T11" fmla="*/ 0 h 149"/>
                            <a:gd name="T12" fmla="*/ 91 w 160"/>
                            <a:gd name="T13" fmla="*/ 14 h 149"/>
                            <a:gd name="T14" fmla="*/ 61 w 160"/>
                            <a:gd name="T15" fmla="*/ 9 h 149"/>
                            <a:gd name="T16" fmla="*/ 58 w 160"/>
                            <a:gd name="T17" fmla="*/ 30 h 149"/>
                            <a:gd name="T18" fmla="*/ 77 w 160"/>
                            <a:gd name="T19" fmla="*/ 49 h 149"/>
                            <a:gd name="T20" fmla="*/ 67 w 160"/>
                            <a:gd name="T21" fmla="*/ 60 h 149"/>
                            <a:gd name="T22" fmla="*/ 37 w 160"/>
                            <a:gd name="T23" fmla="*/ 36 h 149"/>
                            <a:gd name="T24" fmla="*/ 3 w 160"/>
                            <a:gd name="T25" fmla="*/ 40 h 149"/>
                            <a:gd name="T26" fmla="*/ 0 w 160"/>
                            <a:gd name="T27" fmla="*/ 68 h 149"/>
                            <a:gd name="T28" fmla="*/ 3 w 160"/>
                            <a:gd name="T29" fmla="*/ 97 h 149"/>
                            <a:gd name="T30" fmla="*/ 19 w 160"/>
                            <a:gd name="T31" fmla="*/ 117 h 149"/>
                            <a:gd name="T32" fmla="*/ 25 w 160"/>
                            <a:gd name="T33" fmla="*/ 139 h 149"/>
                            <a:gd name="T34" fmla="*/ 57 w 160"/>
                            <a:gd name="T35" fmla="*/ 149 h 149"/>
                            <a:gd name="T36" fmla="*/ 87 w 160"/>
                            <a:gd name="T37" fmla="*/ 146 h 149"/>
                            <a:gd name="T38" fmla="*/ 85 w 160"/>
                            <a:gd name="T39" fmla="*/ 114 h 149"/>
                            <a:gd name="T40" fmla="*/ 106 w 160"/>
                            <a:gd name="T41" fmla="*/ 117 h 149"/>
                            <a:gd name="T42" fmla="*/ 123 w 160"/>
                            <a:gd name="T43" fmla="*/ 89 h 149"/>
                            <a:gd name="T44" fmla="*/ 143 w 160"/>
                            <a:gd name="T45" fmla="*/ 94 h 149"/>
                            <a:gd name="T46" fmla="*/ 156 w 160"/>
                            <a:gd name="T47" fmla="*/ 79 h 149"/>
                            <a:gd name="T48" fmla="*/ 143 w 160"/>
                            <a:gd name="T49" fmla="*/ 65 h 149"/>
                            <a:gd name="T50" fmla="*/ 114 w 160"/>
                            <a:gd name="T51" fmla="*/ 57 h 149"/>
                            <a:gd name="T52" fmla="*/ 91 w 160"/>
                            <a:gd name="T53" fmla="*/ 30 h 149"/>
                            <a:gd name="T54" fmla="*/ 110 w 160"/>
                            <a:gd name="T55" fmla="*/ 25 h 149"/>
                            <a:gd name="T56" fmla="*/ 110 w 160"/>
                            <a:gd name="T57" fmla="*/ 25 h 149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</a:cxnLst>
                          <a:rect l="0" t="0" r="r" b="b"/>
                          <a:pathLst>
                            <a:path w="160" h="149">
                              <a:moveTo>
                                <a:pt x="110" y="25"/>
                              </a:moveTo>
                              <a:lnTo>
                                <a:pt x="127" y="51"/>
                              </a:lnTo>
                              <a:lnTo>
                                <a:pt x="160" y="58"/>
                              </a:lnTo>
                              <a:lnTo>
                                <a:pt x="160" y="21"/>
                              </a:lnTo>
                              <a:lnTo>
                                <a:pt x="150" y="2"/>
                              </a:lnTo>
                              <a:lnTo>
                                <a:pt x="111" y="0"/>
                              </a:lnTo>
                              <a:lnTo>
                                <a:pt x="91" y="14"/>
                              </a:lnTo>
                              <a:lnTo>
                                <a:pt x="61" y="9"/>
                              </a:lnTo>
                              <a:lnTo>
                                <a:pt x="58" y="30"/>
                              </a:lnTo>
                              <a:lnTo>
                                <a:pt x="77" y="49"/>
                              </a:lnTo>
                              <a:lnTo>
                                <a:pt x="67" y="60"/>
                              </a:lnTo>
                              <a:lnTo>
                                <a:pt x="37" y="36"/>
                              </a:lnTo>
                              <a:lnTo>
                                <a:pt x="3" y="40"/>
                              </a:lnTo>
                              <a:lnTo>
                                <a:pt x="0" y="68"/>
                              </a:lnTo>
                              <a:lnTo>
                                <a:pt x="3" y="97"/>
                              </a:lnTo>
                              <a:lnTo>
                                <a:pt x="19" y="117"/>
                              </a:lnTo>
                              <a:lnTo>
                                <a:pt x="25" y="139"/>
                              </a:lnTo>
                              <a:lnTo>
                                <a:pt x="57" y="149"/>
                              </a:lnTo>
                              <a:lnTo>
                                <a:pt x="87" y="146"/>
                              </a:lnTo>
                              <a:lnTo>
                                <a:pt x="85" y="114"/>
                              </a:lnTo>
                              <a:lnTo>
                                <a:pt x="106" y="117"/>
                              </a:lnTo>
                              <a:lnTo>
                                <a:pt x="123" y="89"/>
                              </a:lnTo>
                              <a:lnTo>
                                <a:pt x="143" y="94"/>
                              </a:lnTo>
                              <a:lnTo>
                                <a:pt x="156" y="79"/>
                              </a:lnTo>
                              <a:lnTo>
                                <a:pt x="143" y="65"/>
                              </a:lnTo>
                              <a:lnTo>
                                <a:pt x="114" y="57"/>
                              </a:lnTo>
                              <a:lnTo>
                                <a:pt x="91" y="30"/>
                              </a:lnTo>
                              <a:lnTo>
                                <a:pt x="110" y="25"/>
                              </a:lnTo>
                              <a:lnTo>
                                <a:pt x="110" y="25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32" name="Freeform 142">
                          <a:extLst>
                            <a:ext uri="{FF2B5EF4-FFF2-40B4-BE49-F238E27FC236}">
                              <a16:creationId xmlns:a16="http://schemas.microsoft.com/office/drawing/2014/main" id="{4EFCA8C4-B0F9-4A12-AA6D-E84EB86D5734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138975" y="706930"/>
                          <a:ext cx="38989" cy="47197"/>
                        </a:xfrm>
                        <a:custGeom>
                          <a:avLst/>
                          <a:gdLst>
                            <a:gd name="T0" fmla="*/ 0 w 38"/>
                            <a:gd name="T1" fmla="*/ 0 h 46"/>
                            <a:gd name="T2" fmla="*/ 5 w 38"/>
                            <a:gd name="T3" fmla="*/ 23 h 46"/>
                            <a:gd name="T4" fmla="*/ 25 w 38"/>
                            <a:gd name="T5" fmla="*/ 46 h 46"/>
                            <a:gd name="T6" fmla="*/ 38 w 38"/>
                            <a:gd name="T7" fmla="*/ 41 h 46"/>
                            <a:gd name="T8" fmla="*/ 23 w 38"/>
                            <a:gd name="T9" fmla="*/ 14 h 46"/>
                            <a:gd name="T10" fmla="*/ 0 w 38"/>
                            <a:gd name="T11" fmla="*/ 0 h 46"/>
                            <a:gd name="T12" fmla="*/ 0 w 38"/>
                            <a:gd name="T13" fmla="*/ 0 h 4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38" h="46">
                              <a:moveTo>
                                <a:pt x="0" y="0"/>
                              </a:moveTo>
                              <a:lnTo>
                                <a:pt x="5" y="23"/>
                              </a:lnTo>
                              <a:lnTo>
                                <a:pt x="25" y="46"/>
                              </a:lnTo>
                              <a:lnTo>
                                <a:pt x="38" y="41"/>
                              </a:lnTo>
                              <a:lnTo>
                                <a:pt x="23" y="14"/>
                              </a:lnTo>
                              <a:lnTo>
                                <a:pt x="0" y="0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33" name="Freeform 143">
                          <a:extLst>
                            <a:ext uri="{FF2B5EF4-FFF2-40B4-BE49-F238E27FC236}">
                              <a16:creationId xmlns:a16="http://schemas.microsoft.com/office/drawing/2014/main" id="{C0AC92AB-240D-4293-B229-DB8DC495F5A6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590053" y="656655"/>
                          <a:ext cx="1579049" cy="1743213"/>
                        </a:xfrm>
                        <a:custGeom>
                          <a:avLst/>
                          <a:gdLst>
                            <a:gd name="T0" fmla="*/ 1255 w 1539"/>
                            <a:gd name="T1" fmla="*/ 9 h 1699"/>
                            <a:gd name="T2" fmla="*/ 1088 w 1539"/>
                            <a:gd name="T3" fmla="*/ 133 h 1699"/>
                            <a:gd name="T4" fmla="*/ 1000 w 1539"/>
                            <a:gd name="T5" fmla="*/ 144 h 1699"/>
                            <a:gd name="T6" fmla="*/ 925 w 1539"/>
                            <a:gd name="T7" fmla="*/ 231 h 1699"/>
                            <a:gd name="T8" fmla="*/ 909 w 1539"/>
                            <a:gd name="T9" fmla="*/ 155 h 1699"/>
                            <a:gd name="T10" fmla="*/ 782 w 1539"/>
                            <a:gd name="T11" fmla="*/ 276 h 1699"/>
                            <a:gd name="T12" fmla="*/ 779 w 1539"/>
                            <a:gd name="T13" fmla="*/ 345 h 1699"/>
                            <a:gd name="T14" fmla="*/ 641 w 1539"/>
                            <a:gd name="T15" fmla="*/ 395 h 1699"/>
                            <a:gd name="T16" fmla="*/ 503 w 1539"/>
                            <a:gd name="T17" fmla="*/ 335 h 1699"/>
                            <a:gd name="T18" fmla="*/ 288 w 1539"/>
                            <a:gd name="T19" fmla="*/ 429 h 1699"/>
                            <a:gd name="T20" fmla="*/ 140 w 1539"/>
                            <a:gd name="T21" fmla="*/ 440 h 1699"/>
                            <a:gd name="T22" fmla="*/ 68 w 1539"/>
                            <a:gd name="T23" fmla="*/ 448 h 1699"/>
                            <a:gd name="T24" fmla="*/ 129 w 1539"/>
                            <a:gd name="T25" fmla="*/ 556 h 1699"/>
                            <a:gd name="T26" fmla="*/ 152 w 1539"/>
                            <a:gd name="T27" fmla="*/ 624 h 1699"/>
                            <a:gd name="T28" fmla="*/ 99 w 1539"/>
                            <a:gd name="T29" fmla="*/ 688 h 1699"/>
                            <a:gd name="T30" fmla="*/ 52 w 1539"/>
                            <a:gd name="T31" fmla="*/ 746 h 1699"/>
                            <a:gd name="T32" fmla="*/ 31 w 1539"/>
                            <a:gd name="T33" fmla="*/ 832 h 1699"/>
                            <a:gd name="T34" fmla="*/ 41 w 1539"/>
                            <a:gd name="T35" fmla="*/ 966 h 1699"/>
                            <a:gd name="T36" fmla="*/ 25 w 1539"/>
                            <a:gd name="T37" fmla="*/ 1047 h 1699"/>
                            <a:gd name="T38" fmla="*/ 60 w 1539"/>
                            <a:gd name="T39" fmla="*/ 1103 h 1699"/>
                            <a:gd name="T40" fmla="*/ 52 w 1539"/>
                            <a:gd name="T41" fmla="*/ 1130 h 1699"/>
                            <a:gd name="T42" fmla="*/ 68 w 1539"/>
                            <a:gd name="T43" fmla="*/ 1189 h 1699"/>
                            <a:gd name="T44" fmla="*/ 124 w 1539"/>
                            <a:gd name="T45" fmla="*/ 1206 h 1699"/>
                            <a:gd name="T46" fmla="*/ 140 w 1539"/>
                            <a:gd name="T47" fmla="*/ 1234 h 1699"/>
                            <a:gd name="T48" fmla="*/ 160 w 1539"/>
                            <a:gd name="T49" fmla="*/ 1255 h 1699"/>
                            <a:gd name="T50" fmla="*/ 180 w 1539"/>
                            <a:gd name="T51" fmla="*/ 1343 h 1699"/>
                            <a:gd name="T52" fmla="*/ 210 w 1539"/>
                            <a:gd name="T53" fmla="*/ 1442 h 1699"/>
                            <a:gd name="T54" fmla="*/ 214 w 1539"/>
                            <a:gd name="T55" fmla="*/ 1587 h 1699"/>
                            <a:gd name="T56" fmla="*/ 309 w 1539"/>
                            <a:gd name="T57" fmla="*/ 1591 h 1699"/>
                            <a:gd name="T58" fmla="*/ 379 w 1539"/>
                            <a:gd name="T59" fmla="*/ 1553 h 1699"/>
                            <a:gd name="T60" fmla="*/ 457 w 1539"/>
                            <a:gd name="T61" fmla="*/ 1448 h 1699"/>
                            <a:gd name="T62" fmla="*/ 531 w 1539"/>
                            <a:gd name="T63" fmla="*/ 1512 h 1699"/>
                            <a:gd name="T64" fmla="*/ 591 w 1539"/>
                            <a:gd name="T65" fmla="*/ 1511 h 1699"/>
                            <a:gd name="T66" fmla="*/ 717 w 1539"/>
                            <a:gd name="T67" fmla="*/ 1678 h 1699"/>
                            <a:gd name="T68" fmla="*/ 778 w 1539"/>
                            <a:gd name="T69" fmla="*/ 1686 h 1699"/>
                            <a:gd name="T70" fmla="*/ 835 w 1539"/>
                            <a:gd name="T71" fmla="*/ 1673 h 1699"/>
                            <a:gd name="T72" fmla="*/ 885 w 1539"/>
                            <a:gd name="T73" fmla="*/ 1674 h 1699"/>
                            <a:gd name="T74" fmla="*/ 995 w 1539"/>
                            <a:gd name="T75" fmla="*/ 1693 h 1699"/>
                            <a:gd name="T76" fmla="*/ 1126 w 1539"/>
                            <a:gd name="T77" fmla="*/ 1651 h 1699"/>
                            <a:gd name="T78" fmla="*/ 1170 w 1539"/>
                            <a:gd name="T79" fmla="*/ 1554 h 1699"/>
                            <a:gd name="T80" fmla="*/ 1143 w 1539"/>
                            <a:gd name="T81" fmla="*/ 1482 h 1699"/>
                            <a:gd name="T82" fmla="*/ 1122 w 1539"/>
                            <a:gd name="T83" fmla="*/ 1411 h 1699"/>
                            <a:gd name="T84" fmla="*/ 1143 w 1539"/>
                            <a:gd name="T85" fmla="*/ 1297 h 1699"/>
                            <a:gd name="T86" fmla="*/ 1270 w 1539"/>
                            <a:gd name="T87" fmla="*/ 1228 h 1699"/>
                            <a:gd name="T88" fmla="*/ 1302 w 1539"/>
                            <a:gd name="T89" fmla="*/ 1159 h 1699"/>
                            <a:gd name="T90" fmla="*/ 1274 w 1539"/>
                            <a:gd name="T91" fmla="*/ 1007 h 1699"/>
                            <a:gd name="T92" fmla="*/ 1263 w 1539"/>
                            <a:gd name="T93" fmla="*/ 910 h 1699"/>
                            <a:gd name="T94" fmla="*/ 1365 w 1539"/>
                            <a:gd name="T95" fmla="*/ 899 h 1699"/>
                            <a:gd name="T96" fmla="*/ 1346 w 1539"/>
                            <a:gd name="T97" fmla="*/ 726 h 1699"/>
                            <a:gd name="T98" fmla="*/ 1399 w 1539"/>
                            <a:gd name="T99" fmla="*/ 657 h 1699"/>
                            <a:gd name="T100" fmla="*/ 1427 w 1539"/>
                            <a:gd name="T101" fmla="*/ 581 h 1699"/>
                            <a:gd name="T102" fmla="*/ 1467 w 1539"/>
                            <a:gd name="T103" fmla="*/ 485 h 1699"/>
                            <a:gd name="T104" fmla="*/ 1448 w 1539"/>
                            <a:gd name="T105" fmla="*/ 429 h 1699"/>
                            <a:gd name="T106" fmla="*/ 1448 w 1539"/>
                            <a:gd name="T107" fmla="*/ 383 h 1699"/>
                            <a:gd name="T108" fmla="*/ 1539 w 1539"/>
                            <a:gd name="T109" fmla="*/ 301 h 1699"/>
                            <a:gd name="T110" fmla="*/ 1435 w 1539"/>
                            <a:gd name="T111" fmla="*/ 221 h 1699"/>
                            <a:gd name="T112" fmla="*/ 1418 w 1539"/>
                            <a:gd name="T113" fmla="*/ 175 h 1699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</a:cxnLst>
                          <a:rect l="0" t="0" r="r" b="b"/>
                          <a:pathLst>
                            <a:path w="1539" h="1699">
                              <a:moveTo>
                                <a:pt x="1398" y="0"/>
                              </a:moveTo>
                              <a:lnTo>
                                <a:pt x="1388" y="20"/>
                              </a:lnTo>
                              <a:lnTo>
                                <a:pt x="1334" y="50"/>
                              </a:lnTo>
                              <a:lnTo>
                                <a:pt x="1294" y="13"/>
                              </a:lnTo>
                              <a:lnTo>
                                <a:pt x="1255" y="9"/>
                              </a:lnTo>
                              <a:lnTo>
                                <a:pt x="1198" y="45"/>
                              </a:lnTo>
                              <a:lnTo>
                                <a:pt x="1160" y="93"/>
                              </a:lnTo>
                              <a:lnTo>
                                <a:pt x="1146" y="141"/>
                              </a:lnTo>
                              <a:lnTo>
                                <a:pt x="1120" y="149"/>
                              </a:lnTo>
                              <a:lnTo>
                                <a:pt x="1088" y="133"/>
                              </a:lnTo>
                              <a:lnTo>
                                <a:pt x="1058" y="136"/>
                              </a:lnTo>
                              <a:lnTo>
                                <a:pt x="1042" y="157"/>
                              </a:lnTo>
                              <a:lnTo>
                                <a:pt x="1028" y="145"/>
                              </a:lnTo>
                              <a:lnTo>
                                <a:pt x="1015" y="159"/>
                              </a:lnTo>
                              <a:lnTo>
                                <a:pt x="1000" y="144"/>
                              </a:lnTo>
                              <a:lnTo>
                                <a:pt x="1023" y="121"/>
                              </a:lnTo>
                              <a:lnTo>
                                <a:pt x="969" y="118"/>
                              </a:lnTo>
                              <a:lnTo>
                                <a:pt x="939" y="144"/>
                              </a:lnTo>
                              <a:lnTo>
                                <a:pt x="955" y="202"/>
                              </a:lnTo>
                              <a:lnTo>
                                <a:pt x="925" y="231"/>
                              </a:lnTo>
                              <a:lnTo>
                                <a:pt x="925" y="187"/>
                              </a:lnTo>
                              <a:lnTo>
                                <a:pt x="904" y="187"/>
                              </a:lnTo>
                              <a:lnTo>
                                <a:pt x="883" y="205"/>
                              </a:lnTo>
                              <a:lnTo>
                                <a:pt x="878" y="182"/>
                              </a:lnTo>
                              <a:lnTo>
                                <a:pt x="909" y="155"/>
                              </a:lnTo>
                              <a:lnTo>
                                <a:pt x="876" y="157"/>
                              </a:lnTo>
                              <a:lnTo>
                                <a:pt x="779" y="206"/>
                              </a:lnTo>
                              <a:lnTo>
                                <a:pt x="798" y="229"/>
                              </a:lnTo>
                              <a:lnTo>
                                <a:pt x="771" y="256"/>
                              </a:lnTo>
                              <a:lnTo>
                                <a:pt x="782" y="276"/>
                              </a:lnTo>
                              <a:lnTo>
                                <a:pt x="801" y="266"/>
                              </a:lnTo>
                              <a:lnTo>
                                <a:pt x="803" y="294"/>
                              </a:lnTo>
                              <a:lnTo>
                                <a:pt x="827" y="322"/>
                              </a:lnTo>
                              <a:lnTo>
                                <a:pt x="790" y="331"/>
                              </a:lnTo>
                              <a:lnTo>
                                <a:pt x="779" y="345"/>
                              </a:lnTo>
                              <a:lnTo>
                                <a:pt x="789" y="369"/>
                              </a:lnTo>
                              <a:lnTo>
                                <a:pt x="760" y="374"/>
                              </a:lnTo>
                              <a:lnTo>
                                <a:pt x="720" y="362"/>
                              </a:lnTo>
                              <a:lnTo>
                                <a:pt x="708" y="407"/>
                              </a:lnTo>
                              <a:lnTo>
                                <a:pt x="641" y="395"/>
                              </a:lnTo>
                              <a:lnTo>
                                <a:pt x="641" y="494"/>
                              </a:lnTo>
                              <a:lnTo>
                                <a:pt x="594" y="486"/>
                              </a:lnTo>
                              <a:lnTo>
                                <a:pt x="520" y="419"/>
                              </a:lnTo>
                              <a:lnTo>
                                <a:pt x="547" y="401"/>
                              </a:lnTo>
                              <a:lnTo>
                                <a:pt x="503" y="335"/>
                              </a:lnTo>
                              <a:lnTo>
                                <a:pt x="474" y="321"/>
                              </a:lnTo>
                              <a:lnTo>
                                <a:pt x="431" y="335"/>
                              </a:lnTo>
                              <a:lnTo>
                                <a:pt x="382" y="317"/>
                              </a:lnTo>
                              <a:lnTo>
                                <a:pt x="376" y="392"/>
                              </a:lnTo>
                              <a:lnTo>
                                <a:pt x="288" y="429"/>
                              </a:lnTo>
                              <a:lnTo>
                                <a:pt x="254" y="407"/>
                              </a:lnTo>
                              <a:lnTo>
                                <a:pt x="259" y="389"/>
                              </a:lnTo>
                              <a:lnTo>
                                <a:pt x="169" y="388"/>
                              </a:lnTo>
                              <a:lnTo>
                                <a:pt x="146" y="419"/>
                              </a:lnTo>
                              <a:lnTo>
                                <a:pt x="140" y="440"/>
                              </a:lnTo>
                              <a:lnTo>
                                <a:pt x="134" y="410"/>
                              </a:lnTo>
                              <a:lnTo>
                                <a:pt x="117" y="395"/>
                              </a:lnTo>
                              <a:lnTo>
                                <a:pt x="97" y="416"/>
                              </a:lnTo>
                              <a:lnTo>
                                <a:pt x="70" y="429"/>
                              </a:lnTo>
                              <a:lnTo>
                                <a:pt x="68" y="448"/>
                              </a:lnTo>
                              <a:lnTo>
                                <a:pt x="81" y="465"/>
                              </a:lnTo>
                              <a:lnTo>
                                <a:pt x="81" y="466"/>
                              </a:lnTo>
                              <a:lnTo>
                                <a:pt x="81" y="466"/>
                              </a:lnTo>
                              <a:lnTo>
                                <a:pt x="87" y="497"/>
                              </a:lnTo>
                              <a:lnTo>
                                <a:pt x="129" y="556"/>
                              </a:lnTo>
                              <a:lnTo>
                                <a:pt x="130" y="557"/>
                              </a:lnTo>
                              <a:lnTo>
                                <a:pt x="130" y="557"/>
                              </a:lnTo>
                              <a:lnTo>
                                <a:pt x="130" y="596"/>
                              </a:lnTo>
                              <a:lnTo>
                                <a:pt x="151" y="622"/>
                              </a:lnTo>
                              <a:lnTo>
                                <a:pt x="152" y="624"/>
                              </a:lnTo>
                              <a:lnTo>
                                <a:pt x="151" y="625"/>
                              </a:lnTo>
                              <a:lnTo>
                                <a:pt x="101" y="664"/>
                              </a:lnTo>
                              <a:lnTo>
                                <a:pt x="99" y="687"/>
                              </a:lnTo>
                              <a:lnTo>
                                <a:pt x="99" y="687"/>
                              </a:lnTo>
                              <a:lnTo>
                                <a:pt x="99" y="688"/>
                              </a:lnTo>
                              <a:lnTo>
                                <a:pt x="87" y="705"/>
                              </a:lnTo>
                              <a:lnTo>
                                <a:pt x="78" y="747"/>
                              </a:lnTo>
                              <a:lnTo>
                                <a:pt x="78" y="748"/>
                              </a:lnTo>
                              <a:lnTo>
                                <a:pt x="76" y="748"/>
                              </a:lnTo>
                              <a:lnTo>
                                <a:pt x="52" y="746"/>
                              </a:lnTo>
                              <a:lnTo>
                                <a:pt x="13" y="778"/>
                              </a:lnTo>
                              <a:lnTo>
                                <a:pt x="13" y="778"/>
                              </a:lnTo>
                              <a:lnTo>
                                <a:pt x="13" y="778"/>
                              </a:lnTo>
                              <a:lnTo>
                                <a:pt x="0" y="784"/>
                              </a:lnTo>
                              <a:lnTo>
                                <a:pt x="31" y="832"/>
                              </a:lnTo>
                              <a:lnTo>
                                <a:pt x="31" y="832"/>
                              </a:lnTo>
                              <a:lnTo>
                                <a:pt x="31" y="832"/>
                              </a:lnTo>
                              <a:lnTo>
                                <a:pt x="42" y="965"/>
                              </a:lnTo>
                              <a:lnTo>
                                <a:pt x="42" y="965"/>
                              </a:lnTo>
                              <a:lnTo>
                                <a:pt x="41" y="966"/>
                              </a:lnTo>
                              <a:lnTo>
                                <a:pt x="14" y="996"/>
                              </a:lnTo>
                              <a:lnTo>
                                <a:pt x="32" y="1010"/>
                              </a:lnTo>
                              <a:lnTo>
                                <a:pt x="32" y="1011"/>
                              </a:lnTo>
                              <a:lnTo>
                                <a:pt x="32" y="1012"/>
                              </a:lnTo>
                              <a:lnTo>
                                <a:pt x="25" y="1047"/>
                              </a:lnTo>
                              <a:lnTo>
                                <a:pt x="41" y="1064"/>
                              </a:lnTo>
                              <a:lnTo>
                                <a:pt x="42" y="1065"/>
                              </a:lnTo>
                              <a:lnTo>
                                <a:pt x="42" y="1066"/>
                              </a:lnTo>
                              <a:lnTo>
                                <a:pt x="42" y="1090"/>
                              </a:lnTo>
                              <a:lnTo>
                                <a:pt x="60" y="1103"/>
                              </a:lnTo>
                              <a:lnTo>
                                <a:pt x="62" y="1104"/>
                              </a:lnTo>
                              <a:lnTo>
                                <a:pt x="61" y="1105"/>
                              </a:lnTo>
                              <a:lnTo>
                                <a:pt x="52" y="1129"/>
                              </a:lnTo>
                              <a:lnTo>
                                <a:pt x="52" y="1130"/>
                              </a:lnTo>
                              <a:lnTo>
                                <a:pt x="52" y="1130"/>
                              </a:lnTo>
                              <a:lnTo>
                                <a:pt x="23" y="1164"/>
                              </a:lnTo>
                              <a:lnTo>
                                <a:pt x="21" y="1189"/>
                              </a:lnTo>
                              <a:lnTo>
                                <a:pt x="67" y="1189"/>
                              </a:lnTo>
                              <a:lnTo>
                                <a:pt x="67" y="1189"/>
                              </a:lnTo>
                              <a:lnTo>
                                <a:pt x="68" y="1189"/>
                              </a:lnTo>
                              <a:lnTo>
                                <a:pt x="88" y="1205"/>
                              </a:lnTo>
                              <a:lnTo>
                                <a:pt x="109" y="1191"/>
                              </a:lnTo>
                              <a:lnTo>
                                <a:pt x="111" y="1190"/>
                              </a:lnTo>
                              <a:lnTo>
                                <a:pt x="111" y="1191"/>
                              </a:lnTo>
                              <a:lnTo>
                                <a:pt x="124" y="1206"/>
                              </a:lnTo>
                              <a:lnTo>
                                <a:pt x="125" y="1207"/>
                              </a:lnTo>
                              <a:lnTo>
                                <a:pt x="125" y="1207"/>
                              </a:lnTo>
                              <a:lnTo>
                                <a:pt x="141" y="1231"/>
                              </a:lnTo>
                              <a:lnTo>
                                <a:pt x="141" y="1232"/>
                              </a:lnTo>
                              <a:lnTo>
                                <a:pt x="140" y="1234"/>
                              </a:lnTo>
                              <a:lnTo>
                                <a:pt x="122" y="1245"/>
                              </a:lnTo>
                              <a:lnTo>
                                <a:pt x="122" y="1266"/>
                              </a:lnTo>
                              <a:lnTo>
                                <a:pt x="142" y="1268"/>
                              </a:lnTo>
                              <a:lnTo>
                                <a:pt x="158" y="1256"/>
                              </a:lnTo>
                              <a:lnTo>
                                <a:pt x="160" y="1255"/>
                              </a:lnTo>
                              <a:lnTo>
                                <a:pt x="161" y="1257"/>
                              </a:lnTo>
                              <a:lnTo>
                                <a:pt x="181" y="1296"/>
                              </a:lnTo>
                              <a:lnTo>
                                <a:pt x="181" y="1296"/>
                              </a:lnTo>
                              <a:lnTo>
                                <a:pt x="181" y="1297"/>
                              </a:lnTo>
                              <a:lnTo>
                                <a:pt x="180" y="1343"/>
                              </a:lnTo>
                              <a:lnTo>
                                <a:pt x="206" y="1358"/>
                              </a:lnTo>
                              <a:lnTo>
                                <a:pt x="207" y="1359"/>
                              </a:lnTo>
                              <a:lnTo>
                                <a:pt x="207" y="1360"/>
                              </a:lnTo>
                              <a:lnTo>
                                <a:pt x="195" y="1409"/>
                              </a:lnTo>
                              <a:lnTo>
                                <a:pt x="210" y="1442"/>
                              </a:lnTo>
                              <a:lnTo>
                                <a:pt x="243" y="1452"/>
                              </a:lnTo>
                              <a:lnTo>
                                <a:pt x="245" y="1452"/>
                              </a:lnTo>
                              <a:lnTo>
                                <a:pt x="244" y="1454"/>
                              </a:lnTo>
                              <a:lnTo>
                                <a:pt x="219" y="1513"/>
                              </a:lnTo>
                              <a:lnTo>
                                <a:pt x="214" y="1587"/>
                              </a:lnTo>
                              <a:lnTo>
                                <a:pt x="239" y="1614"/>
                              </a:lnTo>
                              <a:lnTo>
                                <a:pt x="267" y="1593"/>
                              </a:lnTo>
                              <a:lnTo>
                                <a:pt x="268" y="1593"/>
                              </a:lnTo>
                              <a:lnTo>
                                <a:pt x="268" y="1593"/>
                              </a:lnTo>
                              <a:lnTo>
                                <a:pt x="309" y="1591"/>
                              </a:lnTo>
                              <a:lnTo>
                                <a:pt x="324" y="1565"/>
                              </a:lnTo>
                              <a:lnTo>
                                <a:pt x="326" y="1562"/>
                              </a:lnTo>
                              <a:lnTo>
                                <a:pt x="327" y="1564"/>
                              </a:lnTo>
                              <a:lnTo>
                                <a:pt x="350" y="1586"/>
                              </a:lnTo>
                              <a:lnTo>
                                <a:pt x="379" y="1553"/>
                              </a:lnTo>
                              <a:lnTo>
                                <a:pt x="425" y="1454"/>
                              </a:lnTo>
                              <a:lnTo>
                                <a:pt x="425" y="1453"/>
                              </a:lnTo>
                              <a:lnTo>
                                <a:pt x="426" y="1453"/>
                              </a:lnTo>
                              <a:lnTo>
                                <a:pt x="456" y="1448"/>
                              </a:lnTo>
                              <a:lnTo>
                                <a:pt x="457" y="1448"/>
                              </a:lnTo>
                              <a:lnTo>
                                <a:pt x="458" y="1448"/>
                              </a:lnTo>
                              <a:lnTo>
                                <a:pt x="517" y="1472"/>
                              </a:lnTo>
                              <a:lnTo>
                                <a:pt x="518" y="1472"/>
                              </a:lnTo>
                              <a:lnTo>
                                <a:pt x="518" y="1473"/>
                              </a:lnTo>
                              <a:lnTo>
                                <a:pt x="531" y="1512"/>
                              </a:lnTo>
                              <a:lnTo>
                                <a:pt x="567" y="1496"/>
                              </a:lnTo>
                              <a:lnTo>
                                <a:pt x="568" y="1495"/>
                              </a:lnTo>
                              <a:lnTo>
                                <a:pt x="569" y="1496"/>
                              </a:lnTo>
                              <a:lnTo>
                                <a:pt x="591" y="1511"/>
                              </a:lnTo>
                              <a:lnTo>
                                <a:pt x="591" y="1511"/>
                              </a:lnTo>
                              <a:lnTo>
                                <a:pt x="591" y="1512"/>
                              </a:lnTo>
                              <a:lnTo>
                                <a:pt x="632" y="1603"/>
                              </a:lnTo>
                              <a:lnTo>
                                <a:pt x="683" y="1699"/>
                              </a:lnTo>
                              <a:lnTo>
                                <a:pt x="716" y="1678"/>
                              </a:lnTo>
                              <a:lnTo>
                                <a:pt x="717" y="1678"/>
                              </a:lnTo>
                              <a:lnTo>
                                <a:pt x="717" y="1678"/>
                              </a:lnTo>
                              <a:lnTo>
                                <a:pt x="751" y="1664"/>
                              </a:lnTo>
                              <a:lnTo>
                                <a:pt x="752" y="1664"/>
                              </a:lnTo>
                              <a:lnTo>
                                <a:pt x="752" y="1664"/>
                              </a:lnTo>
                              <a:lnTo>
                                <a:pt x="778" y="1686"/>
                              </a:lnTo>
                              <a:lnTo>
                                <a:pt x="793" y="1673"/>
                              </a:lnTo>
                              <a:lnTo>
                                <a:pt x="794" y="1672"/>
                              </a:lnTo>
                              <a:lnTo>
                                <a:pt x="795" y="1673"/>
                              </a:lnTo>
                              <a:lnTo>
                                <a:pt x="816" y="1692"/>
                              </a:lnTo>
                              <a:lnTo>
                                <a:pt x="835" y="1673"/>
                              </a:lnTo>
                              <a:lnTo>
                                <a:pt x="836" y="1673"/>
                              </a:lnTo>
                              <a:lnTo>
                                <a:pt x="836" y="1673"/>
                              </a:lnTo>
                              <a:lnTo>
                                <a:pt x="884" y="1674"/>
                              </a:lnTo>
                              <a:lnTo>
                                <a:pt x="885" y="1674"/>
                              </a:lnTo>
                              <a:lnTo>
                                <a:pt x="885" y="1674"/>
                              </a:lnTo>
                              <a:lnTo>
                                <a:pt x="915" y="1698"/>
                              </a:lnTo>
                              <a:lnTo>
                                <a:pt x="974" y="1676"/>
                              </a:lnTo>
                              <a:lnTo>
                                <a:pt x="974" y="1676"/>
                              </a:lnTo>
                              <a:lnTo>
                                <a:pt x="975" y="1676"/>
                              </a:lnTo>
                              <a:lnTo>
                                <a:pt x="995" y="1693"/>
                              </a:lnTo>
                              <a:lnTo>
                                <a:pt x="1076" y="1656"/>
                              </a:lnTo>
                              <a:lnTo>
                                <a:pt x="1076" y="1655"/>
                              </a:lnTo>
                              <a:lnTo>
                                <a:pt x="1077" y="1655"/>
                              </a:lnTo>
                              <a:lnTo>
                                <a:pt x="1100" y="1660"/>
                              </a:lnTo>
                              <a:lnTo>
                                <a:pt x="1126" y="1651"/>
                              </a:lnTo>
                              <a:lnTo>
                                <a:pt x="1122" y="1632"/>
                              </a:lnTo>
                              <a:lnTo>
                                <a:pt x="1122" y="1631"/>
                              </a:lnTo>
                              <a:lnTo>
                                <a:pt x="1123" y="1630"/>
                              </a:lnTo>
                              <a:lnTo>
                                <a:pt x="1186" y="1598"/>
                              </a:lnTo>
                              <a:lnTo>
                                <a:pt x="1170" y="1554"/>
                              </a:lnTo>
                              <a:lnTo>
                                <a:pt x="1170" y="1553"/>
                              </a:lnTo>
                              <a:lnTo>
                                <a:pt x="1171" y="1552"/>
                              </a:lnTo>
                              <a:lnTo>
                                <a:pt x="1191" y="1530"/>
                              </a:lnTo>
                              <a:lnTo>
                                <a:pt x="1183" y="1508"/>
                              </a:lnTo>
                              <a:lnTo>
                                <a:pt x="1143" y="1482"/>
                              </a:lnTo>
                              <a:lnTo>
                                <a:pt x="1142" y="1481"/>
                              </a:lnTo>
                              <a:lnTo>
                                <a:pt x="1142" y="1479"/>
                              </a:lnTo>
                              <a:lnTo>
                                <a:pt x="1163" y="1439"/>
                              </a:lnTo>
                              <a:lnTo>
                                <a:pt x="1124" y="1412"/>
                              </a:lnTo>
                              <a:lnTo>
                                <a:pt x="1122" y="1411"/>
                              </a:lnTo>
                              <a:lnTo>
                                <a:pt x="1124" y="1409"/>
                              </a:lnTo>
                              <a:lnTo>
                                <a:pt x="1142" y="1388"/>
                              </a:lnTo>
                              <a:lnTo>
                                <a:pt x="1142" y="1299"/>
                              </a:lnTo>
                              <a:lnTo>
                                <a:pt x="1142" y="1297"/>
                              </a:lnTo>
                              <a:lnTo>
                                <a:pt x="1143" y="1297"/>
                              </a:lnTo>
                              <a:lnTo>
                                <a:pt x="1220" y="1268"/>
                              </a:lnTo>
                              <a:lnTo>
                                <a:pt x="1223" y="1233"/>
                              </a:lnTo>
                              <a:lnTo>
                                <a:pt x="1223" y="1231"/>
                              </a:lnTo>
                              <a:lnTo>
                                <a:pt x="1225" y="1231"/>
                              </a:lnTo>
                              <a:lnTo>
                                <a:pt x="1270" y="1228"/>
                              </a:lnTo>
                              <a:lnTo>
                                <a:pt x="1280" y="1200"/>
                              </a:lnTo>
                              <a:lnTo>
                                <a:pt x="1279" y="1171"/>
                              </a:lnTo>
                              <a:lnTo>
                                <a:pt x="1279" y="1170"/>
                              </a:lnTo>
                              <a:lnTo>
                                <a:pt x="1280" y="1169"/>
                              </a:lnTo>
                              <a:lnTo>
                                <a:pt x="1302" y="1159"/>
                              </a:lnTo>
                              <a:lnTo>
                                <a:pt x="1285" y="1101"/>
                              </a:lnTo>
                              <a:lnTo>
                                <a:pt x="1255" y="1079"/>
                              </a:lnTo>
                              <a:lnTo>
                                <a:pt x="1254" y="1078"/>
                              </a:lnTo>
                              <a:lnTo>
                                <a:pt x="1254" y="1078"/>
                              </a:lnTo>
                              <a:lnTo>
                                <a:pt x="1274" y="1007"/>
                              </a:lnTo>
                              <a:lnTo>
                                <a:pt x="1246" y="933"/>
                              </a:lnTo>
                              <a:lnTo>
                                <a:pt x="1246" y="931"/>
                              </a:lnTo>
                              <a:lnTo>
                                <a:pt x="1246" y="931"/>
                              </a:lnTo>
                              <a:lnTo>
                                <a:pt x="1262" y="911"/>
                              </a:lnTo>
                              <a:lnTo>
                                <a:pt x="1263" y="910"/>
                              </a:lnTo>
                              <a:lnTo>
                                <a:pt x="1264" y="910"/>
                              </a:lnTo>
                              <a:lnTo>
                                <a:pt x="1318" y="928"/>
                              </a:lnTo>
                              <a:lnTo>
                                <a:pt x="1352" y="921"/>
                              </a:lnTo>
                              <a:lnTo>
                                <a:pt x="1364" y="900"/>
                              </a:lnTo>
                              <a:lnTo>
                                <a:pt x="1365" y="899"/>
                              </a:lnTo>
                              <a:lnTo>
                                <a:pt x="1366" y="899"/>
                              </a:lnTo>
                              <a:lnTo>
                                <a:pt x="1407" y="893"/>
                              </a:lnTo>
                              <a:lnTo>
                                <a:pt x="1414" y="867"/>
                              </a:lnTo>
                              <a:lnTo>
                                <a:pt x="1346" y="726"/>
                              </a:lnTo>
                              <a:lnTo>
                                <a:pt x="1346" y="726"/>
                              </a:lnTo>
                              <a:lnTo>
                                <a:pt x="1346" y="725"/>
                              </a:lnTo>
                              <a:lnTo>
                                <a:pt x="1353" y="690"/>
                              </a:lnTo>
                              <a:lnTo>
                                <a:pt x="1353" y="690"/>
                              </a:lnTo>
                              <a:lnTo>
                                <a:pt x="1354" y="689"/>
                              </a:lnTo>
                              <a:lnTo>
                                <a:pt x="1399" y="657"/>
                              </a:lnTo>
                              <a:lnTo>
                                <a:pt x="1382" y="625"/>
                              </a:lnTo>
                              <a:lnTo>
                                <a:pt x="1381" y="623"/>
                              </a:lnTo>
                              <a:lnTo>
                                <a:pt x="1382" y="622"/>
                              </a:lnTo>
                              <a:lnTo>
                                <a:pt x="1426" y="581"/>
                              </a:lnTo>
                              <a:lnTo>
                                <a:pt x="1427" y="581"/>
                              </a:lnTo>
                              <a:lnTo>
                                <a:pt x="1427" y="581"/>
                              </a:lnTo>
                              <a:lnTo>
                                <a:pt x="1467" y="576"/>
                              </a:lnTo>
                              <a:lnTo>
                                <a:pt x="1489" y="551"/>
                              </a:lnTo>
                              <a:lnTo>
                                <a:pt x="1493" y="507"/>
                              </a:lnTo>
                              <a:lnTo>
                                <a:pt x="1467" y="485"/>
                              </a:lnTo>
                              <a:lnTo>
                                <a:pt x="1467" y="484"/>
                              </a:lnTo>
                              <a:lnTo>
                                <a:pt x="1467" y="483"/>
                              </a:lnTo>
                              <a:lnTo>
                                <a:pt x="1465" y="455"/>
                              </a:lnTo>
                              <a:lnTo>
                                <a:pt x="1449" y="431"/>
                              </a:lnTo>
                              <a:lnTo>
                                <a:pt x="1448" y="429"/>
                              </a:lnTo>
                              <a:lnTo>
                                <a:pt x="1449" y="428"/>
                              </a:lnTo>
                              <a:lnTo>
                                <a:pt x="1469" y="410"/>
                              </a:lnTo>
                              <a:lnTo>
                                <a:pt x="1448" y="385"/>
                              </a:lnTo>
                              <a:lnTo>
                                <a:pt x="1447" y="384"/>
                              </a:lnTo>
                              <a:lnTo>
                                <a:pt x="1448" y="383"/>
                              </a:lnTo>
                              <a:lnTo>
                                <a:pt x="1499" y="336"/>
                              </a:lnTo>
                              <a:lnTo>
                                <a:pt x="1499" y="336"/>
                              </a:lnTo>
                              <a:lnTo>
                                <a:pt x="1500" y="336"/>
                              </a:lnTo>
                              <a:lnTo>
                                <a:pt x="1522" y="326"/>
                              </a:lnTo>
                              <a:lnTo>
                                <a:pt x="1539" y="301"/>
                              </a:lnTo>
                              <a:lnTo>
                                <a:pt x="1507" y="235"/>
                              </a:lnTo>
                              <a:lnTo>
                                <a:pt x="1467" y="235"/>
                              </a:lnTo>
                              <a:lnTo>
                                <a:pt x="1467" y="235"/>
                              </a:lnTo>
                              <a:lnTo>
                                <a:pt x="1467" y="235"/>
                              </a:lnTo>
                              <a:lnTo>
                                <a:pt x="1435" y="221"/>
                              </a:lnTo>
                              <a:lnTo>
                                <a:pt x="1434" y="221"/>
                              </a:lnTo>
                              <a:lnTo>
                                <a:pt x="1434" y="220"/>
                              </a:lnTo>
                              <a:lnTo>
                                <a:pt x="1418" y="177"/>
                              </a:lnTo>
                              <a:lnTo>
                                <a:pt x="1417" y="176"/>
                              </a:lnTo>
                              <a:lnTo>
                                <a:pt x="1418" y="175"/>
                              </a:lnTo>
                              <a:lnTo>
                                <a:pt x="1482" y="100"/>
                              </a:lnTo>
                              <a:lnTo>
                                <a:pt x="1482" y="63"/>
                              </a:lnTo>
                              <a:lnTo>
                                <a:pt x="1398" y="0"/>
                              </a:lnTo>
                              <a:lnTo>
                                <a:pt x="1398" y="0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2F2F2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34" name="Freeform 144">
                          <a:extLst>
                            <a:ext uri="{FF2B5EF4-FFF2-40B4-BE49-F238E27FC236}">
                              <a16:creationId xmlns:a16="http://schemas.microsoft.com/office/drawing/2014/main" id="{A796C45E-4CDD-4989-B02B-BDF5DA34EA5D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126008" y="85160"/>
                          <a:ext cx="80030" cy="117993"/>
                        </a:xfrm>
                        <a:custGeom>
                          <a:avLst/>
                          <a:gdLst>
                            <a:gd name="T0" fmla="*/ 0 w 78"/>
                            <a:gd name="T1" fmla="*/ 65 h 115"/>
                            <a:gd name="T2" fmla="*/ 43 w 78"/>
                            <a:gd name="T3" fmla="*/ 115 h 115"/>
                            <a:gd name="T4" fmla="*/ 53 w 78"/>
                            <a:gd name="T5" fmla="*/ 106 h 115"/>
                            <a:gd name="T6" fmla="*/ 64 w 78"/>
                            <a:gd name="T7" fmla="*/ 48 h 115"/>
                            <a:gd name="T8" fmla="*/ 78 w 78"/>
                            <a:gd name="T9" fmla="*/ 21 h 115"/>
                            <a:gd name="T10" fmla="*/ 63 w 78"/>
                            <a:gd name="T11" fmla="*/ 0 h 115"/>
                            <a:gd name="T12" fmla="*/ 24 w 78"/>
                            <a:gd name="T13" fmla="*/ 3 h 115"/>
                            <a:gd name="T14" fmla="*/ 0 w 78"/>
                            <a:gd name="T15" fmla="*/ 38 h 115"/>
                            <a:gd name="T16" fmla="*/ 0 w 78"/>
                            <a:gd name="T17" fmla="*/ 65 h 115"/>
                            <a:gd name="T18" fmla="*/ 0 w 78"/>
                            <a:gd name="T19" fmla="*/ 65 h 11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</a:cxnLst>
                          <a:rect l="0" t="0" r="r" b="b"/>
                          <a:pathLst>
                            <a:path w="78" h="115">
                              <a:moveTo>
                                <a:pt x="0" y="65"/>
                              </a:moveTo>
                              <a:lnTo>
                                <a:pt x="43" y="115"/>
                              </a:lnTo>
                              <a:lnTo>
                                <a:pt x="53" y="106"/>
                              </a:lnTo>
                              <a:lnTo>
                                <a:pt x="64" y="48"/>
                              </a:lnTo>
                              <a:lnTo>
                                <a:pt x="78" y="21"/>
                              </a:lnTo>
                              <a:lnTo>
                                <a:pt x="63" y="0"/>
                              </a:lnTo>
                              <a:lnTo>
                                <a:pt x="24" y="3"/>
                              </a:lnTo>
                              <a:lnTo>
                                <a:pt x="0" y="38"/>
                              </a:lnTo>
                              <a:lnTo>
                                <a:pt x="0" y="65"/>
                              </a:lnTo>
                              <a:lnTo>
                                <a:pt x="0" y="65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36" name="Freeform 146">
                          <a:extLst>
                            <a:ext uri="{FF2B5EF4-FFF2-40B4-BE49-F238E27FC236}">
                              <a16:creationId xmlns:a16="http://schemas.microsoft.com/office/drawing/2014/main" id="{093F2EB7-A74C-4044-A701-EAFBFAB92607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132537" y="1216863"/>
                          <a:ext cx="46171" cy="28729"/>
                        </a:xfrm>
                        <a:custGeom>
                          <a:avLst/>
                          <a:gdLst>
                            <a:gd name="T0" fmla="*/ 0 w 45"/>
                            <a:gd name="T1" fmla="*/ 12 h 28"/>
                            <a:gd name="T2" fmla="*/ 15 w 45"/>
                            <a:gd name="T3" fmla="*/ 28 h 28"/>
                            <a:gd name="T4" fmla="*/ 45 w 45"/>
                            <a:gd name="T5" fmla="*/ 3 h 28"/>
                            <a:gd name="T6" fmla="*/ 33 w 45"/>
                            <a:gd name="T7" fmla="*/ 0 h 28"/>
                            <a:gd name="T8" fmla="*/ 0 w 45"/>
                            <a:gd name="T9" fmla="*/ 12 h 28"/>
                            <a:gd name="T10" fmla="*/ 0 w 45"/>
                            <a:gd name="T11" fmla="*/ 12 h 2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</a:cxnLst>
                          <a:rect l="0" t="0" r="r" b="b"/>
                          <a:pathLst>
                            <a:path w="45" h="28">
                              <a:moveTo>
                                <a:pt x="0" y="12"/>
                              </a:moveTo>
                              <a:lnTo>
                                <a:pt x="15" y="28"/>
                              </a:lnTo>
                              <a:lnTo>
                                <a:pt x="45" y="3"/>
                              </a:lnTo>
                              <a:lnTo>
                                <a:pt x="33" y="0"/>
                              </a:lnTo>
                              <a:lnTo>
                                <a:pt x="0" y="12"/>
                              </a:lnTo>
                              <a:lnTo>
                                <a:pt x="0" y="12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37" name="Freeform 147">
                          <a:extLst>
                            <a:ext uri="{FF2B5EF4-FFF2-40B4-BE49-F238E27FC236}">
                              <a16:creationId xmlns:a16="http://schemas.microsoft.com/office/drawing/2014/main" id="{49C32EB2-6197-44DF-9588-4BA6C0F7D3F3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001206" y="1883778"/>
                          <a:ext cx="24625" cy="32833"/>
                        </a:xfrm>
                        <a:custGeom>
                          <a:avLst/>
                          <a:gdLst>
                            <a:gd name="T0" fmla="*/ 0 w 24"/>
                            <a:gd name="T1" fmla="*/ 10 h 32"/>
                            <a:gd name="T2" fmla="*/ 2 w 24"/>
                            <a:gd name="T3" fmla="*/ 22 h 32"/>
                            <a:gd name="T4" fmla="*/ 17 w 24"/>
                            <a:gd name="T5" fmla="*/ 32 h 32"/>
                            <a:gd name="T6" fmla="*/ 24 w 24"/>
                            <a:gd name="T7" fmla="*/ 14 h 32"/>
                            <a:gd name="T8" fmla="*/ 16 w 24"/>
                            <a:gd name="T9" fmla="*/ 0 h 32"/>
                            <a:gd name="T10" fmla="*/ 0 w 24"/>
                            <a:gd name="T11" fmla="*/ 10 h 32"/>
                            <a:gd name="T12" fmla="*/ 0 w 24"/>
                            <a:gd name="T13" fmla="*/ 10 h 3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24" h="32">
                              <a:moveTo>
                                <a:pt x="0" y="10"/>
                              </a:moveTo>
                              <a:lnTo>
                                <a:pt x="2" y="22"/>
                              </a:lnTo>
                              <a:lnTo>
                                <a:pt x="17" y="32"/>
                              </a:lnTo>
                              <a:lnTo>
                                <a:pt x="24" y="14"/>
                              </a:lnTo>
                              <a:lnTo>
                                <a:pt x="16" y="0"/>
                              </a:lnTo>
                              <a:lnTo>
                                <a:pt x="0" y="10"/>
                              </a:lnTo>
                              <a:lnTo>
                                <a:pt x="0" y="1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38" name="Freeform 148">
                          <a:extLst>
                            <a:ext uri="{FF2B5EF4-FFF2-40B4-BE49-F238E27FC236}">
                              <a16:creationId xmlns:a16="http://schemas.microsoft.com/office/drawing/2014/main" id="{1D9D14EC-D7E4-4F5D-B965-2CE201F82BBF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046351" y="1865309"/>
                          <a:ext cx="25651" cy="24625"/>
                        </a:xfrm>
                        <a:custGeom>
                          <a:avLst/>
                          <a:gdLst>
                            <a:gd name="T0" fmla="*/ 2 w 25"/>
                            <a:gd name="T1" fmla="*/ 7 h 24"/>
                            <a:gd name="T2" fmla="*/ 0 w 25"/>
                            <a:gd name="T3" fmla="*/ 18 h 24"/>
                            <a:gd name="T4" fmla="*/ 16 w 25"/>
                            <a:gd name="T5" fmla="*/ 24 h 24"/>
                            <a:gd name="T6" fmla="*/ 25 w 25"/>
                            <a:gd name="T7" fmla="*/ 14 h 24"/>
                            <a:gd name="T8" fmla="*/ 9 w 25"/>
                            <a:gd name="T9" fmla="*/ 0 h 24"/>
                            <a:gd name="T10" fmla="*/ 2 w 25"/>
                            <a:gd name="T11" fmla="*/ 7 h 24"/>
                            <a:gd name="T12" fmla="*/ 2 w 25"/>
                            <a:gd name="T13" fmla="*/ 7 h 2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25" h="24">
                              <a:moveTo>
                                <a:pt x="2" y="7"/>
                              </a:moveTo>
                              <a:lnTo>
                                <a:pt x="0" y="18"/>
                              </a:lnTo>
                              <a:lnTo>
                                <a:pt x="16" y="24"/>
                              </a:lnTo>
                              <a:lnTo>
                                <a:pt x="25" y="14"/>
                              </a:lnTo>
                              <a:lnTo>
                                <a:pt x="9" y="0"/>
                              </a:lnTo>
                              <a:lnTo>
                                <a:pt x="2" y="7"/>
                              </a:lnTo>
                              <a:lnTo>
                                <a:pt x="2" y="7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39" name="Freeform 149">
                          <a:extLst>
                            <a:ext uri="{FF2B5EF4-FFF2-40B4-BE49-F238E27FC236}">
                              <a16:creationId xmlns:a16="http://schemas.microsoft.com/office/drawing/2014/main" id="{CEE679AE-D8D8-47E9-932E-39387AEDBC76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035064" y="1896090"/>
                          <a:ext cx="34885" cy="70796"/>
                        </a:xfrm>
                        <a:custGeom>
                          <a:avLst/>
                          <a:gdLst>
                            <a:gd name="T0" fmla="*/ 3 w 34"/>
                            <a:gd name="T1" fmla="*/ 0 h 69"/>
                            <a:gd name="T2" fmla="*/ 0 w 34"/>
                            <a:gd name="T3" fmla="*/ 46 h 69"/>
                            <a:gd name="T4" fmla="*/ 17 w 34"/>
                            <a:gd name="T5" fmla="*/ 69 h 69"/>
                            <a:gd name="T6" fmla="*/ 34 w 34"/>
                            <a:gd name="T7" fmla="*/ 62 h 69"/>
                            <a:gd name="T8" fmla="*/ 30 w 34"/>
                            <a:gd name="T9" fmla="*/ 16 h 69"/>
                            <a:gd name="T10" fmla="*/ 17 w 34"/>
                            <a:gd name="T11" fmla="*/ 4 h 69"/>
                            <a:gd name="T12" fmla="*/ 3 w 34"/>
                            <a:gd name="T13" fmla="*/ 0 h 69"/>
                            <a:gd name="T14" fmla="*/ 3 w 34"/>
                            <a:gd name="T15" fmla="*/ 0 h 69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</a:cxnLst>
                          <a:rect l="0" t="0" r="r" b="b"/>
                          <a:pathLst>
                            <a:path w="34" h="69">
                              <a:moveTo>
                                <a:pt x="3" y="0"/>
                              </a:moveTo>
                              <a:lnTo>
                                <a:pt x="0" y="46"/>
                              </a:lnTo>
                              <a:lnTo>
                                <a:pt x="17" y="69"/>
                              </a:lnTo>
                              <a:lnTo>
                                <a:pt x="34" y="62"/>
                              </a:lnTo>
                              <a:lnTo>
                                <a:pt x="30" y="16"/>
                              </a:lnTo>
                              <a:lnTo>
                                <a:pt x="17" y="4"/>
                              </a:lnTo>
                              <a:lnTo>
                                <a:pt x="3" y="0"/>
                              </a:lnTo>
                              <a:lnTo>
                                <a:pt x="3" y="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40" name="Freeform 150">
                          <a:extLst>
                            <a:ext uri="{FF2B5EF4-FFF2-40B4-BE49-F238E27FC236}">
                              <a16:creationId xmlns:a16="http://schemas.microsoft.com/office/drawing/2014/main" id="{84C642DB-4163-4A37-A63C-24B25CD98616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061741" y="2000744"/>
                          <a:ext cx="32833" cy="34885"/>
                        </a:xfrm>
                        <a:custGeom>
                          <a:avLst/>
                          <a:gdLst>
                            <a:gd name="T0" fmla="*/ 3 w 32"/>
                            <a:gd name="T1" fmla="*/ 0 h 34"/>
                            <a:gd name="T2" fmla="*/ 0 w 32"/>
                            <a:gd name="T3" fmla="*/ 17 h 34"/>
                            <a:gd name="T4" fmla="*/ 8 w 32"/>
                            <a:gd name="T5" fmla="*/ 34 h 34"/>
                            <a:gd name="T6" fmla="*/ 29 w 32"/>
                            <a:gd name="T7" fmla="*/ 24 h 34"/>
                            <a:gd name="T8" fmla="*/ 32 w 32"/>
                            <a:gd name="T9" fmla="*/ 13 h 34"/>
                            <a:gd name="T10" fmla="*/ 3 w 32"/>
                            <a:gd name="T11" fmla="*/ 0 h 34"/>
                            <a:gd name="T12" fmla="*/ 3 w 32"/>
                            <a:gd name="T13" fmla="*/ 0 h 3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32" h="34">
                              <a:moveTo>
                                <a:pt x="3" y="0"/>
                              </a:moveTo>
                              <a:lnTo>
                                <a:pt x="0" y="17"/>
                              </a:lnTo>
                              <a:lnTo>
                                <a:pt x="8" y="34"/>
                              </a:lnTo>
                              <a:lnTo>
                                <a:pt x="29" y="24"/>
                              </a:lnTo>
                              <a:lnTo>
                                <a:pt x="32" y="13"/>
                              </a:lnTo>
                              <a:lnTo>
                                <a:pt x="3" y="0"/>
                              </a:lnTo>
                              <a:lnTo>
                                <a:pt x="3" y="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41" name="Freeform 151">
                          <a:extLst>
                            <a:ext uri="{FF2B5EF4-FFF2-40B4-BE49-F238E27FC236}">
                              <a16:creationId xmlns:a16="http://schemas.microsoft.com/office/drawing/2014/main" id="{0CA78CAF-6563-4A7D-93DF-7066871808C3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084313" y="2137205"/>
                          <a:ext cx="27703" cy="32833"/>
                        </a:xfrm>
                        <a:custGeom>
                          <a:avLst/>
                          <a:gdLst>
                            <a:gd name="T0" fmla="*/ 8 w 27"/>
                            <a:gd name="T1" fmla="*/ 0 h 32"/>
                            <a:gd name="T2" fmla="*/ 0 w 27"/>
                            <a:gd name="T3" fmla="*/ 15 h 32"/>
                            <a:gd name="T4" fmla="*/ 12 w 27"/>
                            <a:gd name="T5" fmla="*/ 32 h 32"/>
                            <a:gd name="T6" fmla="*/ 27 w 27"/>
                            <a:gd name="T7" fmla="*/ 19 h 32"/>
                            <a:gd name="T8" fmla="*/ 17 w 27"/>
                            <a:gd name="T9" fmla="*/ 2 h 32"/>
                            <a:gd name="T10" fmla="*/ 8 w 27"/>
                            <a:gd name="T11" fmla="*/ 0 h 32"/>
                            <a:gd name="T12" fmla="*/ 8 w 27"/>
                            <a:gd name="T13" fmla="*/ 0 h 3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27" h="32">
                              <a:moveTo>
                                <a:pt x="8" y="0"/>
                              </a:moveTo>
                              <a:lnTo>
                                <a:pt x="0" y="15"/>
                              </a:lnTo>
                              <a:lnTo>
                                <a:pt x="12" y="32"/>
                              </a:lnTo>
                              <a:lnTo>
                                <a:pt x="27" y="19"/>
                              </a:lnTo>
                              <a:lnTo>
                                <a:pt x="17" y="2"/>
                              </a:lnTo>
                              <a:lnTo>
                                <a:pt x="8" y="0"/>
                              </a:lnTo>
                              <a:lnTo>
                                <a:pt x="8" y="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42" name="Freeform 152">
                          <a:extLst>
                            <a:ext uri="{FF2B5EF4-FFF2-40B4-BE49-F238E27FC236}">
                              <a16:creationId xmlns:a16="http://schemas.microsoft.com/office/drawing/2014/main" id="{8BDC7F31-0ACD-40A1-801B-2B555F967C6E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093548" y="2209027"/>
                          <a:ext cx="22572" cy="28729"/>
                        </a:xfrm>
                        <a:custGeom>
                          <a:avLst/>
                          <a:gdLst>
                            <a:gd name="T0" fmla="*/ 0 w 22"/>
                            <a:gd name="T1" fmla="*/ 15 h 28"/>
                            <a:gd name="T2" fmla="*/ 8 w 22"/>
                            <a:gd name="T3" fmla="*/ 28 h 28"/>
                            <a:gd name="T4" fmla="*/ 19 w 22"/>
                            <a:gd name="T5" fmla="*/ 24 h 28"/>
                            <a:gd name="T6" fmla="*/ 22 w 22"/>
                            <a:gd name="T7" fmla="*/ 3 h 28"/>
                            <a:gd name="T8" fmla="*/ 8 w 22"/>
                            <a:gd name="T9" fmla="*/ 0 h 28"/>
                            <a:gd name="T10" fmla="*/ 0 w 22"/>
                            <a:gd name="T11" fmla="*/ 15 h 28"/>
                            <a:gd name="T12" fmla="*/ 0 w 22"/>
                            <a:gd name="T13" fmla="*/ 15 h 2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22" h="28">
                              <a:moveTo>
                                <a:pt x="0" y="15"/>
                              </a:moveTo>
                              <a:lnTo>
                                <a:pt x="8" y="28"/>
                              </a:lnTo>
                              <a:lnTo>
                                <a:pt x="19" y="24"/>
                              </a:lnTo>
                              <a:lnTo>
                                <a:pt x="22" y="3"/>
                              </a:lnTo>
                              <a:lnTo>
                                <a:pt x="8" y="0"/>
                              </a:lnTo>
                              <a:lnTo>
                                <a:pt x="0" y="15"/>
                              </a:lnTo>
                              <a:lnTo>
                                <a:pt x="0" y="15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43" name="Freeform 153">
                          <a:extLst>
                            <a:ext uri="{FF2B5EF4-FFF2-40B4-BE49-F238E27FC236}">
                              <a16:creationId xmlns:a16="http://schemas.microsoft.com/office/drawing/2014/main" id="{70CB2877-E064-4E69-A188-9866E51E7A69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091496" y="2259302"/>
                          <a:ext cx="37963" cy="37963"/>
                        </a:xfrm>
                        <a:custGeom>
                          <a:avLst/>
                          <a:gdLst>
                            <a:gd name="T0" fmla="*/ 12 w 37"/>
                            <a:gd name="T1" fmla="*/ 0 h 37"/>
                            <a:gd name="T2" fmla="*/ 0 w 37"/>
                            <a:gd name="T3" fmla="*/ 13 h 37"/>
                            <a:gd name="T4" fmla="*/ 10 w 37"/>
                            <a:gd name="T5" fmla="*/ 37 h 37"/>
                            <a:gd name="T6" fmla="*/ 37 w 37"/>
                            <a:gd name="T7" fmla="*/ 30 h 37"/>
                            <a:gd name="T8" fmla="*/ 28 w 37"/>
                            <a:gd name="T9" fmla="*/ 4 h 37"/>
                            <a:gd name="T10" fmla="*/ 12 w 37"/>
                            <a:gd name="T11" fmla="*/ 0 h 37"/>
                            <a:gd name="T12" fmla="*/ 12 w 37"/>
                            <a:gd name="T13" fmla="*/ 0 h 3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37" h="37">
                              <a:moveTo>
                                <a:pt x="12" y="0"/>
                              </a:moveTo>
                              <a:lnTo>
                                <a:pt x="0" y="13"/>
                              </a:lnTo>
                              <a:lnTo>
                                <a:pt x="10" y="37"/>
                              </a:lnTo>
                              <a:lnTo>
                                <a:pt x="37" y="30"/>
                              </a:lnTo>
                              <a:lnTo>
                                <a:pt x="28" y="4"/>
                              </a:lnTo>
                              <a:lnTo>
                                <a:pt x="12" y="0"/>
                              </a:lnTo>
                              <a:lnTo>
                                <a:pt x="12" y="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44" name="Freeform 154">
                          <a:extLst>
                            <a:ext uri="{FF2B5EF4-FFF2-40B4-BE49-F238E27FC236}">
                              <a16:creationId xmlns:a16="http://schemas.microsoft.com/office/drawing/2014/main" id="{6698967F-BCC6-49D4-8211-BA4FA651E708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070975" y="2364982"/>
                          <a:ext cx="28729" cy="89264"/>
                        </a:xfrm>
                        <a:custGeom>
                          <a:avLst/>
                          <a:gdLst>
                            <a:gd name="T0" fmla="*/ 14 w 28"/>
                            <a:gd name="T1" fmla="*/ 0 h 87"/>
                            <a:gd name="T2" fmla="*/ 0 w 28"/>
                            <a:gd name="T3" fmla="*/ 14 h 87"/>
                            <a:gd name="T4" fmla="*/ 1 w 28"/>
                            <a:gd name="T5" fmla="*/ 43 h 87"/>
                            <a:gd name="T6" fmla="*/ 1 w 28"/>
                            <a:gd name="T7" fmla="*/ 73 h 87"/>
                            <a:gd name="T8" fmla="*/ 2 w 28"/>
                            <a:gd name="T9" fmla="*/ 87 h 87"/>
                            <a:gd name="T10" fmla="*/ 16 w 28"/>
                            <a:gd name="T11" fmla="*/ 87 h 87"/>
                            <a:gd name="T12" fmla="*/ 28 w 28"/>
                            <a:gd name="T13" fmla="*/ 53 h 87"/>
                            <a:gd name="T14" fmla="*/ 25 w 28"/>
                            <a:gd name="T15" fmla="*/ 19 h 87"/>
                            <a:gd name="T16" fmla="*/ 14 w 28"/>
                            <a:gd name="T17" fmla="*/ 0 h 87"/>
                            <a:gd name="T18" fmla="*/ 14 w 28"/>
                            <a:gd name="T19" fmla="*/ 0 h 8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</a:cxnLst>
                          <a:rect l="0" t="0" r="r" b="b"/>
                          <a:pathLst>
                            <a:path w="28" h="87">
                              <a:moveTo>
                                <a:pt x="14" y="0"/>
                              </a:moveTo>
                              <a:lnTo>
                                <a:pt x="0" y="14"/>
                              </a:lnTo>
                              <a:lnTo>
                                <a:pt x="1" y="43"/>
                              </a:lnTo>
                              <a:lnTo>
                                <a:pt x="1" y="73"/>
                              </a:lnTo>
                              <a:lnTo>
                                <a:pt x="2" y="87"/>
                              </a:lnTo>
                              <a:lnTo>
                                <a:pt x="16" y="87"/>
                              </a:lnTo>
                              <a:lnTo>
                                <a:pt x="28" y="53"/>
                              </a:lnTo>
                              <a:lnTo>
                                <a:pt x="25" y="19"/>
                              </a:lnTo>
                              <a:lnTo>
                                <a:pt x="14" y="0"/>
                              </a:lnTo>
                              <a:lnTo>
                                <a:pt x="14" y="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45" name="Freeform 155">
                          <a:extLst>
                            <a:ext uri="{FF2B5EF4-FFF2-40B4-BE49-F238E27FC236}">
                              <a16:creationId xmlns:a16="http://schemas.microsoft.com/office/drawing/2014/main" id="{EAFCA130-6367-49CD-B5B4-C4D6B0DABF03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015570" y="2480923"/>
                          <a:ext cx="46171" cy="128253"/>
                        </a:xfrm>
                        <a:custGeom>
                          <a:avLst/>
                          <a:gdLst>
                            <a:gd name="T0" fmla="*/ 26 w 45"/>
                            <a:gd name="T1" fmla="*/ 0 h 125"/>
                            <a:gd name="T2" fmla="*/ 41 w 45"/>
                            <a:gd name="T3" fmla="*/ 1 h 125"/>
                            <a:gd name="T4" fmla="*/ 45 w 45"/>
                            <a:gd name="T5" fmla="*/ 20 h 125"/>
                            <a:gd name="T6" fmla="*/ 35 w 45"/>
                            <a:gd name="T7" fmla="*/ 36 h 125"/>
                            <a:gd name="T8" fmla="*/ 21 w 45"/>
                            <a:gd name="T9" fmla="*/ 56 h 125"/>
                            <a:gd name="T10" fmla="*/ 20 w 45"/>
                            <a:gd name="T11" fmla="*/ 78 h 125"/>
                            <a:gd name="T12" fmla="*/ 16 w 45"/>
                            <a:gd name="T13" fmla="*/ 104 h 125"/>
                            <a:gd name="T14" fmla="*/ 13 w 45"/>
                            <a:gd name="T15" fmla="*/ 125 h 125"/>
                            <a:gd name="T16" fmla="*/ 7 w 45"/>
                            <a:gd name="T17" fmla="*/ 122 h 125"/>
                            <a:gd name="T18" fmla="*/ 1 w 45"/>
                            <a:gd name="T19" fmla="*/ 86 h 125"/>
                            <a:gd name="T20" fmla="*/ 0 w 45"/>
                            <a:gd name="T21" fmla="*/ 42 h 125"/>
                            <a:gd name="T22" fmla="*/ 18 w 45"/>
                            <a:gd name="T23" fmla="*/ 24 h 125"/>
                            <a:gd name="T24" fmla="*/ 28 w 45"/>
                            <a:gd name="T25" fmla="*/ 15 h 125"/>
                            <a:gd name="T26" fmla="*/ 26 w 45"/>
                            <a:gd name="T27" fmla="*/ 0 h 125"/>
                            <a:gd name="T28" fmla="*/ 26 w 45"/>
                            <a:gd name="T29" fmla="*/ 0 h 1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</a:cxnLst>
                          <a:rect l="0" t="0" r="r" b="b"/>
                          <a:pathLst>
                            <a:path w="45" h="125">
                              <a:moveTo>
                                <a:pt x="26" y="0"/>
                              </a:moveTo>
                              <a:lnTo>
                                <a:pt x="41" y="1"/>
                              </a:lnTo>
                              <a:lnTo>
                                <a:pt x="45" y="20"/>
                              </a:lnTo>
                              <a:lnTo>
                                <a:pt x="35" y="36"/>
                              </a:lnTo>
                              <a:lnTo>
                                <a:pt x="21" y="56"/>
                              </a:lnTo>
                              <a:lnTo>
                                <a:pt x="20" y="78"/>
                              </a:lnTo>
                              <a:lnTo>
                                <a:pt x="16" y="104"/>
                              </a:lnTo>
                              <a:lnTo>
                                <a:pt x="13" y="125"/>
                              </a:lnTo>
                              <a:lnTo>
                                <a:pt x="7" y="122"/>
                              </a:lnTo>
                              <a:lnTo>
                                <a:pt x="1" y="86"/>
                              </a:lnTo>
                              <a:lnTo>
                                <a:pt x="0" y="42"/>
                              </a:lnTo>
                              <a:lnTo>
                                <a:pt x="18" y="24"/>
                              </a:lnTo>
                              <a:lnTo>
                                <a:pt x="28" y="15"/>
                              </a:lnTo>
                              <a:lnTo>
                                <a:pt x="26" y="0"/>
                              </a:lnTo>
                              <a:lnTo>
                                <a:pt x="26" y="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46" name="Freeform 156">
                          <a:extLst>
                            <a:ext uri="{FF2B5EF4-FFF2-40B4-BE49-F238E27FC236}">
                              <a16:creationId xmlns:a16="http://schemas.microsoft.com/office/drawing/2014/main" id="{5E3FBD5D-92BA-4A14-825F-8D0E3E934ED1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977607" y="2635852"/>
                          <a:ext cx="32833" cy="86186"/>
                        </a:xfrm>
                        <a:custGeom>
                          <a:avLst/>
                          <a:gdLst>
                            <a:gd name="T0" fmla="*/ 12 w 32"/>
                            <a:gd name="T1" fmla="*/ 84 h 84"/>
                            <a:gd name="T2" fmla="*/ 18 w 32"/>
                            <a:gd name="T3" fmla="*/ 81 h 84"/>
                            <a:gd name="T4" fmla="*/ 22 w 32"/>
                            <a:gd name="T5" fmla="*/ 30 h 84"/>
                            <a:gd name="T6" fmla="*/ 30 w 32"/>
                            <a:gd name="T7" fmla="*/ 19 h 84"/>
                            <a:gd name="T8" fmla="*/ 32 w 32"/>
                            <a:gd name="T9" fmla="*/ 6 h 84"/>
                            <a:gd name="T10" fmla="*/ 23 w 32"/>
                            <a:gd name="T11" fmla="*/ 0 h 84"/>
                            <a:gd name="T12" fmla="*/ 8 w 32"/>
                            <a:gd name="T13" fmla="*/ 7 h 84"/>
                            <a:gd name="T14" fmla="*/ 0 w 32"/>
                            <a:gd name="T15" fmla="*/ 13 h 84"/>
                            <a:gd name="T16" fmla="*/ 7 w 32"/>
                            <a:gd name="T17" fmla="*/ 35 h 84"/>
                            <a:gd name="T18" fmla="*/ 5 w 32"/>
                            <a:gd name="T19" fmla="*/ 65 h 84"/>
                            <a:gd name="T20" fmla="*/ 12 w 32"/>
                            <a:gd name="T21" fmla="*/ 84 h 84"/>
                            <a:gd name="T22" fmla="*/ 12 w 32"/>
                            <a:gd name="T23" fmla="*/ 84 h 8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</a:cxnLst>
                          <a:rect l="0" t="0" r="r" b="b"/>
                          <a:pathLst>
                            <a:path w="32" h="84">
                              <a:moveTo>
                                <a:pt x="12" y="84"/>
                              </a:moveTo>
                              <a:lnTo>
                                <a:pt x="18" y="81"/>
                              </a:lnTo>
                              <a:lnTo>
                                <a:pt x="22" y="30"/>
                              </a:lnTo>
                              <a:lnTo>
                                <a:pt x="30" y="19"/>
                              </a:lnTo>
                              <a:lnTo>
                                <a:pt x="32" y="6"/>
                              </a:lnTo>
                              <a:lnTo>
                                <a:pt x="23" y="0"/>
                              </a:lnTo>
                              <a:lnTo>
                                <a:pt x="8" y="7"/>
                              </a:lnTo>
                              <a:lnTo>
                                <a:pt x="0" y="13"/>
                              </a:lnTo>
                              <a:lnTo>
                                <a:pt x="7" y="35"/>
                              </a:lnTo>
                              <a:lnTo>
                                <a:pt x="5" y="65"/>
                              </a:lnTo>
                              <a:lnTo>
                                <a:pt x="12" y="84"/>
                              </a:lnTo>
                              <a:lnTo>
                                <a:pt x="12" y="84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47" name="Freeform 157">
                          <a:extLst>
                            <a:ext uri="{FF2B5EF4-FFF2-40B4-BE49-F238E27FC236}">
                              <a16:creationId xmlns:a16="http://schemas.microsoft.com/office/drawing/2014/main" id="{9451125C-C205-48F4-B57E-39E264C0E207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045325" y="2648164"/>
                          <a:ext cx="19495" cy="31807"/>
                        </a:xfrm>
                        <a:custGeom>
                          <a:avLst/>
                          <a:gdLst>
                            <a:gd name="T0" fmla="*/ 0 w 19"/>
                            <a:gd name="T1" fmla="*/ 20 h 31"/>
                            <a:gd name="T2" fmla="*/ 4 w 19"/>
                            <a:gd name="T3" fmla="*/ 31 h 31"/>
                            <a:gd name="T4" fmla="*/ 19 w 19"/>
                            <a:gd name="T5" fmla="*/ 26 h 31"/>
                            <a:gd name="T6" fmla="*/ 16 w 19"/>
                            <a:gd name="T7" fmla="*/ 11 h 31"/>
                            <a:gd name="T8" fmla="*/ 8 w 19"/>
                            <a:gd name="T9" fmla="*/ 0 h 31"/>
                            <a:gd name="T10" fmla="*/ 0 w 19"/>
                            <a:gd name="T11" fmla="*/ 8 h 31"/>
                            <a:gd name="T12" fmla="*/ 0 w 19"/>
                            <a:gd name="T13" fmla="*/ 20 h 31"/>
                            <a:gd name="T14" fmla="*/ 0 w 19"/>
                            <a:gd name="T15" fmla="*/ 20 h 31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</a:cxnLst>
                          <a:rect l="0" t="0" r="r" b="b"/>
                          <a:pathLst>
                            <a:path w="19" h="31">
                              <a:moveTo>
                                <a:pt x="0" y="20"/>
                              </a:moveTo>
                              <a:lnTo>
                                <a:pt x="4" y="31"/>
                              </a:lnTo>
                              <a:lnTo>
                                <a:pt x="19" y="26"/>
                              </a:lnTo>
                              <a:lnTo>
                                <a:pt x="16" y="11"/>
                              </a:lnTo>
                              <a:lnTo>
                                <a:pt x="8" y="0"/>
                              </a:lnTo>
                              <a:lnTo>
                                <a:pt x="0" y="8"/>
                              </a:lnTo>
                              <a:lnTo>
                                <a:pt x="0" y="20"/>
                              </a:lnTo>
                              <a:lnTo>
                                <a:pt x="0" y="2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48" name="Freeform 158">
                          <a:extLst>
                            <a:ext uri="{FF2B5EF4-FFF2-40B4-BE49-F238E27FC236}">
                              <a16:creationId xmlns:a16="http://schemas.microsoft.com/office/drawing/2014/main" id="{F7363ECF-5314-4AD9-80F2-A1396D0303F9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747778" y="1124521"/>
                          <a:ext cx="50275" cy="86186"/>
                        </a:xfrm>
                        <a:custGeom>
                          <a:avLst/>
                          <a:gdLst>
                            <a:gd name="T0" fmla="*/ 11 w 49"/>
                            <a:gd name="T1" fmla="*/ 0 h 84"/>
                            <a:gd name="T2" fmla="*/ 0 w 49"/>
                            <a:gd name="T3" fmla="*/ 35 h 84"/>
                            <a:gd name="T4" fmla="*/ 43 w 49"/>
                            <a:gd name="T5" fmla="*/ 84 h 84"/>
                            <a:gd name="T6" fmla="*/ 49 w 49"/>
                            <a:gd name="T7" fmla="*/ 13 h 84"/>
                            <a:gd name="T8" fmla="*/ 25 w 49"/>
                            <a:gd name="T9" fmla="*/ 2 h 84"/>
                            <a:gd name="T10" fmla="*/ 11 w 49"/>
                            <a:gd name="T11" fmla="*/ 0 h 84"/>
                            <a:gd name="T12" fmla="*/ 11 w 49"/>
                            <a:gd name="T13" fmla="*/ 0 h 8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49" h="84">
                              <a:moveTo>
                                <a:pt x="11" y="0"/>
                              </a:moveTo>
                              <a:lnTo>
                                <a:pt x="0" y="35"/>
                              </a:lnTo>
                              <a:lnTo>
                                <a:pt x="43" y="84"/>
                              </a:lnTo>
                              <a:lnTo>
                                <a:pt x="49" y="13"/>
                              </a:lnTo>
                              <a:lnTo>
                                <a:pt x="25" y="2"/>
                              </a:lnTo>
                              <a:lnTo>
                                <a:pt x="11" y="0"/>
                              </a:lnTo>
                              <a:lnTo>
                                <a:pt x="11" y="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49" name="Freeform 159">
                          <a:extLst>
                            <a:ext uri="{FF2B5EF4-FFF2-40B4-BE49-F238E27FC236}">
                              <a16:creationId xmlns:a16="http://schemas.microsoft.com/office/drawing/2014/main" id="{F0A34140-2177-4248-A873-5341E2025AE6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055585" y="1249696"/>
                          <a:ext cx="74900" cy="32833"/>
                        </a:xfrm>
                        <a:custGeom>
                          <a:avLst/>
                          <a:gdLst>
                            <a:gd name="T0" fmla="*/ 0 w 73"/>
                            <a:gd name="T1" fmla="*/ 7 h 32"/>
                            <a:gd name="T2" fmla="*/ 11 w 73"/>
                            <a:gd name="T3" fmla="*/ 25 h 32"/>
                            <a:gd name="T4" fmla="*/ 55 w 73"/>
                            <a:gd name="T5" fmla="*/ 32 h 32"/>
                            <a:gd name="T6" fmla="*/ 73 w 73"/>
                            <a:gd name="T7" fmla="*/ 23 h 32"/>
                            <a:gd name="T8" fmla="*/ 62 w 73"/>
                            <a:gd name="T9" fmla="*/ 4 h 32"/>
                            <a:gd name="T10" fmla="*/ 30 w 73"/>
                            <a:gd name="T11" fmla="*/ 0 h 32"/>
                            <a:gd name="T12" fmla="*/ 0 w 73"/>
                            <a:gd name="T13" fmla="*/ 7 h 32"/>
                            <a:gd name="T14" fmla="*/ 0 w 73"/>
                            <a:gd name="T15" fmla="*/ 7 h 3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</a:cxnLst>
                          <a:rect l="0" t="0" r="r" b="b"/>
                          <a:pathLst>
                            <a:path w="73" h="32">
                              <a:moveTo>
                                <a:pt x="0" y="7"/>
                              </a:moveTo>
                              <a:lnTo>
                                <a:pt x="11" y="25"/>
                              </a:lnTo>
                              <a:lnTo>
                                <a:pt x="55" y="32"/>
                              </a:lnTo>
                              <a:lnTo>
                                <a:pt x="73" y="23"/>
                              </a:lnTo>
                              <a:lnTo>
                                <a:pt x="62" y="4"/>
                              </a:lnTo>
                              <a:lnTo>
                                <a:pt x="30" y="0"/>
                              </a:lnTo>
                              <a:lnTo>
                                <a:pt x="0" y="7"/>
                              </a:lnTo>
                              <a:lnTo>
                                <a:pt x="0" y="7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50" name="Freeform 160">
                          <a:extLst>
                            <a:ext uri="{FF2B5EF4-FFF2-40B4-BE49-F238E27FC236}">
                              <a16:creationId xmlns:a16="http://schemas.microsoft.com/office/drawing/2014/main" id="{1BD5E2D4-1E83-4968-BB16-B2D16D9C8DC0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974157" y="903926"/>
                          <a:ext cx="587911" cy="752075"/>
                        </a:xfrm>
                        <a:custGeom>
                          <a:avLst/>
                          <a:gdLst>
                            <a:gd name="T0" fmla="*/ 285 w 573"/>
                            <a:gd name="T1" fmla="*/ 716 h 733"/>
                            <a:gd name="T2" fmla="*/ 327 w 573"/>
                            <a:gd name="T3" fmla="*/ 695 h 733"/>
                            <a:gd name="T4" fmla="*/ 363 w 573"/>
                            <a:gd name="T5" fmla="*/ 631 h 733"/>
                            <a:gd name="T6" fmla="*/ 427 w 573"/>
                            <a:gd name="T7" fmla="*/ 600 h 733"/>
                            <a:gd name="T8" fmla="*/ 426 w 573"/>
                            <a:gd name="T9" fmla="*/ 651 h 733"/>
                            <a:gd name="T10" fmla="*/ 465 w 573"/>
                            <a:gd name="T11" fmla="*/ 560 h 733"/>
                            <a:gd name="T12" fmla="*/ 517 w 573"/>
                            <a:gd name="T13" fmla="*/ 519 h 733"/>
                            <a:gd name="T14" fmla="*/ 473 w 573"/>
                            <a:gd name="T15" fmla="*/ 527 h 733"/>
                            <a:gd name="T16" fmla="*/ 445 w 573"/>
                            <a:gd name="T17" fmla="*/ 405 h 733"/>
                            <a:gd name="T18" fmla="*/ 432 w 573"/>
                            <a:gd name="T19" fmla="*/ 300 h 733"/>
                            <a:gd name="T20" fmla="*/ 489 w 573"/>
                            <a:gd name="T21" fmla="*/ 247 h 733"/>
                            <a:gd name="T22" fmla="*/ 542 w 573"/>
                            <a:gd name="T23" fmla="*/ 276 h 733"/>
                            <a:gd name="T24" fmla="*/ 573 w 573"/>
                            <a:gd name="T25" fmla="*/ 249 h 733"/>
                            <a:gd name="T26" fmla="*/ 559 w 573"/>
                            <a:gd name="T27" fmla="*/ 173 h 733"/>
                            <a:gd name="T28" fmla="*/ 529 w 573"/>
                            <a:gd name="T29" fmla="*/ 157 h 733"/>
                            <a:gd name="T30" fmla="*/ 524 w 573"/>
                            <a:gd name="T31" fmla="*/ 127 h 733"/>
                            <a:gd name="T32" fmla="*/ 476 w 573"/>
                            <a:gd name="T33" fmla="*/ 113 h 733"/>
                            <a:gd name="T34" fmla="*/ 474 w 573"/>
                            <a:gd name="T35" fmla="*/ 112 h 733"/>
                            <a:gd name="T36" fmla="*/ 431 w 573"/>
                            <a:gd name="T37" fmla="*/ 60 h 733"/>
                            <a:gd name="T38" fmla="*/ 430 w 573"/>
                            <a:gd name="T39" fmla="*/ 59 h 733"/>
                            <a:gd name="T40" fmla="*/ 360 w 573"/>
                            <a:gd name="T41" fmla="*/ 30 h 733"/>
                            <a:gd name="T42" fmla="*/ 359 w 573"/>
                            <a:gd name="T43" fmla="*/ 31 h 733"/>
                            <a:gd name="T44" fmla="*/ 294 w 573"/>
                            <a:gd name="T45" fmla="*/ 56 h 733"/>
                            <a:gd name="T46" fmla="*/ 292 w 573"/>
                            <a:gd name="T47" fmla="*/ 57 h 733"/>
                            <a:gd name="T48" fmla="*/ 222 w 573"/>
                            <a:gd name="T49" fmla="*/ 64 h 733"/>
                            <a:gd name="T50" fmla="*/ 220 w 573"/>
                            <a:gd name="T51" fmla="*/ 63 h 733"/>
                            <a:gd name="T52" fmla="*/ 179 w 573"/>
                            <a:gd name="T53" fmla="*/ 29 h 733"/>
                            <a:gd name="T54" fmla="*/ 195 w 573"/>
                            <a:gd name="T55" fmla="*/ 61 h 733"/>
                            <a:gd name="T56" fmla="*/ 176 w 573"/>
                            <a:gd name="T57" fmla="*/ 88 h 733"/>
                            <a:gd name="T58" fmla="*/ 175 w 573"/>
                            <a:gd name="T59" fmla="*/ 89 h 733"/>
                            <a:gd name="T60" fmla="*/ 103 w 573"/>
                            <a:gd name="T61" fmla="*/ 143 h 733"/>
                            <a:gd name="T62" fmla="*/ 125 w 573"/>
                            <a:gd name="T63" fmla="*/ 169 h 733"/>
                            <a:gd name="T64" fmla="*/ 104 w 573"/>
                            <a:gd name="T65" fmla="*/ 189 h 733"/>
                            <a:gd name="T66" fmla="*/ 120 w 573"/>
                            <a:gd name="T67" fmla="*/ 213 h 733"/>
                            <a:gd name="T68" fmla="*/ 121 w 573"/>
                            <a:gd name="T69" fmla="*/ 242 h 733"/>
                            <a:gd name="T70" fmla="*/ 148 w 573"/>
                            <a:gd name="T71" fmla="*/ 265 h 733"/>
                            <a:gd name="T72" fmla="*/ 143 w 573"/>
                            <a:gd name="T73" fmla="*/ 311 h 733"/>
                            <a:gd name="T74" fmla="*/ 143 w 573"/>
                            <a:gd name="T75" fmla="*/ 312 h 733"/>
                            <a:gd name="T76" fmla="*/ 119 w 573"/>
                            <a:gd name="T77" fmla="*/ 339 h 733"/>
                            <a:gd name="T78" fmla="*/ 79 w 573"/>
                            <a:gd name="T79" fmla="*/ 343 h 733"/>
                            <a:gd name="T80" fmla="*/ 54 w 573"/>
                            <a:gd name="T81" fmla="*/ 416 h 733"/>
                            <a:gd name="T82" fmla="*/ 53 w 573"/>
                            <a:gd name="T83" fmla="*/ 419 h 733"/>
                            <a:gd name="T84" fmla="*/ 0 w 573"/>
                            <a:gd name="T85" fmla="*/ 484 h 733"/>
                            <a:gd name="T86" fmla="*/ 98 w 573"/>
                            <a:gd name="T87" fmla="*/ 602 h 733"/>
                            <a:gd name="T88" fmla="*/ 100 w 573"/>
                            <a:gd name="T89" fmla="*/ 602 h 733"/>
                            <a:gd name="T90" fmla="*/ 171 w 573"/>
                            <a:gd name="T91" fmla="*/ 626 h 733"/>
                            <a:gd name="T92" fmla="*/ 179 w 573"/>
                            <a:gd name="T93" fmla="*/ 666 h 733"/>
                            <a:gd name="T94" fmla="*/ 178 w 573"/>
                            <a:gd name="T95" fmla="*/ 667 h 733"/>
                            <a:gd name="T96" fmla="*/ 174 w 573"/>
                            <a:gd name="T97" fmla="*/ 722 h 733"/>
                            <a:gd name="T98" fmla="*/ 203 w 573"/>
                            <a:gd name="T99" fmla="*/ 701 h 733"/>
                            <a:gd name="T100" fmla="*/ 239 w 573"/>
                            <a:gd name="T101" fmla="*/ 701 h 733"/>
                            <a:gd name="T102" fmla="*/ 241 w 573"/>
                            <a:gd name="T103" fmla="*/ 702 h 733"/>
                            <a:gd name="T104" fmla="*/ 258 w 573"/>
                            <a:gd name="T105" fmla="*/ 733 h 73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</a:cxnLst>
                          <a:rect l="0" t="0" r="r" b="b"/>
                          <a:pathLst>
                            <a:path w="573" h="733">
                              <a:moveTo>
                                <a:pt x="258" y="733"/>
                              </a:moveTo>
                              <a:lnTo>
                                <a:pt x="285" y="716"/>
                              </a:lnTo>
                              <a:lnTo>
                                <a:pt x="302" y="701"/>
                              </a:lnTo>
                              <a:lnTo>
                                <a:pt x="327" y="695"/>
                              </a:lnTo>
                              <a:lnTo>
                                <a:pt x="319" y="645"/>
                              </a:lnTo>
                              <a:lnTo>
                                <a:pt x="363" y="631"/>
                              </a:lnTo>
                              <a:lnTo>
                                <a:pt x="396" y="601"/>
                              </a:lnTo>
                              <a:lnTo>
                                <a:pt x="427" y="600"/>
                              </a:lnTo>
                              <a:lnTo>
                                <a:pt x="404" y="633"/>
                              </a:lnTo>
                              <a:lnTo>
                                <a:pt x="426" y="651"/>
                              </a:lnTo>
                              <a:lnTo>
                                <a:pt x="458" y="616"/>
                              </a:lnTo>
                              <a:lnTo>
                                <a:pt x="465" y="560"/>
                              </a:lnTo>
                              <a:lnTo>
                                <a:pt x="494" y="549"/>
                              </a:lnTo>
                              <a:lnTo>
                                <a:pt x="517" y="519"/>
                              </a:lnTo>
                              <a:lnTo>
                                <a:pt x="493" y="502"/>
                              </a:lnTo>
                              <a:lnTo>
                                <a:pt x="473" y="527"/>
                              </a:lnTo>
                              <a:lnTo>
                                <a:pt x="451" y="507"/>
                              </a:lnTo>
                              <a:lnTo>
                                <a:pt x="445" y="405"/>
                              </a:lnTo>
                              <a:lnTo>
                                <a:pt x="426" y="345"/>
                              </a:lnTo>
                              <a:lnTo>
                                <a:pt x="432" y="300"/>
                              </a:lnTo>
                              <a:lnTo>
                                <a:pt x="468" y="248"/>
                              </a:lnTo>
                              <a:lnTo>
                                <a:pt x="489" y="247"/>
                              </a:lnTo>
                              <a:lnTo>
                                <a:pt x="499" y="217"/>
                              </a:lnTo>
                              <a:lnTo>
                                <a:pt x="542" y="276"/>
                              </a:lnTo>
                              <a:lnTo>
                                <a:pt x="571" y="271"/>
                              </a:lnTo>
                              <a:lnTo>
                                <a:pt x="573" y="249"/>
                              </a:lnTo>
                              <a:lnTo>
                                <a:pt x="566" y="204"/>
                              </a:lnTo>
                              <a:lnTo>
                                <a:pt x="559" y="173"/>
                              </a:lnTo>
                              <a:lnTo>
                                <a:pt x="530" y="157"/>
                              </a:lnTo>
                              <a:lnTo>
                                <a:pt x="529" y="157"/>
                              </a:lnTo>
                              <a:lnTo>
                                <a:pt x="529" y="156"/>
                              </a:lnTo>
                              <a:lnTo>
                                <a:pt x="524" y="127"/>
                              </a:lnTo>
                              <a:lnTo>
                                <a:pt x="505" y="110"/>
                              </a:lnTo>
                              <a:lnTo>
                                <a:pt x="476" y="113"/>
                              </a:lnTo>
                              <a:lnTo>
                                <a:pt x="474" y="113"/>
                              </a:lnTo>
                              <a:lnTo>
                                <a:pt x="474" y="112"/>
                              </a:lnTo>
                              <a:lnTo>
                                <a:pt x="456" y="65"/>
                              </a:lnTo>
                              <a:lnTo>
                                <a:pt x="431" y="60"/>
                              </a:lnTo>
                              <a:lnTo>
                                <a:pt x="430" y="60"/>
                              </a:lnTo>
                              <a:lnTo>
                                <a:pt x="430" y="59"/>
                              </a:lnTo>
                              <a:lnTo>
                                <a:pt x="389" y="0"/>
                              </a:lnTo>
                              <a:lnTo>
                                <a:pt x="360" y="30"/>
                              </a:lnTo>
                              <a:lnTo>
                                <a:pt x="360" y="31"/>
                              </a:lnTo>
                              <a:lnTo>
                                <a:pt x="359" y="31"/>
                              </a:lnTo>
                              <a:lnTo>
                                <a:pt x="320" y="34"/>
                              </a:lnTo>
                              <a:lnTo>
                                <a:pt x="294" y="56"/>
                              </a:lnTo>
                              <a:lnTo>
                                <a:pt x="293" y="57"/>
                              </a:lnTo>
                              <a:lnTo>
                                <a:pt x="292" y="57"/>
                              </a:lnTo>
                              <a:lnTo>
                                <a:pt x="259" y="46"/>
                              </a:lnTo>
                              <a:lnTo>
                                <a:pt x="222" y="64"/>
                              </a:lnTo>
                              <a:lnTo>
                                <a:pt x="221" y="64"/>
                              </a:lnTo>
                              <a:lnTo>
                                <a:pt x="220" y="63"/>
                              </a:lnTo>
                              <a:lnTo>
                                <a:pt x="202" y="32"/>
                              </a:lnTo>
                              <a:lnTo>
                                <a:pt x="179" y="29"/>
                              </a:lnTo>
                              <a:lnTo>
                                <a:pt x="194" y="60"/>
                              </a:lnTo>
                              <a:lnTo>
                                <a:pt x="195" y="61"/>
                              </a:lnTo>
                              <a:lnTo>
                                <a:pt x="194" y="62"/>
                              </a:lnTo>
                              <a:lnTo>
                                <a:pt x="176" y="88"/>
                              </a:lnTo>
                              <a:lnTo>
                                <a:pt x="176" y="88"/>
                              </a:lnTo>
                              <a:lnTo>
                                <a:pt x="175" y="89"/>
                              </a:lnTo>
                              <a:lnTo>
                                <a:pt x="152" y="98"/>
                              </a:lnTo>
                              <a:lnTo>
                                <a:pt x="103" y="143"/>
                              </a:lnTo>
                              <a:lnTo>
                                <a:pt x="124" y="168"/>
                              </a:lnTo>
                              <a:lnTo>
                                <a:pt x="125" y="169"/>
                              </a:lnTo>
                              <a:lnTo>
                                <a:pt x="123" y="171"/>
                              </a:lnTo>
                              <a:lnTo>
                                <a:pt x="104" y="189"/>
                              </a:lnTo>
                              <a:lnTo>
                                <a:pt x="120" y="212"/>
                              </a:lnTo>
                              <a:lnTo>
                                <a:pt x="120" y="213"/>
                              </a:lnTo>
                              <a:lnTo>
                                <a:pt x="120" y="213"/>
                              </a:lnTo>
                              <a:lnTo>
                                <a:pt x="121" y="242"/>
                              </a:lnTo>
                              <a:lnTo>
                                <a:pt x="147" y="264"/>
                              </a:lnTo>
                              <a:lnTo>
                                <a:pt x="148" y="265"/>
                              </a:lnTo>
                              <a:lnTo>
                                <a:pt x="148" y="266"/>
                              </a:lnTo>
                              <a:lnTo>
                                <a:pt x="143" y="311"/>
                              </a:lnTo>
                              <a:lnTo>
                                <a:pt x="143" y="312"/>
                              </a:lnTo>
                              <a:lnTo>
                                <a:pt x="143" y="312"/>
                              </a:lnTo>
                              <a:lnTo>
                                <a:pt x="119" y="338"/>
                              </a:lnTo>
                              <a:lnTo>
                                <a:pt x="119" y="339"/>
                              </a:lnTo>
                              <a:lnTo>
                                <a:pt x="118" y="339"/>
                              </a:lnTo>
                              <a:lnTo>
                                <a:pt x="79" y="343"/>
                              </a:lnTo>
                              <a:lnTo>
                                <a:pt x="37" y="383"/>
                              </a:lnTo>
                              <a:lnTo>
                                <a:pt x="54" y="416"/>
                              </a:lnTo>
                              <a:lnTo>
                                <a:pt x="54" y="418"/>
                              </a:lnTo>
                              <a:lnTo>
                                <a:pt x="53" y="419"/>
                              </a:lnTo>
                              <a:lnTo>
                                <a:pt x="7" y="451"/>
                              </a:lnTo>
                              <a:lnTo>
                                <a:pt x="0" y="484"/>
                              </a:lnTo>
                              <a:lnTo>
                                <a:pt x="67" y="623"/>
                              </a:lnTo>
                              <a:lnTo>
                                <a:pt x="98" y="602"/>
                              </a:lnTo>
                              <a:lnTo>
                                <a:pt x="99" y="602"/>
                              </a:lnTo>
                              <a:lnTo>
                                <a:pt x="100" y="602"/>
                              </a:lnTo>
                              <a:lnTo>
                                <a:pt x="170" y="625"/>
                              </a:lnTo>
                              <a:lnTo>
                                <a:pt x="171" y="626"/>
                              </a:lnTo>
                              <a:lnTo>
                                <a:pt x="171" y="627"/>
                              </a:lnTo>
                              <a:lnTo>
                                <a:pt x="179" y="666"/>
                              </a:lnTo>
                              <a:lnTo>
                                <a:pt x="179" y="666"/>
                              </a:lnTo>
                              <a:lnTo>
                                <a:pt x="178" y="667"/>
                              </a:lnTo>
                              <a:lnTo>
                                <a:pt x="162" y="697"/>
                              </a:lnTo>
                              <a:lnTo>
                                <a:pt x="174" y="722"/>
                              </a:lnTo>
                              <a:lnTo>
                                <a:pt x="202" y="702"/>
                              </a:lnTo>
                              <a:lnTo>
                                <a:pt x="203" y="701"/>
                              </a:lnTo>
                              <a:lnTo>
                                <a:pt x="203" y="701"/>
                              </a:lnTo>
                              <a:lnTo>
                                <a:pt x="239" y="701"/>
                              </a:lnTo>
                              <a:lnTo>
                                <a:pt x="240" y="701"/>
                              </a:lnTo>
                              <a:lnTo>
                                <a:pt x="241" y="702"/>
                              </a:lnTo>
                              <a:lnTo>
                                <a:pt x="258" y="733"/>
                              </a:lnTo>
                              <a:lnTo>
                                <a:pt x="258" y="733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2F2F2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51" name="Freeform 161">
                          <a:extLst>
                            <a:ext uri="{FF2B5EF4-FFF2-40B4-BE49-F238E27FC236}">
                              <a16:creationId xmlns:a16="http://schemas.microsoft.com/office/drawing/2014/main" id="{CE20D44E-1204-4194-AA2B-C24233DAEA2D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201934" y="2645087"/>
                          <a:ext cx="314989" cy="569443"/>
                        </a:xfrm>
                        <a:custGeom>
                          <a:avLst/>
                          <a:gdLst>
                            <a:gd name="T0" fmla="*/ 90 w 307"/>
                            <a:gd name="T1" fmla="*/ 233 h 555"/>
                            <a:gd name="T2" fmla="*/ 86 w 307"/>
                            <a:gd name="T3" fmla="*/ 349 h 555"/>
                            <a:gd name="T4" fmla="*/ 107 w 307"/>
                            <a:gd name="T5" fmla="*/ 385 h 555"/>
                            <a:gd name="T6" fmla="*/ 26 w 307"/>
                            <a:gd name="T7" fmla="*/ 391 h 555"/>
                            <a:gd name="T8" fmla="*/ 0 w 307"/>
                            <a:gd name="T9" fmla="*/ 449 h 555"/>
                            <a:gd name="T10" fmla="*/ 74 w 307"/>
                            <a:gd name="T11" fmla="*/ 527 h 555"/>
                            <a:gd name="T12" fmla="*/ 77 w 307"/>
                            <a:gd name="T13" fmla="*/ 555 h 555"/>
                            <a:gd name="T14" fmla="*/ 118 w 307"/>
                            <a:gd name="T15" fmla="*/ 516 h 555"/>
                            <a:gd name="T16" fmla="*/ 189 w 307"/>
                            <a:gd name="T17" fmla="*/ 517 h 555"/>
                            <a:gd name="T18" fmla="*/ 241 w 307"/>
                            <a:gd name="T19" fmla="*/ 475 h 555"/>
                            <a:gd name="T20" fmla="*/ 271 w 307"/>
                            <a:gd name="T21" fmla="*/ 414 h 555"/>
                            <a:gd name="T22" fmla="*/ 286 w 307"/>
                            <a:gd name="T23" fmla="*/ 246 h 555"/>
                            <a:gd name="T24" fmla="*/ 307 w 307"/>
                            <a:gd name="T25" fmla="*/ 158 h 555"/>
                            <a:gd name="T26" fmla="*/ 293 w 307"/>
                            <a:gd name="T27" fmla="*/ 56 h 555"/>
                            <a:gd name="T28" fmla="*/ 272 w 307"/>
                            <a:gd name="T29" fmla="*/ 50 h 555"/>
                            <a:gd name="T30" fmla="*/ 271 w 307"/>
                            <a:gd name="T31" fmla="*/ 50 h 555"/>
                            <a:gd name="T32" fmla="*/ 271 w 307"/>
                            <a:gd name="T33" fmla="*/ 48 h 555"/>
                            <a:gd name="T34" fmla="*/ 266 w 307"/>
                            <a:gd name="T35" fmla="*/ 24 h 555"/>
                            <a:gd name="T36" fmla="*/ 232 w 307"/>
                            <a:gd name="T37" fmla="*/ 0 h 555"/>
                            <a:gd name="T38" fmla="*/ 195 w 307"/>
                            <a:gd name="T39" fmla="*/ 28 h 555"/>
                            <a:gd name="T40" fmla="*/ 217 w 307"/>
                            <a:gd name="T41" fmla="*/ 52 h 555"/>
                            <a:gd name="T42" fmla="*/ 253 w 307"/>
                            <a:gd name="T43" fmla="*/ 55 h 555"/>
                            <a:gd name="T44" fmla="*/ 255 w 307"/>
                            <a:gd name="T45" fmla="*/ 56 h 555"/>
                            <a:gd name="T46" fmla="*/ 255 w 307"/>
                            <a:gd name="T47" fmla="*/ 57 h 555"/>
                            <a:gd name="T48" fmla="*/ 246 w 307"/>
                            <a:gd name="T49" fmla="*/ 113 h 555"/>
                            <a:gd name="T50" fmla="*/ 246 w 307"/>
                            <a:gd name="T51" fmla="*/ 115 h 555"/>
                            <a:gd name="T52" fmla="*/ 245 w 307"/>
                            <a:gd name="T53" fmla="*/ 115 h 555"/>
                            <a:gd name="T54" fmla="*/ 219 w 307"/>
                            <a:gd name="T55" fmla="*/ 115 h 555"/>
                            <a:gd name="T56" fmla="*/ 223 w 307"/>
                            <a:gd name="T57" fmla="*/ 151 h 555"/>
                            <a:gd name="T58" fmla="*/ 223 w 307"/>
                            <a:gd name="T59" fmla="*/ 152 h 555"/>
                            <a:gd name="T60" fmla="*/ 222 w 307"/>
                            <a:gd name="T61" fmla="*/ 153 h 555"/>
                            <a:gd name="T62" fmla="*/ 186 w 307"/>
                            <a:gd name="T63" fmla="*/ 177 h 555"/>
                            <a:gd name="T64" fmla="*/ 186 w 307"/>
                            <a:gd name="T65" fmla="*/ 177 h 555"/>
                            <a:gd name="T66" fmla="*/ 185 w 307"/>
                            <a:gd name="T67" fmla="*/ 177 h 555"/>
                            <a:gd name="T68" fmla="*/ 125 w 307"/>
                            <a:gd name="T69" fmla="*/ 181 h 555"/>
                            <a:gd name="T70" fmla="*/ 110 w 307"/>
                            <a:gd name="T71" fmla="*/ 201 h 555"/>
                            <a:gd name="T72" fmla="*/ 122 w 307"/>
                            <a:gd name="T73" fmla="*/ 224 h 555"/>
                            <a:gd name="T74" fmla="*/ 123 w 307"/>
                            <a:gd name="T75" fmla="*/ 226 h 555"/>
                            <a:gd name="T76" fmla="*/ 121 w 307"/>
                            <a:gd name="T77" fmla="*/ 227 h 555"/>
                            <a:gd name="T78" fmla="*/ 90 w 307"/>
                            <a:gd name="T79" fmla="*/ 233 h 555"/>
                            <a:gd name="T80" fmla="*/ 90 w 307"/>
                            <a:gd name="T81" fmla="*/ 233 h 55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</a:cxnLst>
                          <a:rect l="0" t="0" r="r" b="b"/>
                          <a:pathLst>
                            <a:path w="307" h="555">
                              <a:moveTo>
                                <a:pt x="90" y="233"/>
                              </a:moveTo>
                              <a:lnTo>
                                <a:pt x="86" y="349"/>
                              </a:lnTo>
                              <a:lnTo>
                                <a:pt x="107" y="385"/>
                              </a:lnTo>
                              <a:lnTo>
                                <a:pt x="26" y="391"/>
                              </a:lnTo>
                              <a:lnTo>
                                <a:pt x="0" y="449"/>
                              </a:lnTo>
                              <a:lnTo>
                                <a:pt x="74" y="527"/>
                              </a:lnTo>
                              <a:lnTo>
                                <a:pt x="77" y="555"/>
                              </a:lnTo>
                              <a:lnTo>
                                <a:pt x="118" y="516"/>
                              </a:lnTo>
                              <a:lnTo>
                                <a:pt x="189" y="517"/>
                              </a:lnTo>
                              <a:lnTo>
                                <a:pt x="241" y="475"/>
                              </a:lnTo>
                              <a:lnTo>
                                <a:pt x="271" y="414"/>
                              </a:lnTo>
                              <a:lnTo>
                                <a:pt x="286" y="246"/>
                              </a:lnTo>
                              <a:lnTo>
                                <a:pt x="307" y="158"/>
                              </a:lnTo>
                              <a:lnTo>
                                <a:pt x="293" y="56"/>
                              </a:lnTo>
                              <a:lnTo>
                                <a:pt x="272" y="50"/>
                              </a:lnTo>
                              <a:lnTo>
                                <a:pt x="271" y="50"/>
                              </a:lnTo>
                              <a:lnTo>
                                <a:pt x="271" y="48"/>
                              </a:lnTo>
                              <a:lnTo>
                                <a:pt x="266" y="24"/>
                              </a:lnTo>
                              <a:lnTo>
                                <a:pt x="232" y="0"/>
                              </a:lnTo>
                              <a:lnTo>
                                <a:pt x="195" y="28"/>
                              </a:lnTo>
                              <a:lnTo>
                                <a:pt x="217" y="52"/>
                              </a:lnTo>
                              <a:lnTo>
                                <a:pt x="253" y="55"/>
                              </a:lnTo>
                              <a:lnTo>
                                <a:pt x="255" y="56"/>
                              </a:lnTo>
                              <a:lnTo>
                                <a:pt x="255" y="57"/>
                              </a:lnTo>
                              <a:lnTo>
                                <a:pt x="246" y="113"/>
                              </a:lnTo>
                              <a:lnTo>
                                <a:pt x="246" y="115"/>
                              </a:lnTo>
                              <a:lnTo>
                                <a:pt x="245" y="115"/>
                              </a:lnTo>
                              <a:lnTo>
                                <a:pt x="219" y="115"/>
                              </a:lnTo>
                              <a:lnTo>
                                <a:pt x="223" y="151"/>
                              </a:lnTo>
                              <a:lnTo>
                                <a:pt x="223" y="152"/>
                              </a:lnTo>
                              <a:lnTo>
                                <a:pt x="222" y="153"/>
                              </a:lnTo>
                              <a:lnTo>
                                <a:pt x="186" y="177"/>
                              </a:lnTo>
                              <a:lnTo>
                                <a:pt x="186" y="177"/>
                              </a:lnTo>
                              <a:lnTo>
                                <a:pt x="185" y="177"/>
                              </a:lnTo>
                              <a:lnTo>
                                <a:pt x="125" y="181"/>
                              </a:lnTo>
                              <a:lnTo>
                                <a:pt x="110" y="201"/>
                              </a:lnTo>
                              <a:lnTo>
                                <a:pt x="122" y="224"/>
                              </a:lnTo>
                              <a:lnTo>
                                <a:pt x="123" y="226"/>
                              </a:lnTo>
                              <a:lnTo>
                                <a:pt x="121" y="227"/>
                              </a:lnTo>
                              <a:lnTo>
                                <a:pt x="90" y="233"/>
                              </a:lnTo>
                              <a:lnTo>
                                <a:pt x="90" y="233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bg1">
                            <a:lumMod val="95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52" name="Freeform 162">
                          <a:extLst>
                            <a:ext uri="{FF2B5EF4-FFF2-40B4-BE49-F238E27FC236}">
                              <a16:creationId xmlns:a16="http://schemas.microsoft.com/office/drawing/2014/main" id="{BC205587-1CD9-47A6-8C8B-061E1FA1393C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747406" y="1525696"/>
                          <a:ext cx="764387" cy="1355376"/>
                        </a:xfrm>
                        <a:custGeom>
                          <a:avLst/>
                          <a:gdLst>
                            <a:gd name="T0" fmla="*/ 516 w 745"/>
                            <a:gd name="T1" fmla="*/ 1275 h 1321"/>
                            <a:gd name="T2" fmla="*/ 549 w 745"/>
                            <a:gd name="T3" fmla="*/ 1293 h 1321"/>
                            <a:gd name="T4" fmla="*/ 566 w 745"/>
                            <a:gd name="T5" fmla="*/ 1270 h 1321"/>
                            <a:gd name="T6" fmla="*/ 627 w 745"/>
                            <a:gd name="T7" fmla="*/ 1265 h 1321"/>
                            <a:gd name="T8" fmla="*/ 658 w 745"/>
                            <a:gd name="T9" fmla="*/ 1203 h 1321"/>
                            <a:gd name="T10" fmla="*/ 694 w 745"/>
                            <a:gd name="T11" fmla="*/ 1150 h 1321"/>
                            <a:gd name="T12" fmla="*/ 658 w 745"/>
                            <a:gd name="T13" fmla="*/ 1146 h 1321"/>
                            <a:gd name="T14" fmla="*/ 634 w 745"/>
                            <a:gd name="T15" fmla="*/ 1117 h 1321"/>
                            <a:gd name="T16" fmla="*/ 677 w 745"/>
                            <a:gd name="T17" fmla="*/ 1087 h 1321"/>
                            <a:gd name="T18" fmla="*/ 713 w 745"/>
                            <a:gd name="T19" fmla="*/ 1113 h 1321"/>
                            <a:gd name="T20" fmla="*/ 745 w 745"/>
                            <a:gd name="T21" fmla="*/ 1026 h 1321"/>
                            <a:gd name="T22" fmla="*/ 656 w 745"/>
                            <a:gd name="T23" fmla="*/ 851 h 1321"/>
                            <a:gd name="T24" fmla="*/ 624 w 745"/>
                            <a:gd name="T25" fmla="*/ 737 h 1321"/>
                            <a:gd name="T26" fmla="*/ 579 w 745"/>
                            <a:gd name="T27" fmla="*/ 675 h 1321"/>
                            <a:gd name="T28" fmla="*/ 430 w 745"/>
                            <a:gd name="T29" fmla="*/ 678 h 1321"/>
                            <a:gd name="T30" fmla="*/ 365 w 745"/>
                            <a:gd name="T31" fmla="*/ 759 h 1321"/>
                            <a:gd name="T32" fmla="*/ 265 w 745"/>
                            <a:gd name="T33" fmla="*/ 720 h 1321"/>
                            <a:gd name="T34" fmla="*/ 326 w 745"/>
                            <a:gd name="T35" fmla="*/ 448 h 1321"/>
                            <a:gd name="T36" fmla="*/ 344 w 745"/>
                            <a:gd name="T37" fmla="*/ 301 h 1321"/>
                            <a:gd name="T38" fmla="*/ 468 w 745"/>
                            <a:gd name="T39" fmla="*/ 164 h 1321"/>
                            <a:gd name="T40" fmla="*/ 476 w 745"/>
                            <a:gd name="T41" fmla="*/ 129 h 1321"/>
                            <a:gd name="T42" fmla="*/ 396 w 745"/>
                            <a:gd name="T43" fmla="*/ 121 h 1321"/>
                            <a:gd name="T44" fmla="*/ 379 w 745"/>
                            <a:gd name="T45" fmla="*/ 92 h 1321"/>
                            <a:gd name="T46" fmla="*/ 396 w 745"/>
                            <a:gd name="T47" fmla="*/ 60 h 1321"/>
                            <a:gd name="T48" fmla="*/ 289 w 745"/>
                            <a:gd name="T49" fmla="*/ 21 h 1321"/>
                            <a:gd name="T50" fmla="*/ 280 w 745"/>
                            <a:gd name="T51" fmla="*/ 49 h 1321"/>
                            <a:gd name="T52" fmla="*/ 227 w 745"/>
                            <a:gd name="T53" fmla="*/ 77 h 1321"/>
                            <a:gd name="T54" fmla="*/ 190 w 745"/>
                            <a:gd name="T55" fmla="*/ 85 h 1321"/>
                            <a:gd name="T56" fmla="*/ 122 w 745"/>
                            <a:gd name="T57" fmla="*/ 85 h 1321"/>
                            <a:gd name="T58" fmla="*/ 150 w 745"/>
                            <a:gd name="T59" fmla="*/ 160 h 1321"/>
                            <a:gd name="T60" fmla="*/ 160 w 745"/>
                            <a:gd name="T61" fmla="*/ 251 h 1321"/>
                            <a:gd name="T62" fmla="*/ 178 w 745"/>
                            <a:gd name="T63" fmla="*/ 314 h 1321"/>
                            <a:gd name="T64" fmla="*/ 156 w 745"/>
                            <a:gd name="T65" fmla="*/ 354 h 1321"/>
                            <a:gd name="T66" fmla="*/ 145 w 745"/>
                            <a:gd name="T67" fmla="*/ 384 h 1321"/>
                            <a:gd name="T68" fmla="*/ 98 w 745"/>
                            <a:gd name="T69" fmla="*/ 388 h 1321"/>
                            <a:gd name="T70" fmla="*/ 94 w 745"/>
                            <a:gd name="T71" fmla="*/ 423 h 1321"/>
                            <a:gd name="T72" fmla="*/ 18 w 745"/>
                            <a:gd name="T73" fmla="*/ 542 h 1321"/>
                            <a:gd name="T74" fmla="*/ 38 w 745"/>
                            <a:gd name="T75" fmla="*/ 590 h 1321"/>
                            <a:gd name="T76" fmla="*/ 18 w 745"/>
                            <a:gd name="T77" fmla="*/ 633 h 1321"/>
                            <a:gd name="T78" fmla="*/ 58 w 745"/>
                            <a:gd name="T79" fmla="*/ 659 h 1321"/>
                            <a:gd name="T80" fmla="*/ 67 w 745"/>
                            <a:gd name="T81" fmla="*/ 684 h 1321"/>
                            <a:gd name="T82" fmla="*/ 123 w 745"/>
                            <a:gd name="T83" fmla="*/ 717 h 1321"/>
                            <a:gd name="T84" fmla="*/ 146 w 745"/>
                            <a:gd name="T85" fmla="*/ 739 h 1321"/>
                            <a:gd name="T86" fmla="*/ 115 w 745"/>
                            <a:gd name="T87" fmla="*/ 807 h 1321"/>
                            <a:gd name="T88" fmla="*/ 118 w 745"/>
                            <a:gd name="T89" fmla="*/ 841 h 1321"/>
                            <a:gd name="T90" fmla="*/ 147 w 745"/>
                            <a:gd name="T91" fmla="*/ 880 h 1321"/>
                            <a:gd name="T92" fmla="*/ 172 w 745"/>
                            <a:gd name="T93" fmla="*/ 915 h 1321"/>
                            <a:gd name="T94" fmla="*/ 246 w 745"/>
                            <a:gd name="T95" fmla="*/ 847 h 1321"/>
                            <a:gd name="T96" fmla="*/ 279 w 745"/>
                            <a:gd name="T97" fmla="*/ 846 h 1321"/>
                            <a:gd name="T98" fmla="*/ 291 w 745"/>
                            <a:gd name="T99" fmla="*/ 826 h 1321"/>
                            <a:gd name="T100" fmla="*/ 314 w 745"/>
                            <a:gd name="T101" fmla="*/ 830 h 1321"/>
                            <a:gd name="T102" fmla="*/ 334 w 745"/>
                            <a:gd name="T103" fmla="*/ 895 h 1321"/>
                            <a:gd name="T104" fmla="*/ 319 w 745"/>
                            <a:gd name="T105" fmla="*/ 909 h 1321"/>
                            <a:gd name="T106" fmla="*/ 282 w 745"/>
                            <a:gd name="T107" fmla="*/ 945 h 1321"/>
                            <a:gd name="T108" fmla="*/ 256 w 745"/>
                            <a:gd name="T109" fmla="*/ 996 h 1321"/>
                            <a:gd name="T110" fmla="*/ 226 w 745"/>
                            <a:gd name="T111" fmla="*/ 1032 h 1321"/>
                            <a:gd name="T112" fmla="*/ 239 w 745"/>
                            <a:gd name="T113" fmla="*/ 1050 h 1321"/>
                            <a:gd name="T114" fmla="*/ 273 w 745"/>
                            <a:gd name="T115" fmla="*/ 1136 h 1321"/>
                            <a:gd name="T116" fmla="*/ 316 w 745"/>
                            <a:gd name="T117" fmla="*/ 1196 h 1321"/>
                            <a:gd name="T118" fmla="*/ 344 w 745"/>
                            <a:gd name="T119" fmla="*/ 1170 h 1321"/>
                            <a:gd name="T120" fmla="*/ 403 w 745"/>
                            <a:gd name="T121" fmla="*/ 1171 h 1321"/>
                            <a:gd name="T122" fmla="*/ 509 w 745"/>
                            <a:gd name="T123" fmla="*/ 1165 h 1321"/>
                            <a:gd name="T124" fmla="*/ 500 w 745"/>
                            <a:gd name="T125" fmla="*/ 1201 h 1321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  <a:cxn ang="0">
                              <a:pos x="T116" y="T117"/>
                            </a:cxn>
                            <a:cxn ang="0">
                              <a:pos x="T118" y="T119"/>
                            </a:cxn>
                            <a:cxn ang="0">
                              <a:pos x="T120" y="T121"/>
                            </a:cxn>
                            <a:cxn ang="0">
                              <a:pos x="T122" y="T123"/>
                            </a:cxn>
                            <a:cxn ang="0">
                              <a:pos x="T124" y="T125"/>
                            </a:cxn>
                          </a:cxnLst>
                          <a:rect l="0" t="0" r="r" b="b"/>
                          <a:pathLst>
                            <a:path w="745" h="1321">
                              <a:moveTo>
                                <a:pt x="500" y="1201"/>
                              </a:moveTo>
                              <a:lnTo>
                                <a:pt x="526" y="1243"/>
                              </a:lnTo>
                              <a:lnTo>
                                <a:pt x="516" y="1275"/>
                              </a:lnTo>
                              <a:lnTo>
                                <a:pt x="533" y="1321"/>
                              </a:lnTo>
                              <a:lnTo>
                                <a:pt x="561" y="1315"/>
                              </a:lnTo>
                              <a:lnTo>
                                <a:pt x="549" y="1293"/>
                              </a:lnTo>
                              <a:lnTo>
                                <a:pt x="549" y="1292"/>
                              </a:lnTo>
                              <a:lnTo>
                                <a:pt x="550" y="1291"/>
                              </a:lnTo>
                              <a:lnTo>
                                <a:pt x="566" y="1270"/>
                              </a:lnTo>
                              <a:lnTo>
                                <a:pt x="566" y="1269"/>
                              </a:lnTo>
                              <a:lnTo>
                                <a:pt x="567" y="1269"/>
                              </a:lnTo>
                              <a:lnTo>
                                <a:pt x="627" y="1265"/>
                              </a:lnTo>
                              <a:lnTo>
                                <a:pt x="662" y="1241"/>
                              </a:lnTo>
                              <a:lnTo>
                                <a:pt x="659" y="1205"/>
                              </a:lnTo>
                              <a:lnTo>
                                <a:pt x="658" y="1203"/>
                              </a:lnTo>
                              <a:lnTo>
                                <a:pt x="660" y="1203"/>
                              </a:lnTo>
                              <a:lnTo>
                                <a:pt x="686" y="1202"/>
                              </a:lnTo>
                              <a:lnTo>
                                <a:pt x="694" y="1150"/>
                              </a:lnTo>
                              <a:lnTo>
                                <a:pt x="659" y="1147"/>
                              </a:lnTo>
                              <a:lnTo>
                                <a:pt x="659" y="1147"/>
                              </a:lnTo>
                              <a:lnTo>
                                <a:pt x="658" y="1146"/>
                              </a:lnTo>
                              <a:lnTo>
                                <a:pt x="634" y="1120"/>
                              </a:lnTo>
                              <a:lnTo>
                                <a:pt x="632" y="1118"/>
                              </a:lnTo>
                              <a:lnTo>
                                <a:pt x="634" y="1117"/>
                              </a:lnTo>
                              <a:lnTo>
                                <a:pt x="674" y="1087"/>
                              </a:lnTo>
                              <a:lnTo>
                                <a:pt x="675" y="1086"/>
                              </a:lnTo>
                              <a:lnTo>
                                <a:pt x="677" y="1087"/>
                              </a:lnTo>
                              <a:lnTo>
                                <a:pt x="712" y="1112"/>
                              </a:lnTo>
                              <a:lnTo>
                                <a:pt x="713" y="1112"/>
                              </a:lnTo>
                              <a:lnTo>
                                <a:pt x="713" y="1113"/>
                              </a:lnTo>
                              <a:lnTo>
                                <a:pt x="718" y="1137"/>
                              </a:lnTo>
                              <a:lnTo>
                                <a:pt x="736" y="1142"/>
                              </a:lnTo>
                              <a:lnTo>
                                <a:pt x="745" y="1026"/>
                              </a:lnTo>
                              <a:lnTo>
                                <a:pt x="732" y="989"/>
                              </a:lnTo>
                              <a:lnTo>
                                <a:pt x="674" y="873"/>
                              </a:lnTo>
                              <a:lnTo>
                                <a:pt x="656" y="851"/>
                              </a:lnTo>
                              <a:lnTo>
                                <a:pt x="639" y="768"/>
                              </a:lnTo>
                              <a:lnTo>
                                <a:pt x="628" y="741"/>
                              </a:lnTo>
                              <a:lnTo>
                                <a:pt x="624" y="737"/>
                              </a:lnTo>
                              <a:lnTo>
                                <a:pt x="581" y="719"/>
                              </a:lnTo>
                              <a:lnTo>
                                <a:pt x="566" y="701"/>
                              </a:lnTo>
                              <a:lnTo>
                                <a:pt x="579" y="675"/>
                              </a:lnTo>
                              <a:lnTo>
                                <a:pt x="547" y="663"/>
                              </a:lnTo>
                              <a:lnTo>
                                <a:pt x="481" y="651"/>
                              </a:lnTo>
                              <a:lnTo>
                                <a:pt x="430" y="678"/>
                              </a:lnTo>
                              <a:lnTo>
                                <a:pt x="412" y="756"/>
                              </a:lnTo>
                              <a:lnTo>
                                <a:pt x="390" y="728"/>
                              </a:lnTo>
                              <a:lnTo>
                                <a:pt x="365" y="759"/>
                              </a:lnTo>
                              <a:lnTo>
                                <a:pt x="345" y="699"/>
                              </a:lnTo>
                              <a:lnTo>
                                <a:pt x="301" y="726"/>
                              </a:lnTo>
                              <a:lnTo>
                                <a:pt x="265" y="720"/>
                              </a:lnTo>
                              <a:lnTo>
                                <a:pt x="267" y="685"/>
                              </a:lnTo>
                              <a:lnTo>
                                <a:pt x="314" y="567"/>
                              </a:lnTo>
                              <a:lnTo>
                                <a:pt x="326" y="448"/>
                              </a:lnTo>
                              <a:lnTo>
                                <a:pt x="340" y="391"/>
                              </a:lnTo>
                              <a:lnTo>
                                <a:pt x="328" y="344"/>
                              </a:lnTo>
                              <a:lnTo>
                                <a:pt x="344" y="301"/>
                              </a:lnTo>
                              <a:lnTo>
                                <a:pt x="337" y="256"/>
                              </a:lnTo>
                              <a:lnTo>
                                <a:pt x="437" y="158"/>
                              </a:lnTo>
                              <a:lnTo>
                                <a:pt x="468" y="164"/>
                              </a:lnTo>
                              <a:lnTo>
                                <a:pt x="471" y="152"/>
                              </a:lnTo>
                              <a:lnTo>
                                <a:pt x="462" y="138"/>
                              </a:lnTo>
                              <a:lnTo>
                                <a:pt x="476" y="129"/>
                              </a:lnTo>
                              <a:lnTo>
                                <a:pt x="459" y="99"/>
                              </a:lnTo>
                              <a:lnTo>
                                <a:pt x="425" y="99"/>
                              </a:lnTo>
                              <a:lnTo>
                                <a:pt x="396" y="121"/>
                              </a:lnTo>
                              <a:lnTo>
                                <a:pt x="394" y="122"/>
                              </a:lnTo>
                              <a:lnTo>
                                <a:pt x="393" y="120"/>
                              </a:lnTo>
                              <a:lnTo>
                                <a:pt x="379" y="92"/>
                              </a:lnTo>
                              <a:lnTo>
                                <a:pt x="379" y="91"/>
                              </a:lnTo>
                              <a:lnTo>
                                <a:pt x="379" y="90"/>
                              </a:lnTo>
                              <a:lnTo>
                                <a:pt x="396" y="60"/>
                              </a:lnTo>
                              <a:lnTo>
                                <a:pt x="388" y="23"/>
                              </a:lnTo>
                              <a:lnTo>
                                <a:pt x="320" y="0"/>
                              </a:lnTo>
                              <a:lnTo>
                                <a:pt x="289" y="21"/>
                              </a:lnTo>
                              <a:lnTo>
                                <a:pt x="282" y="48"/>
                              </a:lnTo>
                              <a:lnTo>
                                <a:pt x="281" y="49"/>
                              </a:lnTo>
                              <a:lnTo>
                                <a:pt x="280" y="49"/>
                              </a:lnTo>
                              <a:lnTo>
                                <a:pt x="239" y="55"/>
                              </a:lnTo>
                              <a:lnTo>
                                <a:pt x="227" y="77"/>
                              </a:lnTo>
                              <a:lnTo>
                                <a:pt x="227" y="77"/>
                              </a:lnTo>
                              <a:lnTo>
                                <a:pt x="226" y="78"/>
                              </a:lnTo>
                              <a:lnTo>
                                <a:pt x="190" y="85"/>
                              </a:lnTo>
                              <a:lnTo>
                                <a:pt x="190" y="85"/>
                              </a:lnTo>
                              <a:lnTo>
                                <a:pt x="189" y="85"/>
                              </a:lnTo>
                              <a:lnTo>
                                <a:pt x="136" y="67"/>
                              </a:lnTo>
                              <a:lnTo>
                                <a:pt x="122" y="85"/>
                              </a:lnTo>
                              <a:lnTo>
                                <a:pt x="150" y="159"/>
                              </a:lnTo>
                              <a:lnTo>
                                <a:pt x="150" y="159"/>
                              </a:lnTo>
                              <a:lnTo>
                                <a:pt x="150" y="160"/>
                              </a:lnTo>
                              <a:lnTo>
                                <a:pt x="130" y="230"/>
                              </a:lnTo>
                              <a:lnTo>
                                <a:pt x="160" y="251"/>
                              </a:lnTo>
                              <a:lnTo>
                                <a:pt x="160" y="251"/>
                              </a:lnTo>
                              <a:lnTo>
                                <a:pt x="161" y="252"/>
                              </a:lnTo>
                              <a:lnTo>
                                <a:pt x="177" y="313"/>
                              </a:lnTo>
                              <a:lnTo>
                                <a:pt x="178" y="314"/>
                              </a:lnTo>
                              <a:lnTo>
                                <a:pt x="176" y="315"/>
                              </a:lnTo>
                              <a:lnTo>
                                <a:pt x="154" y="325"/>
                              </a:lnTo>
                              <a:lnTo>
                                <a:pt x="156" y="354"/>
                              </a:lnTo>
                              <a:lnTo>
                                <a:pt x="156" y="354"/>
                              </a:lnTo>
                              <a:lnTo>
                                <a:pt x="156" y="354"/>
                              </a:lnTo>
                              <a:lnTo>
                                <a:pt x="145" y="384"/>
                              </a:lnTo>
                              <a:lnTo>
                                <a:pt x="144" y="385"/>
                              </a:lnTo>
                              <a:lnTo>
                                <a:pt x="143" y="385"/>
                              </a:lnTo>
                              <a:lnTo>
                                <a:pt x="98" y="388"/>
                              </a:lnTo>
                              <a:lnTo>
                                <a:pt x="95" y="422"/>
                              </a:lnTo>
                              <a:lnTo>
                                <a:pt x="95" y="423"/>
                              </a:lnTo>
                              <a:lnTo>
                                <a:pt x="94" y="423"/>
                              </a:lnTo>
                              <a:lnTo>
                                <a:pt x="18" y="453"/>
                              </a:lnTo>
                              <a:lnTo>
                                <a:pt x="18" y="541"/>
                              </a:lnTo>
                              <a:lnTo>
                                <a:pt x="18" y="542"/>
                              </a:lnTo>
                              <a:lnTo>
                                <a:pt x="17" y="543"/>
                              </a:lnTo>
                              <a:lnTo>
                                <a:pt x="0" y="563"/>
                              </a:lnTo>
                              <a:lnTo>
                                <a:pt x="38" y="590"/>
                              </a:lnTo>
                              <a:lnTo>
                                <a:pt x="40" y="590"/>
                              </a:lnTo>
                              <a:lnTo>
                                <a:pt x="39" y="592"/>
                              </a:lnTo>
                              <a:lnTo>
                                <a:pt x="18" y="633"/>
                              </a:lnTo>
                              <a:lnTo>
                                <a:pt x="57" y="658"/>
                              </a:lnTo>
                              <a:lnTo>
                                <a:pt x="58" y="659"/>
                              </a:lnTo>
                              <a:lnTo>
                                <a:pt x="58" y="659"/>
                              </a:lnTo>
                              <a:lnTo>
                                <a:pt x="67" y="682"/>
                              </a:lnTo>
                              <a:lnTo>
                                <a:pt x="68" y="683"/>
                              </a:lnTo>
                              <a:lnTo>
                                <a:pt x="67" y="684"/>
                              </a:lnTo>
                              <a:lnTo>
                                <a:pt x="46" y="707"/>
                              </a:lnTo>
                              <a:lnTo>
                                <a:pt x="61" y="749"/>
                              </a:lnTo>
                              <a:lnTo>
                                <a:pt x="123" y="717"/>
                              </a:lnTo>
                              <a:lnTo>
                                <a:pt x="124" y="716"/>
                              </a:lnTo>
                              <a:lnTo>
                                <a:pt x="125" y="717"/>
                              </a:lnTo>
                              <a:lnTo>
                                <a:pt x="146" y="739"/>
                              </a:lnTo>
                              <a:lnTo>
                                <a:pt x="146" y="740"/>
                              </a:lnTo>
                              <a:lnTo>
                                <a:pt x="146" y="741"/>
                              </a:lnTo>
                              <a:lnTo>
                                <a:pt x="115" y="807"/>
                              </a:lnTo>
                              <a:lnTo>
                                <a:pt x="119" y="839"/>
                              </a:lnTo>
                              <a:lnTo>
                                <a:pt x="119" y="840"/>
                              </a:lnTo>
                              <a:lnTo>
                                <a:pt x="118" y="841"/>
                              </a:lnTo>
                              <a:lnTo>
                                <a:pt x="95" y="854"/>
                              </a:lnTo>
                              <a:lnTo>
                                <a:pt x="97" y="880"/>
                              </a:lnTo>
                              <a:lnTo>
                                <a:pt x="147" y="880"/>
                              </a:lnTo>
                              <a:lnTo>
                                <a:pt x="148" y="880"/>
                              </a:lnTo>
                              <a:lnTo>
                                <a:pt x="149" y="881"/>
                              </a:lnTo>
                              <a:lnTo>
                                <a:pt x="172" y="915"/>
                              </a:lnTo>
                              <a:lnTo>
                                <a:pt x="198" y="914"/>
                              </a:lnTo>
                              <a:lnTo>
                                <a:pt x="240" y="876"/>
                              </a:lnTo>
                              <a:lnTo>
                                <a:pt x="246" y="847"/>
                              </a:lnTo>
                              <a:lnTo>
                                <a:pt x="246" y="846"/>
                              </a:lnTo>
                              <a:lnTo>
                                <a:pt x="248" y="846"/>
                              </a:lnTo>
                              <a:lnTo>
                                <a:pt x="279" y="846"/>
                              </a:lnTo>
                              <a:lnTo>
                                <a:pt x="289" y="827"/>
                              </a:lnTo>
                              <a:lnTo>
                                <a:pt x="290" y="825"/>
                              </a:lnTo>
                              <a:lnTo>
                                <a:pt x="291" y="826"/>
                              </a:lnTo>
                              <a:lnTo>
                                <a:pt x="313" y="829"/>
                              </a:lnTo>
                              <a:lnTo>
                                <a:pt x="314" y="829"/>
                              </a:lnTo>
                              <a:lnTo>
                                <a:pt x="314" y="830"/>
                              </a:lnTo>
                              <a:lnTo>
                                <a:pt x="335" y="893"/>
                              </a:lnTo>
                              <a:lnTo>
                                <a:pt x="335" y="894"/>
                              </a:lnTo>
                              <a:lnTo>
                                <a:pt x="334" y="895"/>
                              </a:lnTo>
                              <a:lnTo>
                                <a:pt x="321" y="909"/>
                              </a:lnTo>
                              <a:lnTo>
                                <a:pt x="320" y="909"/>
                              </a:lnTo>
                              <a:lnTo>
                                <a:pt x="319" y="909"/>
                              </a:lnTo>
                              <a:lnTo>
                                <a:pt x="270" y="917"/>
                              </a:lnTo>
                              <a:lnTo>
                                <a:pt x="282" y="944"/>
                              </a:lnTo>
                              <a:lnTo>
                                <a:pt x="282" y="945"/>
                              </a:lnTo>
                              <a:lnTo>
                                <a:pt x="282" y="946"/>
                              </a:lnTo>
                              <a:lnTo>
                                <a:pt x="261" y="968"/>
                              </a:lnTo>
                              <a:lnTo>
                                <a:pt x="256" y="996"/>
                              </a:lnTo>
                              <a:lnTo>
                                <a:pt x="256" y="997"/>
                              </a:lnTo>
                              <a:lnTo>
                                <a:pt x="256" y="997"/>
                              </a:lnTo>
                              <a:lnTo>
                                <a:pt x="226" y="1032"/>
                              </a:lnTo>
                              <a:lnTo>
                                <a:pt x="239" y="1048"/>
                              </a:lnTo>
                              <a:lnTo>
                                <a:pt x="240" y="1048"/>
                              </a:lnTo>
                              <a:lnTo>
                                <a:pt x="239" y="1050"/>
                              </a:lnTo>
                              <a:lnTo>
                                <a:pt x="219" y="1077"/>
                              </a:lnTo>
                              <a:lnTo>
                                <a:pt x="219" y="1109"/>
                              </a:lnTo>
                              <a:lnTo>
                                <a:pt x="273" y="1136"/>
                              </a:lnTo>
                              <a:lnTo>
                                <a:pt x="273" y="1136"/>
                              </a:lnTo>
                              <a:lnTo>
                                <a:pt x="273" y="1136"/>
                              </a:lnTo>
                              <a:lnTo>
                                <a:pt x="316" y="1196"/>
                              </a:lnTo>
                              <a:lnTo>
                                <a:pt x="343" y="1170"/>
                              </a:lnTo>
                              <a:lnTo>
                                <a:pt x="344" y="1170"/>
                              </a:lnTo>
                              <a:lnTo>
                                <a:pt x="344" y="1170"/>
                              </a:lnTo>
                              <a:lnTo>
                                <a:pt x="402" y="1171"/>
                              </a:lnTo>
                              <a:lnTo>
                                <a:pt x="403" y="1171"/>
                              </a:lnTo>
                              <a:lnTo>
                                <a:pt x="403" y="1171"/>
                              </a:lnTo>
                              <a:lnTo>
                                <a:pt x="429" y="1191"/>
                              </a:lnTo>
                              <a:lnTo>
                                <a:pt x="506" y="1166"/>
                              </a:lnTo>
                              <a:lnTo>
                                <a:pt x="509" y="1165"/>
                              </a:lnTo>
                              <a:lnTo>
                                <a:pt x="508" y="1168"/>
                              </a:lnTo>
                              <a:lnTo>
                                <a:pt x="500" y="1201"/>
                              </a:lnTo>
                              <a:lnTo>
                                <a:pt x="500" y="1201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2F2F2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53" name="Freeform 163">
                          <a:extLst>
                            <a:ext uri="{FF2B5EF4-FFF2-40B4-BE49-F238E27FC236}">
                              <a16:creationId xmlns:a16="http://schemas.microsoft.com/office/drawing/2014/main" id="{99A21C79-D67A-4ED1-90EB-2389967B4F0F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036745" y="2726142"/>
                          <a:ext cx="227777" cy="162112"/>
                        </a:xfrm>
                        <a:custGeom>
                          <a:avLst/>
                          <a:gdLst>
                            <a:gd name="T0" fmla="*/ 0 w 222"/>
                            <a:gd name="T1" fmla="*/ 84 h 158"/>
                            <a:gd name="T2" fmla="*/ 29 w 222"/>
                            <a:gd name="T3" fmla="*/ 131 h 158"/>
                            <a:gd name="T4" fmla="*/ 61 w 222"/>
                            <a:gd name="T5" fmla="*/ 158 h 158"/>
                            <a:gd name="T6" fmla="*/ 128 w 222"/>
                            <a:gd name="T7" fmla="*/ 126 h 158"/>
                            <a:gd name="T8" fmla="*/ 137 w 222"/>
                            <a:gd name="T9" fmla="*/ 98 h 158"/>
                            <a:gd name="T10" fmla="*/ 187 w 222"/>
                            <a:gd name="T11" fmla="*/ 42 h 158"/>
                            <a:gd name="T12" fmla="*/ 215 w 222"/>
                            <a:gd name="T13" fmla="*/ 29 h 158"/>
                            <a:gd name="T14" fmla="*/ 222 w 222"/>
                            <a:gd name="T15" fmla="*/ 0 h 158"/>
                            <a:gd name="T16" fmla="*/ 147 w 222"/>
                            <a:gd name="T17" fmla="*/ 26 h 158"/>
                            <a:gd name="T18" fmla="*/ 146 w 222"/>
                            <a:gd name="T19" fmla="*/ 26 h 158"/>
                            <a:gd name="T20" fmla="*/ 145 w 222"/>
                            <a:gd name="T21" fmla="*/ 25 h 158"/>
                            <a:gd name="T22" fmla="*/ 120 w 222"/>
                            <a:gd name="T23" fmla="*/ 4 h 158"/>
                            <a:gd name="T24" fmla="*/ 63 w 222"/>
                            <a:gd name="T25" fmla="*/ 3 h 158"/>
                            <a:gd name="T26" fmla="*/ 35 w 222"/>
                            <a:gd name="T27" fmla="*/ 30 h 158"/>
                            <a:gd name="T28" fmla="*/ 0 w 222"/>
                            <a:gd name="T29" fmla="*/ 84 h 158"/>
                            <a:gd name="T30" fmla="*/ 0 w 222"/>
                            <a:gd name="T31" fmla="*/ 84 h 15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</a:cxnLst>
                          <a:rect l="0" t="0" r="r" b="b"/>
                          <a:pathLst>
                            <a:path w="222" h="158">
                              <a:moveTo>
                                <a:pt x="0" y="84"/>
                              </a:moveTo>
                              <a:lnTo>
                                <a:pt x="29" y="131"/>
                              </a:lnTo>
                              <a:lnTo>
                                <a:pt x="61" y="158"/>
                              </a:lnTo>
                              <a:lnTo>
                                <a:pt x="128" y="126"/>
                              </a:lnTo>
                              <a:lnTo>
                                <a:pt x="137" y="98"/>
                              </a:lnTo>
                              <a:lnTo>
                                <a:pt x="187" y="42"/>
                              </a:lnTo>
                              <a:lnTo>
                                <a:pt x="215" y="29"/>
                              </a:lnTo>
                              <a:lnTo>
                                <a:pt x="222" y="0"/>
                              </a:lnTo>
                              <a:lnTo>
                                <a:pt x="147" y="26"/>
                              </a:lnTo>
                              <a:lnTo>
                                <a:pt x="146" y="26"/>
                              </a:lnTo>
                              <a:lnTo>
                                <a:pt x="145" y="25"/>
                              </a:lnTo>
                              <a:lnTo>
                                <a:pt x="120" y="4"/>
                              </a:lnTo>
                              <a:lnTo>
                                <a:pt x="63" y="3"/>
                              </a:lnTo>
                              <a:lnTo>
                                <a:pt x="35" y="30"/>
                              </a:lnTo>
                              <a:lnTo>
                                <a:pt x="0" y="84"/>
                              </a:lnTo>
                              <a:lnTo>
                                <a:pt x="0" y="84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54" name="Freeform 164">
                          <a:extLst>
                            <a:ext uri="{FF2B5EF4-FFF2-40B4-BE49-F238E27FC236}">
                              <a16:creationId xmlns:a16="http://schemas.microsoft.com/office/drawing/2014/main" id="{AD517F37-64B4-421E-AC4C-8ABF7D3A7820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293904" y="2265458"/>
                          <a:ext cx="793116" cy="550974"/>
                        </a:xfrm>
                        <a:custGeom>
                          <a:avLst/>
                          <a:gdLst>
                            <a:gd name="T0" fmla="*/ 253 w 773"/>
                            <a:gd name="T1" fmla="*/ 323 h 537"/>
                            <a:gd name="T2" fmla="*/ 367 w 773"/>
                            <a:gd name="T3" fmla="*/ 331 h 537"/>
                            <a:gd name="T4" fmla="*/ 570 w 773"/>
                            <a:gd name="T5" fmla="*/ 537 h 537"/>
                            <a:gd name="T6" fmla="*/ 643 w 773"/>
                            <a:gd name="T7" fmla="*/ 532 h 537"/>
                            <a:gd name="T8" fmla="*/ 700 w 773"/>
                            <a:gd name="T9" fmla="*/ 534 h 537"/>
                            <a:gd name="T10" fmla="*/ 756 w 773"/>
                            <a:gd name="T11" fmla="*/ 477 h 537"/>
                            <a:gd name="T12" fmla="*/ 658 w 773"/>
                            <a:gd name="T13" fmla="*/ 391 h 537"/>
                            <a:gd name="T14" fmla="*/ 658 w 773"/>
                            <a:gd name="T15" fmla="*/ 389 h 537"/>
                            <a:gd name="T16" fmla="*/ 658 w 773"/>
                            <a:gd name="T17" fmla="*/ 354 h 537"/>
                            <a:gd name="T18" fmla="*/ 677 w 773"/>
                            <a:gd name="T19" fmla="*/ 327 h 537"/>
                            <a:gd name="T20" fmla="*/ 664 w 773"/>
                            <a:gd name="T21" fmla="*/ 311 h 537"/>
                            <a:gd name="T22" fmla="*/ 695 w 773"/>
                            <a:gd name="T23" fmla="*/ 274 h 537"/>
                            <a:gd name="T24" fmla="*/ 700 w 773"/>
                            <a:gd name="T25" fmla="*/ 245 h 537"/>
                            <a:gd name="T26" fmla="*/ 720 w 773"/>
                            <a:gd name="T27" fmla="*/ 224 h 537"/>
                            <a:gd name="T28" fmla="*/ 706 w 773"/>
                            <a:gd name="T29" fmla="*/ 194 h 537"/>
                            <a:gd name="T30" fmla="*/ 761 w 773"/>
                            <a:gd name="T31" fmla="*/ 184 h 537"/>
                            <a:gd name="T32" fmla="*/ 753 w 773"/>
                            <a:gd name="T33" fmla="*/ 111 h 537"/>
                            <a:gd name="T34" fmla="*/ 724 w 773"/>
                            <a:gd name="T35" fmla="*/ 128 h 537"/>
                            <a:gd name="T36" fmla="*/ 722 w 773"/>
                            <a:gd name="T37" fmla="*/ 129 h 537"/>
                            <a:gd name="T38" fmla="*/ 685 w 773"/>
                            <a:gd name="T39" fmla="*/ 156 h 537"/>
                            <a:gd name="T40" fmla="*/ 684 w 773"/>
                            <a:gd name="T41" fmla="*/ 157 h 537"/>
                            <a:gd name="T42" fmla="*/ 641 w 773"/>
                            <a:gd name="T43" fmla="*/ 197 h 537"/>
                            <a:gd name="T44" fmla="*/ 613 w 773"/>
                            <a:gd name="T45" fmla="*/ 199 h 537"/>
                            <a:gd name="T46" fmla="*/ 612 w 773"/>
                            <a:gd name="T47" fmla="*/ 198 h 537"/>
                            <a:gd name="T48" fmla="*/ 537 w 773"/>
                            <a:gd name="T49" fmla="*/ 163 h 537"/>
                            <a:gd name="T50" fmla="*/ 535 w 773"/>
                            <a:gd name="T51" fmla="*/ 161 h 537"/>
                            <a:gd name="T52" fmla="*/ 533 w 773"/>
                            <a:gd name="T53" fmla="*/ 131 h 537"/>
                            <a:gd name="T54" fmla="*/ 557 w 773"/>
                            <a:gd name="T55" fmla="*/ 117 h 537"/>
                            <a:gd name="T56" fmla="*/ 554 w 773"/>
                            <a:gd name="T57" fmla="*/ 86 h 537"/>
                            <a:gd name="T58" fmla="*/ 584 w 773"/>
                            <a:gd name="T59" fmla="*/ 20 h 537"/>
                            <a:gd name="T60" fmla="*/ 440 w 773"/>
                            <a:gd name="T61" fmla="*/ 65 h 537"/>
                            <a:gd name="T62" fmla="*/ 444 w 773"/>
                            <a:gd name="T63" fmla="*/ 86 h 537"/>
                            <a:gd name="T64" fmla="*/ 415 w 773"/>
                            <a:gd name="T65" fmla="*/ 96 h 537"/>
                            <a:gd name="T66" fmla="*/ 414 w 773"/>
                            <a:gd name="T67" fmla="*/ 96 h 537"/>
                            <a:gd name="T68" fmla="*/ 309 w 773"/>
                            <a:gd name="T69" fmla="*/ 129 h 537"/>
                            <a:gd name="T70" fmla="*/ 308 w 773"/>
                            <a:gd name="T71" fmla="*/ 128 h 537"/>
                            <a:gd name="T72" fmla="*/ 229 w 773"/>
                            <a:gd name="T73" fmla="*/ 134 h 537"/>
                            <a:gd name="T74" fmla="*/ 228 w 773"/>
                            <a:gd name="T75" fmla="*/ 133 h 537"/>
                            <a:gd name="T76" fmla="*/ 151 w 773"/>
                            <a:gd name="T77" fmla="*/ 108 h 537"/>
                            <a:gd name="T78" fmla="*/ 130 w 773"/>
                            <a:gd name="T79" fmla="*/ 130 h 537"/>
                            <a:gd name="T80" fmla="*/ 108 w 773"/>
                            <a:gd name="T81" fmla="*/ 109 h 537"/>
                            <a:gd name="T82" fmla="*/ 93 w 773"/>
                            <a:gd name="T83" fmla="*/ 122 h 537"/>
                            <a:gd name="T84" fmla="*/ 65 w 773"/>
                            <a:gd name="T85" fmla="*/ 100 h 537"/>
                            <a:gd name="T86" fmla="*/ 0 w 773"/>
                            <a:gd name="T87" fmla="*/ 134 h 537"/>
                            <a:gd name="T88" fmla="*/ 42 w 773"/>
                            <a:gd name="T89" fmla="*/ 162 h 537"/>
                            <a:gd name="T90" fmla="*/ 29 w 773"/>
                            <a:gd name="T91" fmla="*/ 180 h 537"/>
                            <a:gd name="T92" fmla="*/ 81 w 773"/>
                            <a:gd name="T93" fmla="*/ 180 h 537"/>
                            <a:gd name="T94" fmla="*/ 84 w 773"/>
                            <a:gd name="T95" fmla="*/ 181 h 537"/>
                            <a:gd name="T96" fmla="*/ 126 w 773"/>
                            <a:gd name="T97" fmla="*/ 204 h 537"/>
                            <a:gd name="T98" fmla="*/ 128 w 773"/>
                            <a:gd name="T99" fmla="*/ 205 h 537"/>
                            <a:gd name="T100" fmla="*/ 158 w 773"/>
                            <a:gd name="T101" fmla="*/ 271 h 537"/>
                            <a:gd name="T102" fmla="*/ 159 w 773"/>
                            <a:gd name="T103" fmla="*/ 273 h 537"/>
                            <a:gd name="T104" fmla="*/ 186 w 773"/>
                            <a:gd name="T105" fmla="*/ 357 h 53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</a:cxnLst>
                          <a:rect l="0" t="0" r="r" b="b"/>
                          <a:pathLst>
                            <a:path w="773" h="537">
                              <a:moveTo>
                                <a:pt x="186" y="357"/>
                              </a:moveTo>
                              <a:lnTo>
                                <a:pt x="253" y="323"/>
                              </a:lnTo>
                              <a:lnTo>
                                <a:pt x="305" y="341"/>
                              </a:lnTo>
                              <a:lnTo>
                                <a:pt x="367" y="331"/>
                              </a:lnTo>
                              <a:lnTo>
                                <a:pt x="458" y="421"/>
                              </a:lnTo>
                              <a:lnTo>
                                <a:pt x="570" y="537"/>
                              </a:lnTo>
                              <a:lnTo>
                                <a:pt x="615" y="519"/>
                              </a:lnTo>
                              <a:lnTo>
                                <a:pt x="643" y="532"/>
                              </a:lnTo>
                              <a:lnTo>
                                <a:pt x="662" y="522"/>
                              </a:lnTo>
                              <a:lnTo>
                                <a:pt x="700" y="534"/>
                              </a:lnTo>
                              <a:lnTo>
                                <a:pt x="720" y="532"/>
                              </a:lnTo>
                              <a:lnTo>
                                <a:pt x="756" y="477"/>
                              </a:lnTo>
                              <a:lnTo>
                                <a:pt x="712" y="417"/>
                              </a:lnTo>
                              <a:lnTo>
                                <a:pt x="658" y="391"/>
                              </a:lnTo>
                              <a:lnTo>
                                <a:pt x="658" y="390"/>
                              </a:lnTo>
                              <a:lnTo>
                                <a:pt x="658" y="389"/>
                              </a:lnTo>
                              <a:lnTo>
                                <a:pt x="658" y="355"/>
                              </a:lnTo>
                              <a:lnTo>
                                <a:pt x="658" y="354"/>
                              </a:lnTo>
                              <a:lnTo>
                                <a:pt x="658" y="354"/>
                              </a:lnTo>
                              <a:lnTo>
                                <a:pt x="677" y="327"/>
                              </a:lnTo>
                              <a:lnTo>
                                <a:pt x="665" y="312"/>
                              </a:lnTo>
                              <a:lnTo>
                                <a:pt x="664" y="311"/>
                              </a:lnTo>
                              <a:lnTo>
                                <a:pt x="665" y="309"/>
                              </a:lnTo>
                              <a:lnTo>
                                <a:pt x="695" y="274"/>
                              </a:lnTo>
                              <a:lnTo>
                                <a:pt x="700" y="246"/>
                              </a:lnTo>
                              <a:lnTo>
                                <a:pt x="700" y="245"/>
                              </a:lnTo>
                              <a:lnTo>
                                <a:pt x="701" y="245"/>
                              </a:lnTo>
                              <a:lnTo>
                                <a:pt x="720" y="224"/>
                              </a:lnTo>
                              <a:lnTo>
                                <a:pt x="707" y="196"/>
                              </a:lnTo>
                              <a:lnTo>
                                <a:pt x="706" y="194"/>
                              </a:lnTo>
                              <a:lnTo>
                                <a:pt x="708" y="193"/>
                              </a:lnTo>
                              <a:lnTo>
                                <a:pt x="761" y="184"/>
                              </a:lnTo>
                              <a:lnTo>
                                <a:pt x="773" y="172"/>
                              </a:lnTo>
                              <a:lnTo>
                                <a:pt x="753" y="111"/>
                              </a:lnTo>
                              <a:lnTo>
                                <a:pt x="733" y="108"/>
                              </a:lnTo>
                              <a:lnTo>
                                <a:pt x="724" y="128"/>
                              </a:lnTo>
                              <a:lnTo>
                                <a:pt x="723" y="129"/>
                              </a:lnTo>
                              <a:lnTo>
                                <a:pt x="722" y="129"/>
                              </a:lnTo>
                              <a:lnTo>
                                <a:pt x="692" y="129"/>
                              </a:lnTo>
                              <a:lnTo>
                                <a:pt x="685" y="156"/>
                              </a:lnTo>
                              <a:lnTo>
                                <a:pt x="685" y="157"/>
                              </a:lnTo>
                              <a:lnTo>
                                <a:pt x="684" y="157"/>
                              </a:lnTo>
                              <a:lnTo>
                                <a:pt x="642" y="196"/>
                              </a:lnTo>
                              <a:lnTo>
                                <a:pt x="641" y="197"/>
                              </a:lnTo>
                              <a:lnTo>
                                <a:pt x="641" y="197"/>
                              </a:lnTo>
                              <a:lnTo>
                                <a:pt x="613" y="199"/>
                              </a:lnTo>
                              <a:lnTo>
                                <a:pt x="613" y="199"/>
                              </a:lnTo>
                              <a:lnTo>
                                <a:pt x="612" y="198"/>
                              </a:lnTo>
                              <a:lnTo>
                                <a:pt x="589" y="163"/>
                              </a:lnTo>
                              <a:lnTo>
                                <a:pt x="537" y="163"/>
                              </a:lnTo>
                              <a:lnTo>
                                <a:pt x="535" y="163"/>
                              </a:lnTo>
                              <a:lnTo>
                                <a:pt x="535" y="161"/>
                              </a:lnTo>
                              <a:lnTo>
                                <a:pt x="533" y="132"/>
                              </a:lnTo>
                              <a:lnTo>
                                <a:pt x="533" y="131"/>
                              </a:lnTo>
                              <a:lnTo>
                                <a:pt x="534" y="130"/>
                              </a:lnTo>
                              <a:lnTo>
                                <a:pt x="557" y="117"/>
                              </a:lnTo>
                              <a:lnTo>
                                <a:pt x="554" y="86"/>
                              </a:lnTo>
                              <a:lnTo>
                                <a:pt x="554" y="86"/>
                              </a:lnTo>
                              <a:lnTo>
                                <a:pt x="554" y="85"/>
                              </a:lnTo>
                              <a:lnTo>
                                <a:pt x="584" y="20"/>
                              </a:lnTo>
                              <a:lnTo>
                                <a:pt x="565" y="0"/>
                              </a:lnTo>
                              <a:lnTo>
                                <a:pt x="440" y="65"/>
                              </a:lnTo>
                              <a:lnTo>
                                <a:pt x="443" y="84"/>
                              </a:lnTo>
                              <a:lnTo>
                                <a:pt x="444" y="86"/>
                              </a:lnTo>
                              <a:lnTo>
                                <a:pt x="442" y="86"/>
                              </a:lnTo>
                              <a:lnTo>
                                <a:pt x="415" y="96"/>
                              </a:lnTo>
                              <a:lnTo>
                                <a:pt x="414" y="96"/>
                              </a:lnTo>
                              <a:lnTo>
                                <a:pt x="414" y="96"/>
                              </a:lnTo>
                              <a:lnTo>
                                <a:pt x="391" y="91"/>
                              </a:lnTo>
                              <a:lnTo>
                                <a:pt x="309" y="129"/>
                              </a:lnTo>
                              <a:lnTo>
                                <a:pt x="308" y="129"/>
                              </a:lnTo>
                              <a:lnTo>
                                <a:pt x="308" y="128"/>
                              </a:lnTo>
                              <a:lnTo>
                                <a:pt x="288" y="112"/>
                              </a:lnTo>
                              <a:lnTo>
                                <a:pt x="229" y="134"/>
                              </a:lnTo>
                              <a:lnTo>
                                <a:pt x="229" y="134"/>
                              </a:lnTo>
                              <a:lnTo>
                                <a:pt x="228" y="133"/>
                              </a:lnTo>
                              <a:lnTo>
                                <a:pt x="198" y="110"/>
                              </a:lnTo>
                              <a:lnTo>
                                <a:pt x="151" y="108"/>
                              </a:lnTo>
                              <a:lnTo>
                                <a:pt x="131" y="128"/>
                              </a:lnTo>
                              <a:lnTo>
                                <a:pt x="130" y="130"/>
                              </a:lnTo>
                              <a:lnTo>
                                <a:pt x="129" y="128"/>
                              </a:lnTo>
                              <a:lnTo>
                                <a:pt x="108" y="109"/>
                              </a:lnTo>
                              <a:lnTo>
                                <a:pt x="94" y="121"/>
                              </a:lnTo>
                              <a:lnTo>
                                <a:pt x="93" y="122"/>
                              </a:lnTo>
                              <a:lnTo>
                                <a:pt x="91" y="121"/>
                              </a:lnTo>
                              <a:lnTo>
                                <a:pt x="65" y="100"/>
                              </a:lnTo>
                              <a:lnTo>
                                <a:pt x="32" y="113"/>
                              </a:lnTo>
                              <a:lnTo>
                                <a:pt x="0" y="134"/>
                              </a:lnTo>
                              <a:lnTo>
                                <a:pt x="41" y="161"/>
                              </a:lnTo>
                              <a:lnTo>
                                <a:pt x="42" y="162"/>
                              </a:lnTo>
                              <a:lnTo>
                                <a:pt x="41" y="164"/>
                              </a:lnTo>
                              <a:lnTo>
                                <a:pt x="29" y="180"/>
                              </a:lnTo>
                              <a:lnTo>
                                <a:pt x="48" y="199"/>
                              </a:lnTo>
                              <a:lnTo>
                                <a:pt x="81" y="180"/>
                              </a:lnTo>
                              <a:lnTo>
                                <a:pt x="83" y="180"/>
                              </a:lnTo>
                              <a:lnTo>
                                <a:pt x="84" y="181"/>
                              </a:lnTo>
                              <a:lnTo>
                                <a:pt x="100" y="209"/>
                              </a:lnTo>
                              <a:lnTo>
                                <a:pt x="126" y="204"/>
                              </a:lnTo>
                              <a:lnTo>
                                <a:pt x="128" y="203"/>
                              </a:lnTo>
                              <a:lnTo>
                                <a:pt x="128" y="205"/>
                              </a:lnTo>
                              <a:lnTo>
                                <a:pt x="132" y="256"/>
                              </a:lnTo>
                              <a:lnTo>
                                <a:pt x="158" y="271"/>
                              </a:lnTo>
                              <a:lnTo>
                                <a:pt x="160" y="272"/>
                              </a:lnTo>
                              <a:lnTo>
                                <a:pt x="159" y="273"/>
                              </a:lnTo>
                              <a:lnTo>
                                <a:pt x="144" y="294"/>
                              </a:lnTo>
                              <a:lnTo>
                                <a:pt x="186" y="357"/>
                              </a:lnTo>
                              <a:lnTo>
                                <a:pt x="186" y="357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2F2F2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55" name="Freeform 165">
                          <a:extLst>
                            <a:ext uri="{FF2B5EF4-FFF2-40B4-BE49-F238E27FC236}">
                              <a16:creationId xmlns:a16="http://schemas.microsoft.com/office/drawing/2014/main" id="{9B969599-E6A1-46A0-BBC3-0F148487299B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304536" y="2073592"/>
                          <a:ext cx="446320" cy="601249"/>
                        </a:xfrm>
                        <a:custGeom>
                          <a:avLst/>
                          <a:gdLst>
                            <a:gd name="T0" fmla="*/ 85 w 435"/>
                            <a:gd name="T1" fmla="*/ 207 h 586"/>
                            <a:gd name="T2" fmla="*/ 83 w 435"/>
                            <a:gd name="T3" fmla="*/ 204 h 586"/>
                            <a:gd name="T4" fmla="*/ 141 w 435"/>
                            <a:gd name="T5" fmla="*/ 235 h 586"/>
                            <a:gd name="T6" fmla="*/ 160 w 435"/>
                            <a:gd name="T7" fmla="*/ 285 h 586"/>
                            <a:gd name="T8" fmla="*/ 189 w 435"/>
                            <a:gd name="T9" fmla="*/ 321 h 586"/>
                            <a:gd name="T10" fmla="*/ 224 w 435"/>
                            <a:gd name="T11" fmla="*/ 376 h 586"/>
                            <a:gd name="T12" fmla="*/ 248 w 435"/>
                            <a:gd name="T13" fmla="*/ 417 h 586"/>
                            <a:gd name="T14" fmla="*/ 277 w 435"/>
                            <a:gd name="T15" fmla="*/ 439 h 586"/>
                            <a:gd name="T16" fmla="*/ 286 w 435"/>
                            <a:gd name="T17" fmla="*/ 465 h 586"/>
                            <a:gd name="T18" fmla="*/ 294 w 435"/>
                            <a:gd name="T19" fmla="*/ 487 h 586"/>
                            <a:gd name="T20" fmla="*/ 329 w 435"/>
                            <a:gd name="T21" fmla="*/ 504 h 586"/>
                            <a:gd name="T22" fmla="*/ 334 w 435"/>
                            <a:gd name="T23" fmla="*/ 539 h 586"/>
                            <a:gd name="T24" fmla="*/ 371 w 435"/>
                            <a:gd name="T25" fmla="*/ 586 h 586"/>
                            <a:gd name="T26" fmla="*/ 373 w 435"/>
                            <a:gd name="T27" fmla="*/ 545 h 586"/>
                            <a:gd name="T28" fmla="*/ 368 w 435"/>
                            <a:gd name="T29" fmla="*/ 515 h 586"/>
                            <a:gd name="T30" fmla="*/ 397 w 435"/>
                            <a:gd name="T31" fmla="*/ 513 h 586"/>
                            <a:gd name="T32" fmla="*/ 408 w 435"/>
                            <a:gd name="T33" fmla="*/ 508 h 586"/>
                            <a:gd name="T34" fmla="*/ 435 w 435"/>
                            <a:gd name="T35" fmla="*/ 522 h 586"/>
                            <a:gd name="T36" fmla="*/ 413 w 435"/>
                            <a:gd name="T37" fmla="*/ 476 h 586"/>
                            <a:gd name="T38" fmla="*/ 382 w 435"/>
                            <a:gd name="T39" fmla="*/ 476 h 586"/>
                            <a:gd name="T40" fmla="*/ 348 w 435"/>
                            <a:gd name="T41" fmla="*/ 461 h 586"/>
                            <a:gd name="T42" fmla="*/ 309 w 435"/>
                            <a:gd name="T43" fmla="*/ 434 h 586"/>
                            <a:gd name="T44" fmla="*/ 284 w 435"/>
                            <a:gd name="T45" fmla="*/ 371 h 586"/>
                            <a:gd name="T46" fmla="*/ 271 w 435"/>
                            <a:gd name="T47" fmla="*/ 330 h 586"/>
                            <a:gd name="T48" fmla="*/ 300 w 435"/>
                            <a:gd name="T49" fmla="*/ 313 h 586"/>
                            <a:gd name="T50" fmla="*/ 356 w 435"/>
                            <a:gd name="T51" fmla="*/ 311 h 586"/>
                            <a:gd name="T52" fmla="*/ 231 w 435"/>
                            <a:gd name="T53" fmla="*/ 227 h 586"/>
                            <a:gd name="T54" fmla="*/ 143 w 435"/>
                            <a:gd name="T55" fmla="*/ 148 h 586"/>
                            <a:gd name="T56" fmla="*/ 103 w 435"/>
                            <a:gd name="T57" fmla="*/ 71 h 586"/>
                            <a:gd name="T58" fmla="*/ 47 w 435"/>
                            <a:gd name="T59" fmla="*/ 33 h 586"/>
                            <a:gd name="T60" fmla="*/ 22 w 435"/>
                            <a:gd name="T61" fmla="*/ 0 h 586"/>
                            <a:gd name="T62" fmla="*/ 4 w 435"/>
                            <a:gd name="T63" fmla="*/ 8 h 586"/>
                            <a:gd name="T64" fmla="*/ 0 w 435"/>
                            <a:gd name="T65" fmla="*/ 27 h 586"/>
                            <a:gd name="T66" fmla="*/ 33 w 435"/>
                            <a:gd name="T67" fmla="*/ 50 h 586"/>
                            <a:gd name="T68" fmla="*/ 51 w 435"/>
                            <a:gd name="T69" fmla="*/ 76 h 586"/>
                            <a:gd name="T70" fmla="*/ 41 w 435"/>
                            <a:gd name="T71" fmla="*/ 89 h 586"/>
                            <a:gd name="T72" fmla="*/ 25 w 435"/>
                            <a:gd name="T73" fmla="*/ 85 h 586"/>
                            <a:gd name="T74" fmla="*/ 20 w 435"/>
                            <a:gd name="T75" fmla="*/ 108 h 586"/>
                            <a:gd name="T76" fmla="*/ 52 w 435"/>
                            <a:gd name="T77" fmla="*/ 132 h 586"/>
                            <a:gd name="T78" fmla="*/ 83 w 435"/>
                            <a:gd name="T79" fmla="*/ 204 h 586"/>
                            <a:gd name="T80" fmla="*/ 81 w 435"/>
                            <a:gd name="T81" fmla="*/ 203 h 586"/>
                            <a:gd name="T82" fmla="*/ 85 w 435"/>
                            <a:gd name="T83" fmla="*/ 207 h 586"/>
                            <a:gd name="T84" fmla="*/ 85 w 435"/>
                            <a:gd name="T85" fmla="*/ 207 h 58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</a:cxnLst>
                          <a:rect l="0" t="0" r="r" b="b"/>
                          <a:pathLst>
                            <a:path w="435" h="586">
                              <a:moveTo>
                                <a:pt x="85" y="207"/>
                              </a:moveTo>
                              <a:lnTo>
                                <a:pt x="83" y="204"/>
                              </a:lnTo>
                              <a:lnTo>
                                <a:pt x="141" y="235"/>
                              </a:lnTo>
                              <a:lnTo>
                                <a:pt x="160" y="285"/>
                              </a:lnTo>
                              <a:lnTo>
                                <a:pt x="189" y="321"/>
                              </a:lnTo>
                              <a:lnTo>
                                <a:pt x="224" y="376"/>
                              </a:lnTo>
                              <a:lnTo>
                                <a:pt x="248" y="417"/>
                              </a:lnTo>
                              <a:lnTo>
                                <a:pt x="277" y="439"/>
                              </a:lnTo>
                              <a:lnTo>
                                <a:pt x="286" y="465"/>
                              </a:lnTo>
                              <a:lnTo>
                                <a:pt x="294" y="487"/>
                              </a:lnTo>
                              <a:lnTo>
                                <a:pt x="329" y="504"/>
                              </a:lnTo>
                              <a:lnTo>
                                <a:pt x="334" y="539"/>
                              </a:lnTo>
                              <a:lnTo>
                                <a:pt x="371" y="586"/>
                              </a:lnTo>
                              <a:lnTo>
                                <a:pt x="373" y="545"/>
                              </a:lnTo>
                              <a:lnTo>
                                <a:pt x="368" y="515"/>
                              </a:lnTo>
                              <a:lnTo>
                                <a:pt x="397" y="513"/>
                              </a:lnTo>
                              <a:lnTo>
                                <a:pt x="408" y="508"/>
                              </a:lnTo>
                              <a:lnTo>
                                <a:pt x="435" y="522"/>
                              </a:lnTo>
                              <a:lnTo>
                                <a:pt x="413" y="476"/>
                              </a:lnTo>
                              <a:lnTo>
                                <a:pt x="382" y="476"/>
                              </a:lnTo>
                              <a:lnTo>
                                <a:pt x="348" y="461"/>
                              </a:lnTo>
                              <a:lnTo>
                                <a:pt x="309" y="434"/>
                              </a:lnTo>
                              <a:lnTo>
                                <a:pt x="284" y="371"/>
                              </a:lnTo>
                              <a:lnTo>
                                <a:pt x="271" y="330"/>
                              </a:lnTo>
                              <a:lnTo>
                                <a:pt x="300" y="313"/>
                              </a:lnTo>
                              <a:lnTo>
                                <a:pt x="356" y="311"/>
                              </a:lnTo>
                              <a:lnTo>
                                <a:pt x="231" y="227"/>
                              </a:lnTo>
                              <a:lnTo>
                                <a:pt x="143" y="148"/>
                              </a:lnTo>
                              <a:lnTo>
                                <a:pt x="103" y="71"/>
                              </a:lnTo>
                              <a:lnTo>
                                <a:pt x="47" y="33"/>
                              </a:lnTo>
                              <a:lnTo>
                                <a:pt x="22" y="0"/>
                              </a:lnTo>
                              <a:lnTo>
                                <a:pt x="4" y="8"/>
                              </a:lnTo>
                              <a:lnTo>
                                <a:pt x="0" y="27"/>
                              </a:lnTo>
                              <a:lnTo>
                                <a:pt x="33" y="50"/>
                              </a:lnTo>
                              <a:lnTo>
                                <a:pt x="51" y="76"/>
                              </a:lnTo>
                              <a:lnTo>
                                <a:pt x="41" y="89"/>
                              </a:lnTo>
                              <a:lnTo>
                                <a:pt x="25" y="85"/>
                              </a:lnTo>
                              <a:lnTo>
                                <a:pt x="20" y="108"/>
                              </a:lnTo>
                              <a:lnTo>
                                <a:pt x="52" y="132"/>
                              </a:lnTo>
                              <a:lnTo>
                                <a:pt x="83" y="204"/>
                              </a:lnTo>
                              <a:lnTo>
                                <a:pt x="81" y="203"/>
                              </a:lnTo>
                              <a:lnTo>
                                <a:pt x="85" y="207"/>
                              </a:lnTo>
                              <a:lnTo>
                                <a:pt x="85" y="207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2F2F2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56" name="Freeform 167">
                          <a:extLst>
                            <a:ext uri="{FF2B5EF4-FFF2-40B4-BE49-F238E27FC236}">
                              <a16:creationId xmlns:a16="http://schemas.microsoft.com/office/drawing/2014/main" id="{715A2D3D-A66E-42D4-9F3F-DC9D080AAD76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56580" y="1633428"/>
                          <a:ext cx="145695" cy="201100"/>
                        </a:xfrm>
                        <a:custGeom>
                          <a:avLst/>
                          <a:gdLst>
                            <a:gd name="T0" fmla="*/ 21 w 142"/>
                            <a:gd name="T1" fmla="*/ 0 h 196"/>
                            <a:gd name="T2" fmla="*/ 6 w 142"/>
                            <a:gd name="T3" fmla="*/ 18 h 196"/>
                            <a:gd name="T4" fmla="*/ 0 w 142"/>
                            <a:gd name="T5" fmla="*/ 28 h 196"/>
                            <a:gd name="T6" fmla="*/ 3 w 142"/>
                            <a:gd name="T7" fmla="*/ 43 h 196"/>
                            <a:gd name="T8" fmla="*/ 17 w 142"/>
                            <a:gd name="T9" fmla="*/ 50 h 196"/>
                            <a:gd name="T10" fmla="*/ 15 w 142"/>
                            <a:gd name="T11" fmla="*/ 73 h 196"/>
                            <a:gd name="T12" fmla="*/ 53 w 142"/>
                            <a:gd name="T13" fmla="*/ 97 h 196"/>
                            <a:gd name="T14" fmla="*/ 54 w 142"/>
                            <a:gd name="T15" fmla="*/ 140 h 196"/>
                            <a:gd name="T16" fmla="*/ 84 w 142"/>
                            <a:gd name="T17" fmla="*/ 196 h 196"/>
                            <a:gd name="T18" fmla="*/ 124 w 142"/>
                            <a:gd name="T19" fmla="*/ 155 h 196"/>
                            <a:gd name="T20" fmla="*/ 121 w 142"/>
                            <a:gd name="T21" fmla="*/ 136 h 196"/>
                            <a:gd name="T22" fmla="*/ 120 w 142"/>
                            <a:gd name="T23" fmla="*/ 136 h 196"/>
                            <a:gd name="T24" fmla="*/ 121 w 142"/>
                            <a:gd name="T25" fmla="*/ 135 h 196"/>
                            <a:gd name="T26" fmla="*/ 127 w 142"/>
                            <a:gd name="T27" fmla="*/ 124 h 196"/>
                            <a:gd name="T28" fmla="*/ 128 w 142"/>
                            <a:gd name="T29" fmla="*/ 123 h 196"/>
                            <a:gd name="T30" fmla="*/ 129 w 142"/>
                            <a:gd name="T31" fmla="*/ 123 h 196"/>
                            <a:gd name="T32" fmla="*/ 142 w 142"/>
                            <a:gd name="T33" fmla="*/ 124 h 196"/>
                            <a:gd name="T34" fmla="*/ 141 w 142"/>
                            <a:gd name="T35" fmla="*/ 116 h 196"/>
                            <a:gd name="T36" fmla="*/ 134 w 142"/>
                            <a:gd name="T37" fmla="*/ 111 h 196"/>
                            <a:gd name="T38" fmla="*/ 133 w 142"/>
                            <a:gd name="T39" fmla="*/ 110 h 196"/>
                            <a:gd name="T40" fmla="*/ 133 w 142"/>
                            <a:gd name="T41" fmla="*/ 109 h 196"/>
                            <a:gd name="T42" fmla="*/ 142 w 142"/>
                            <a:gd name="T43" fmla="*/ 98 h 196"/>
                            <a:gd name="T44" fmla="*/ 142 w 142"/>
                            <a:gd name="T45" fmla="*/ 77 h 196"/>
                            <a:gd name="T46" fmla="*/ 114 w 142"/>
                            <a:gd name="T47" fmla="*/ 49 h 196"/>
                            <a:gd name="T48" fmla="*/ 88 w 142"/>
                            <a:gd name="T49" fmla="*/ 44 h 196"/>
                            <a:gd name="T50" fmla="*/ 87 w 142"/>
                            <a:gd name="T51" fmla="*/ 43 h 196"/>
                            <a:gd name="T52" fmla="*/ 87 w 142"/>
                            <a:gd name="T53" fmla="*/ 43 h 196"/>
                            <a:gd name="T54" fmla="*/ 68 w 142"/>
                            <a:gd name="T55" fmla="*/ 31 h 196"/>
                            <a:gd name="T56" fmla="*/ 67 w 142"/>
                            <a:gd name="T57" fmla="*/ 30 h 196"/>
                            <a:gd name="T58" fmla="*/ 67 w 142"/>
                            <a:gd name="T59" fmla="*/ 30 h 196"/>
                            <a:gd name="T60" fmla="*/ 62 w 142"/>
                            <a:gd name="T61" fmla="*/ 13 h 196"/>
                            <a:gd name="T62" fmla="*/ 52 w 142"/>
                            <a:gd name="T63" fmla="*/ 12 h 196"/>
                            <a:gd name="T64" fmla="*/ 43 w 142"/>
                            <a:gd name="T65" fmla="*/ 17 h 196"/>
                            <a:gd name="T66" fmla="*/ 42 w 142"/>
                            <a:gd name="T67" fmla="*/ 18 h 196"/>
                            <a:gd name="T68" fmla="*/ 40 w 142"/>
                            <a:gd name="T69" fmla="*/ 17 h 196"/>
                            <a:gd name="T70" fmla="*/ 21 w 142"/>
                            <a:gd name="T71" fmla="*/ 0 h 196"/>
                            <a:gd name="T72" fmla="*/ 21 w 142"/>
                            <a:gd name="T73" fmla="*/ 0 h 19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</a:cxnLst>
                          <a:rect l="0" t="0" r="r" b="b"/>
                          <a:pathLst>
                            <a:path w="142" h="196">
                              <a:moveTo>
                                <a:pt x="21" y="0"/>
                              </a:moveTo>
                              <a:lnTo>
                                <a:pt x="6" y="18"/>
                              </a:lnTo>
                              <a:lnTo>
                                <a:pt x="0" y="28"/>
                              </a:lnTo>
                              <a:lnTo>
                                <a:pt x="3" y="43"/>
                              </a:lnTo>
                              <a:lnTo>
                                <a:pt x="17" y="50"/>
                              </a:lnTo>
                              <a:lnTo>
                                <a:pt x="15" y="73"/>
                              </a:lnTo>
                              <a:lnTo>
                                <a:pt x="53" y="97"/>
                              </a:lnTo>
                              <a:lnTo>
                                <a:pt x="54" y="140"/>
                              </a:lnTo>
                              <a:lnTo>
                                <a:pt x="84" y="196"/>
                              </a:lnTo>
                              <a:lnTo>
                                <a:pt x="124" y="155"/>
                              </a:lnTo>
                              <a:lnTo>
                                <a:pt x="121" y="136"/>
                              </a:lnTo>
                              <a:lnTo>
                                <a:pt x="120" y="136"/>
                              </a:lnTo>
                              <a:lnTo>
                                <a:pt x="121" y="135"/>
                              </a:lnTo>
                              <a:lnTo>
                                <a:pt x="127" y="124"/>
                              </a:lnTo>
                              <a:lnTo>
                                <a:pt x="128" y="123"/>
                              </a:lnTo>
                              <a:lnTo>
                                <a:pt x="129" y="123"/>
                              </a:lnTo>
                              <a:lnTo>
                                <a:pt x="142" y="124"/>
                              </a:lnTo>
                              <a:lnTo>
                                <a:pt x="141" y="116"/>
                              </a:lnTo>
                              <a:lnTo>
                                <a:pt x="134" y="111"/>
                              </a:lnTo>
                              <a:lnTo>
                                <a:pt x="133" y="110"/>
                              </a:lnTo>
                              <a:lnTo>
                                <a:pt x="133" y="109"/>
                              </a:lnTo>
                              <a:lnTo>
                                <a:pt x="142" y="98"/>
                              </a:lnTo>
                              <a:lnTo>
                                <a:pt x="142" y="77"/>
                              </a:lnTo>
                              <a:lnTo>
                                <a:pt x="114" y="49"/>
                              </a:lnTo>
                              <a:lnTo>
                                <a:pt x="88" y="44"/>
                              </a:lnTo>
                              <a:lnTo>
                                <a:pt x="87" y="43"/>
                              </a:lnTo>
                              <a:lnTo>
                                <a:pt x="87" y="43"/>
                              </a:lnTo>
                              <a:lnTo>
                                <a:pt x="68" y="31"/>
                              </a:lnTo>
                              <a:lnTo>
                                <a:pt x="67" y="30"/>
                              </a:lnTo>
                              <a:lnTo>
                                <a:pt x="67" y="30"/>
                              </a:lnTo>
                              <a:lnTo>
                                <a:pt x="62" y="13"/>
                              </a:lnTo>
                              <a:lnTo>
                                <a:pt x="52" y="12"/>
                              </a:lnTo>
                              <a:lnTo>
                                <a:pt x="43" y="17"/>
                              </a:lnTo>
                              <a:lnTo>
                                <a:pt x="42" y="18"/>
                              </a:lnTo>
                              <a:lnTo>
                                <a:pt x="40" y="17"/>
                              </a:lnTo>
                              <a:lnTo>
                                <a:pt x="21" y="0"/>
                              </a:lnTo>
                              <a:lnTo>
                                <a:pt x="21" y="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57" name="Freeform 168">
                          <a:extLst>
                            <a:ext uri="{FF2B5EF4-FFF2-40B4-BE49-F238E27FC236}">
                              <a16:creationId xmlns:a16="http://schemas.microsoft.com/office/drawing/2014/main" id="{4CF0BFF3-AA1B-43B7-A1F1-49BBA471D872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66841" y="1534930"/>
                          <a:ext cx="176476" cy="174424"/>
                        </a:xfrm>
                        <a:custGeom>
                          <a:avLst/>
                          <a:gdLst>
                            <a:gd name="T0" fmla="*/ 36 w 172"/>
                            <a:gd name="T1" fmla="*/ 0 h 170"/>
                            <a:gd name="T2" fmla="*/ 20 w 172"/>
                            <a:gd name="T3" fmla="*/ 7 h 170"/>
                            <a:gd name="T4" fmla="*/ 12 w 172"/>
                            <a:gd name="T5" fmla="*/ 23 h 170"/>
                            <a:gd name="T6" fmla="*/ 0 w 172"/>
                            <a:gd name="T7" fmla="*/ 26 h 170"/>
                            <a:gd name="T8" fmla="*/ 0 w 172"/>
                            <a:gd name="T9" fmla="*/ 45 h 170"/>
                            <a:gd name="T10" fmla="*/ 16 w 172"/>
                            <a:gd name="T11" fmla="*/ 55 h 170"/>
                            <a:gd name="T12" fmla="*/ 12 w 172"/>
                            <a:gd name="T13" fmla="*/ 92 h 170"/>
                            <a:gd name="T14" fmla="*/ 32 w 172"/>
                            <a:gd name="T15" fmla="*/ 109 h 170"/>
                            <a:gd name="T16" fmla="*/ 41 w 172"/>
                            <a:gd name="T17" fmla="*/ 104 h 170"/>
                            <a:gd name="T18" fmla="*/ 42 w 172"/>
                            <a:gd name="T19" fmla="*/ 104 h 170"/>
                            <a:gd name="T20" fmla="*/ 42 w 172"/>
                            <a:gd name="T21" fmla="*/ 104 h 170"/>
                            <a:gd name="T22" fmla="*/ 54 w 172"/>
                            <a:gd name="T23" fmla="*/ 106 h 170"/>
                            <a:gd name="T24" fmla="*/ 55 w 172"/>
                            <a:gd name="T25" fmla="*/ 106 h 170"/>
                            <a:gd name="T26" fmla="*/ 55 w 172"/>
                            <a:gd name="T27" fmla="*/ 107 h 170"/>
                            <a:gd name="T28" fmla="*/ 60 w 172"/>
                            <a:gd name="T29" fmla="*/ 124 h 170"/>
                            <a:gd name="T30" fmla="*/ 79 w 172"/>
                            <a:gd name="T31" fmla="*/ 136 h 170"/>
                            <a:gd name="T32" fmla="*/ 106 w 172"/>
                            <a:gd name="T33" fmla="*/ 142 h 170"/>
                            <a:gd name="T34" fmla="*/ 106 w 172"/>
                            <a:gd name="T35" fmla="*/ 142 h 170"/>
                            <a:gd name="T36" fmla="*/ 107 w 172"/>
                            <a:gd name="T37" fmla="*/ 143 h 170"/>
                            <a:gd name="T38" fmla="*/ 133 w 172"/>
                            <a:gd name="T39" fmla="*/ 170 h 170"/>
                            <a:gd name="T40" fmla="*/ 146 w 172"/>
                            <a:gd name="T41" fmla="*/ 159 h 170"/>
                            <a:gd name="T42" fmla="*/ 146 w 172"/>
                            <a:gd name="T43" fmla="*/ 158 h 170"/>
                            <a:gd name="T44" fmla="*/ 147 w 172"/>
                            <a:gd name="T45" fmla="*/ 158 h 170"/>
                            <a:gd name="T46" fmla="*/ 157 w 172"/>
                            <a:gd name="T47" fmla="*/ 158 h 170"/>
                            <a:gd name="T48" fmla="*/ 158 w 172"/>
                            <a:gd name="T49" fmla="*/ 158 h 170"/>
                            <a:gd name="T50" fmla="*/ 158 w 172"/>
                            <a:gd name="T51" fmla="*/ 159 h 170"/>
                            <a:gd name="T52" fmla="*/ 163 w 172"/>
                            <a:gd name="T53" fmla="*/ 165 h 170"/>
                            <a:gd name="T54" fmla="*/ 168 w 172"/>
                            <a:gd name="T55" fmla="*/ 164 h 170"/>
                            <a:gd name="T56" fmla="*/ 172 w 172"/>
                            <a:gd name="T57" fmla="*/ 157 h 170"/>
                            <a:gd name="T58" fmla="*/ 159 w 172"/>
                            <a:gd name="T59" fmla="*/ 141 h 170"/>
                            <a:gd name="T60" fmla="*/ 159 w 172"/>
                            <a:gd name="T61" fmla="*/ 140 h 170"/>
                            <a:gd name="T62" fmla="*/ 159 w 172"/>
                            <a:gd name="T63" fmla="*/ 140 h 170"/>
                            <a:gd name="T64" fmla="*/ 158 w 172"/>
                            <a:gd name="T65" fmla="*/ 124 h 170"/>
                            <a:gd name="T66" fmla="*/ 145 w 172"/>
                            <a:gd name="T67" fmla="*/ 120 h 170"/>
                            <a:gd name="T68" fmla="*/ 144 w 172"/>
                            <a:gd name="T69" fmla="*/ 119 h 170"/>
                            <a:gd name="T70" fmla="*/ 144 w 172"/>
                            <a:gd name="T71" fmla="*/ 119 h 170"/>
                            <a:gd name="T72" fmla="*/ 140 w 172"/>
                            <a:gd name="T73" fmla="*/ 110 h 170"/>
                            <a:gd name="T74" fmla="*/ 140 w 172"/>
                            <a:gd name="T75" fmla="*/ 110 h 170"/>
                            <a:gd name="T76" fmla="*/ 140 w 172"/>
                            <a:gd name="T77" fmla="*/ 110 h 170"/>
                            <a:gd name="T78" fmla="*/ 140 w 172"/>
                            <a:gd name="T79" fmla="*/ 96 h 170"/>
                            <a:gd name="T80" fmla="*/ 134 w 172"/>
                            <a:gd name="T81" fmla="*/ 89 h 170"/>
                            <a:gd name="T82" fmla="*/ 133 w 172"/>
                            <a:gd name="T83" fmla="*/ 88 h 170"/>
                            <a:gd name="T84" fmla="*/ 133 w 172"/>
                            <a:gd name="T85" fmla="*/ 87 h 170"/>
                            <a:gd name="T86" fmla="*/ 133 w 172"/>
                            <a:gd name="T87" fmla="*/ 59 h 170"/>
                            <a:gd name="T88" fmla="*/ 90 w 172"/>
                            <a:gd name="T89" fmla="*/ 2 h 170"/>
                            <a:gd name="T90" fmla="*/ 36 w 172"/>
                            <a:gd name="T91" fmla="*/ 0 h 170"/>
                            <a:gd name="T92" fmla="*/ 36 w 172"/>
                            <a:gd name="T93" fmla="*/ 0 h 17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</a:cxnLst>
                          <a:rect l="0" t="0" r="r" b="b"/>
                          <a:pathLst>
                            <a:path w="172" h="170">
                              <a:moveTo>
                                <a:pt x="36" y="0"/>
                              </a:moveTo>
                              <a:lnTo>
                                <a:pt x="20" y="7"/>
                              </a:lnTo>
                              <a:lnTo>
                                <a:pt x="12" y="23"/>
                              </a:lnTo>
                              <a:lnTo>
                                <a:pt x="0" y="26"/>
                              </a:lnTo>
                              <a:lnTo>
                                <a:pt x="0" y="45"/>
                              </a:lnTo>
                              <a:lnTo>
                                <a:pt x="16" y="55"/>
                              </a:lnTo>
                              <a:lnTo>
                                <a:pt x="12" y="92"/>
                              </a:lnTo>
                              <a:lnTo>
                                <a:pt x="32" y="109"/>
                              </a:lnTo>
                              <a:lnTo>
                                <a:pt x="41" y="104"/>
                              </a:lnTo>
                              <a:lnTo>
                                <a:pt x="42" y="104"/>
                              </a:lnTo>
                              <a:lnTo>
                                <a:pt x="42" y="104"/>
                              </a:lnTo>
                              <a:lnTo>
                                <a:pt x="54" y="106"/>
                              </a:lnTo>
                              <a:lnTo>
                                <a:pt x="55" y="106"/>
                              </a:lnTo>
                              <a:lnTo>
                                <a:pt x="55" y="107"/>
                              </a:lnTo>
                              <a:lnTo>
                                <a:pt x="60" y="124"/>
                              </a:lnTo>
                              <a:lnTo>
                                <a:pt x="79" y="136"/>
                              </a:lnTo>
                              <a:lnTo>
                                <a:pt x="106" y="142"/>
                              </a:lnTo>
                              <a:lnTo>
                                <a:pt x="106" y="142"/>
                              </a:lnTo>
                              <a:lnTo>
                                <a:pt x="107" y="143"/>
                              </a:lnTo>
                              <a:lnTo>
                                <a:pt x="133" y="170"/>
                              </a:lnTo>
                              <a:lnTo>
                                <a:pt x="146" y="159"/>
                              </a:lnTo>
                              <a:lnTo>
                                <a:pt x="146" y="158"/>
                              </a:lnTo>
                              <a:lnTo>
                                <a:pt x="147" y="158"/>
                              </a:lnTo>
                              <a:lnTo>
                                <a:pt x="157" y="158"/>
                              </a:lnTo>
                              <a:lnTo>
                                <a:pt x="158" y="158"/>
                              </a:lnTo>
                              <a:lnTo>
                                <a:pt x="158" y="159"/>
                              </a:lnTo>
                              <a:lnTo>
                                <a:pt x="163" y="165"/>
                              </a:lnTo>
                              <a:lnTo>
                                <a:pt x="168" y="164"/>
                              </a:lnTo>
                              <a:lnTo>
                                <a:pt x="172" y="157"/>
                              </a:lnTo>
                              <a:lnTo>
                                <a:pt x="159" y="141"/>
                              </a:lnTo>
                              <a:lnTo>
                                <a:pt x="159" y="140"/>
                              </a:lnTo>
                              <a:lnTo>
                                <a:pt x="159" y="140"/>
                              </a:lnTo>
                              <a:lnTo>
                                <a:pt x="158" y="124"/>
                              </a:lnTo>
                              <a:lnTo>
                                <a:pt x="145" y="120"/>
                              </a:lnTo>
                              <a:lnTo>
                                <a:pt x="144" y="119"/>
                              </a:lnTo>
                              <a:lnTo>
                                <a:pt x="144" y="119"/>
                              </a:lnTo>
                              <a:lnTo>
                                <a:pt x="140" y="110"/>
                              </a:lnTo>
                              <a:lnTo>
                                <a:pt x="140" y="110"/>
                              </a:lnTo>
                              <a:lnTo>
                                <a:pt x="140" y="110"/>
                              </a:lnTo>
                              <a:lnTo>
                                <a:pt x="140" y="96"/>
                              </a:lnTo>
                              <a:lnTo>
                                <a:pt x="134" y="89"/>
                              </a:lnTo>
                              <a:lnTo>
                                <a:pt x="133" y="88"/>
                              </a:lnTo>
                              <a:lnTo>
                                <a:pt x="133" y="87"/>
                              </a:lnTo>
                              <a:lnTo>
                                <a:pt x="133" y="59"/>
                              </a:lnTo>
                              <a:lnTo>
                                <a:pt x="90" y="2"/>
                              </a:lnTo>
                              <a:lnTo>
                                <a:pt x="36" y="0"/>
                              </a:lnTo>
                              <a:lnTo>
                                <a:pt x="36" y="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58" name="Freeform 169">
                          <a:extLst>
                            <a:ext uri="{FF2B5EF4-FFF2-40B4-BE49-F238E27FC236}">
                              <a16:creationId xmlns:a16="http://schemas.microsoft.com/office/drawing/2014/main" id="{E2FC7548-A233-4BAD-97FF-85952A2AAE0D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50424" y="1355376"/>
                          <a:ext cx="185710" cy="177502"/>
                        </a:xfrm>
                        <a:custGeom>
                          <a:avLst/>
                          <a:gdLst>
                            <a:gd name="T0" fmla="*/ 114 w 181"/>
                            <a:gd name="T1" fmla="*/ 43 h 173"/>
                            <a:gd name="T2" fmla="*/ 86 w 181"/>
                            <a:gd name="T3" fmla="*/ 41 h 173"/>
                            <a:gd name="T4" fmla="*/ 67 w 181"/>
                            <a:gd name="T5" fmla="*/ 22 h 173"/>
                            <a:gd name="T6" fmla="*/ 69 w 181"/>
                            <a:gd name="T7" fmla="*/ 4 h 173"/>
                            <a:gd name="T8" fmla="*/ 50 w 181"/>
                            <a:gd name="T9" fmla="*/ 0 h 173"/>
                            <a:gd name="T10" fmla="*/ 39 w 181"/>
                            <a:gd name="T11" fmla="*/ 27 h 173"/>
                            <a:gd name="T12" fmla="*/ 0 w 181"/>
                            <a:gd name="T13" fmla="*/ 61 h 173"/>
                            <a:gd name="T14" fmla="*/ 3 w 181"/>
                            <a:gd name="T15" fmla="*/ 82 h 173"/>
                            <a:gd name="T16" fmla="*/ 23 w 181"/>
                            <a:gd name="T17" fmla="*/ 81 h 173"/>
                            <a:gd name="T18" fmla="*/ 39 w 181"/>
                            <a:gd name="T19" fmla="*/ 94 h 173"/>
                            <a:gd name="T20" fmla="*/ 45 w 181"/>
                            <a:gd name="T21" fmla="*/ 122 h 173"/>
                            <a:gd name="T22" fmla="*/ 63 w 181"/>
                            <a:gd name="T23" fmla="*/ 120 h 173"/>
                            <a:gd name="T24" fmla="*/ 84 w 181"/>
                            <a:gd name="T25" fmla="*/ 124 h 173"/>
                            <a:gd name="T26" fmla="*/ 84 w 181"/>
                            <a:gd name="T27" fmla="*/ 137 h 173"/>
                            <a:gd name="T28" fmla="*/ 58 w 181"/>
                            <a:gd name="T29" fmla="*/ 171 h 173"/>
                            <a:gd name="T30" fmla="*/ 107 w 181"/>
                            <a:gd name="T31" fmla="*/ 173 h 173"/>
                            <a:gd name="T32" fmla="*/ 168 w 181"/>
                            <a:gd name="T33" fmla="*/ 129 h 173"/>
                            <a:gd name="T34" fmla="*/ 163 w 181"/>
                            <a:gd name="T35" fmla="*/ 121 h 173"/>
                            <a:gd name="T36" fmla="*/ 163 w 181"/>
                            <a:gd name="T37" fmla="*/ 121 h 173"/>
                            <a:gd name="T38" fmla="*/ 163 w 181"/>
                            <a:gd name="T39" fmla="*/ 120 h 173"/>
                            <a:gd name="T40" fmla="*/ 163 w 181"/>
                            <a:gd name="T41" fmla="*/ 110 h 173"/>
                            <a:gd name="T42" fmla="*/ 163 w 181"/>
                            <a:gd name="T43" fmla="*/ 109 h 173"/>
                            <a:gd name="T44" fmla="*/ 163 w 181"/>
                            <a:gd name="T45" fmla="*/ 109 h 173"/>
                            <a:gd name="T46" fmla="*/ 170 w 181"/>
                            <a:gd name="T47" fmla="*/ 102 h 173"/>
                            <a:gd name="T48" fmla="*/ 170 w 181"/>
                            <a:gd name="T49" fmla="*/ 102 h 173"/>
                            <a:gd name="T50" fmla="*/ 171 w 181"/>
                            <a:gd name="T51" fmla="*/ 101 h 173"/>
                            <a:gd name="T52" fmla="*/ 181 w 181"/>
                            <a:gd name="T53" fmla="*/ 95 h 173"/>
                            <a:gd name="T54" fmla="*/ 180 w 181"/>
                            <a:gd name="T55" fmla="*/ 87 h 173"/>
                            <a:gd name="T56" fmla="*/ 168 w 181"/>
                            <a:gd name="T57" fmla="*/ 86 h 173"/>
                            <a:gd name="T58" fmla="*/ 161 w 181"/>
                            <a:gd name="T59" fmla="*/ 92 h 173"/>
                            <a:gd name="T60" fmla="*/ 160 w 181"/>
                            <a:gd name="T61" fmla="*/ 92 h 173"/>
                            <a:gd name="T62" fmla="*/ 159 w 181"/>
                            <a:gd name="T63" fmla="*/ 92 h 173"/>
                            <a:gd name="T64" fmla="*/ 148 w 181"/>
                            <a:gd name="T65" fmla="*/ 85 h 173"/>
                            <a:gd name="T66" fmla="*/ 147 w 181"/>
                            <a:gd name="T67" fmla="*/ 85 h 173"/>
                            <a:gd name="T68" fmla="*/ 147 w 181"/>
                            <a:gd name="T69" fmla="*/ 85 h 173"/>
                            <a:gd name="T70" fmla="*/ 140 w 181"/>
                            <a:gd name="T71" fmla="*/ 72 h 173"/>
                            <a:gd name="T72" fmla="*/ 140 w 181"/>
                            <a:gd name="T73" fmla="*/ 71 h 173"/>
                            <a:gd name="T74" fmla="*/ 140 w 181"/>
                            <a:gd name="T75" fmla="*/ 71 h 173"/>
                            <a:gd name="T76" fmla="*/ 140 w 181"/>
                            <a:gd name="T77" fmla="*/ 59 h 173"/>
                            <a:gd name="T78" fmla="*/ 139 w 181"/>
                            <a:gd name="T79" fmla="*/ 58 h 173"/>
                            <a:gd name="T80" fmla="*/ 140 w 181"/>
                            <a:gd name="T81" fmla="*/ 58 h 173"/>
                            <a:gd name="T82" fmla="*/ 146 w 181"/>
                            <a:gd name="T83" fmla="*/ 47 h 173"/>
                            <a:gd name="T84" fmla="*/ 117 w 181"/>
                            <a:gd name="T85" fmla="*/ 45 h 173"/>
                            <a:gd name="T86" fmla="*/ 117 w 181"/>
                            <a:gd name="T87" fmla="*/ 45 h 173"/>
                            <a:gd name="T88" fmla="*/ 116 w 181"/>
                            <a:gd name="T89" fmla="*/ 45 h 173"/>
                            <a:gd name="T90" fmla="*/ 114 w 181"/>
                            <a:gd name="T91" fmla="*/ 43 h 173"/>
                            <a:gd name="T92" fmla="*/ 114 w 181"/>
                            <a:gd name="T93" fmla="*/ 43 h 17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</a:cxnLst>
                          <a:rect l="0" t="0" r="r" b="b"/>
                          <a:pathLst>
                            <a:path w="181" h="173">
                              <a:moveTo>
                                <a:pt x="114" y="43"/>
                              </a:moveTo>
                              <a:lnTo>
                                <a:pt x="86" y="41"/>
                              </a:lnTo>
                              <a:lnTo>
                                <a:pt x="67" y="22"/>
                              </a:lnTo>
                              <a:lnTo>
                                <a:pt x="69" y="4"/>
                              </a:lnTo>
                              <a:lnTo>
                                <a:pt x="50" y="0"/>
                              </a:lnTo>
                              <a:lnTo>
                                <a:pt x="39" y="27"/>
                              </a:lnTo>
                              <a:lnTo>
                                <a:pt x="0" y="61"/>
                              </a:lnTo>
                              <a:lnTo>
                                <a:pt x="3" y="82"/>
                              </a:lnTo>
                              <a:lnTo>
                                <a:pt x="23" y="81"/>
                              </a:lnTo>
                              <a:lnTo>
                                <a:pt x="39" y="94"/>
                              </a:lnTo>
                              <a:lnTo>
                                <a:pt x="45" y="122"/>
                              </a:lnTo>
                              <a:lnTo>
                                <a:pt x="63" y="120"/>
                              </a:lnTo>
                              <a:lnTo>
                                <a:pt x="84" y="124"/>
                              </a:lnTo>
                              <a:lnTo>
                                <a:pt x="84" y="137"/>
                              </a:lnTo>
                              <a:lnTo>
                                <a:pt x="58" y="171"/>
                              </a:lnTo>
                              <a:lnTo>
                                <a:pt x="107" y="173"/>
                              </a:lnTo>
                              <a:lnTo>
                                <a:pt x="168" y="129"/>
                              </a:lnTo>
                              <a:lnTo>
                                <a:pt x="163" y="121"/>
                              </a:lnTo>
                              <a:lnTo>
                                <a:pt x="163" y="121"/>
                              </a:lnTo>
                              <a:lnTo>
                                <a:pt x="163" y="120"/>
                              </a:lnTo>
                              <a:lnTo>
                                <a:pt x="163" y="110"/>
                              </a:lnTo>
                              <a:lnTo>
                                <a:pt x="163" y="109"/>
                              </a:lnTo>
                              <a:lnTo>
                                <a:pt x="163" y="109"/>
                              </a:lnTo>
                              <a:lnTo>
                                <a:pt x="170" y="102"/>
                              </a:lnTo>
                              <a:lnTo>
                                <a:pt x="170" y="102"/>
                              </a:lnTo>
                              <a:lnTo>
                                <a:pt x="171" y="101"/>
                              </a:lnTo>
                              <a:lnTo>
                                <a:pt x="181" y="95"/>
                              </a:lnTo>
                              <a:lnTo>
                                <a:pt x="180" y="87"/>
                              </a:lnTo>
                              <a:lnTo>
                                <a:pt x="168" y="86"/>
                              </a:lnTo>
                              <a:lnTo>
                                <a:pt x="161" y="92"/>
                              </a:lnTo>
                              <a:lnTo>
                                <a:pt x="160" y="92"/>
                              </a:lnTo>
                              <a:lnTo>
                                <a:pt x="159" y="92"/>
                              </a:lnTo>
                              <a:lnTo>
                                <a:pt x="148" y="85"/>
                              </a:lnTo>
                              <a:lnTo>
                                <a:pt x="147" y="85"/>
                              </a:lnTo>
                              <a:lnTo>
                                <a:pt x="147" y="85"/>
                              </a:lnTo>
                              <a:lnTo>
                                <a:pt x="140" y="72"/>
                              </a:lnTo>
                              <a:lnTo>
                                <a:pt x="140" y="71"/>
                              </a:lnTo>
                              <a:lnTo>
                                <a:pt x="140" y="71"/>
                              </a:lnTo>
                              <a:lnTo>
                                <a:pt x="140" y="59"/>
                              </a:lnTo>
                              <a:lnTo>
                                <a:pt x="139" y="58"/>
                              </a:lnTo>
                              <a:lnTo>
                                <a:pt x="140" y="58"/>
                              </a:lnTo>
                              <a:lnTo>
                                <a:pt x="146" y="47"/>
                              </a:lnTo>
                              <a:lnTo>
                                <a:pt x="117" y="45"/>
                              </a:lnTo>
                              <a:lnTo>
                                <a:pt x="117" y="45"/>
                              </a:lnTo>
                              <a:lnTo>
                                <a:pt x="116" y="45"/>
                              </a:lnTo>
                              <a:lnTo>
                                <a:pt x="114" y="43"/>
                              </a:lnTo>
                              <a:lnTo>
                                <a:pt x="114" y="43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59" name="Freeform 170">
                          <a:extLst>
                            <a:ext uri="{FF2B5EF4-FFF2-40B4-BE49-F238E27FC236}">
                              <a16:creationId xmlns:a16="http://schemas.microsoft.com/office/drawing/2014/main" id="{FB35B814-54ED-44CC-B98E-81BF05582C37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70469" y="1224045"/>
                          <a:ext cx="227777" cy="194944"/>
                        </a:xfrm>
                        <a:custGeom>
                          <a:avLst/>
                          <a:gdLst>
                            <a:gd name="T0" fmla="*/ 82 w 222"/>
                            <a:gd name="T1" fmla="*/ 4 h 190"/>
                            <a:gd name="T2" fmla="*/ 78 w 222"/>
                            <a:gd name="T3" fmla="*/ 12 h 190"/>
                            <a:gd name="T4" fmla="*/ 46 w 222"/>
                            <a:gd name="T5" fmla="*/ 31 h 190"/>
                            <a:gd name="T6" fmla="*/ 29 w 222"/>
                            <a:gd name="T7" fmla="*/ 57 h 190"/>
                            <a:gd name="T8" fmla="*/ 11 w 222"/>
                            <a:gd name="T9" fmla="*/ 94 h 190"/>
                            <a:gd name="T10" fmla="*/ 9 w 222"/>
                            <a:gd name="T11" fmla="*/ 123 h 190"/>
                            <a:gd name="T12" fmla="*/ 14 w 222"/>
                            <a:gd name="T13" fmla="*/ 141 h 190"/>
                            <a:gd name="T14" fmla="*/ 1 w 222"/>
                            <a:gd name="T15" fmla="*/ 157 h 190"/>
                            <a:gd name="T16" fmla="*/ 0 w 222"/>
                            <a:gd name="T17" fmla="*/ 169 h 190"/>
                            <a:gd name="T18" fmla="*/ 1 w 222"/>
                            <a:gd name="T19" fmla="*/ 170 h 190"/>
                            <a:gd name="T20" fmla="*/ 32 w 222"/>
                            <a:gd name="T21" fmla="*/ 171 h 190"/>
                            <a:gd name="T22" fmla="*/ 45 w 222"/>
                            <a:gd name="T23" fmla="*/ 166 h 190"/>
                            <a:gd name="T24" fmla="*/ 45 w 222"/>
                            <a:gd name="T25" fmla="*/ 166 h 190"/>
                            <a:gd name="T26" fmla="*/ 45 w 222"/>
                            <a:gd name="T27" fmla="*/ 166 h 190"/>
                            <a:gd name="T28" fmla="*/ 70 w 222"/>
                            <a:gd name="T29" fmla="*/ 166 h 190"/>
                            <a:gd name="T30" fmla="*/ 83 w 222"/>
                            <a:gd name="T31" fmla="*/ 154 h 190"/>
                            <a:gd name="T32" fmla="*/ 84 w 222"/>
                            <a:gd name="T33" fmla="*/ 153 h 190"/>
                            <a:gd name="T34" fmla="*/ 85 w 222"/>
                            <a:gd name="T35" fmla="*/ 153 h 190"/>
                            <a:gd name="T36" fmla="*/ 103 w 222"/>
                            <a:gd name="T37" fmla="*/ 155 h 190"/>
                            <a:gd name="T38" fmla="*/ 104 w 222"/>
                            <a:gd name="T39" fmla="*/ 155 h 190"/>
                            <a:gd name="T40" fmla="*/ 105 w 222"/>
                            <a:gd name="T41" fmla="*/ 156 h 190"/>
                            <a:gd name="T42" fmla="*/ 112 w 222"/>
                            <a:gd name="T43" fmla="*/ 182 h 190"/>
                            <a:gd name="T44" fmla="*/ 119 w 222"/>
                            <a:gd name="T45" fmla="*/ 178 h 190"/>
                            <a:gd name="T46" fmla="*/ 120 w 222"/>
                            <a:gd name="T47" fmla="*/ 178 h 190"/>
                            <a:gd name="T48" fmla="*/ 120 w 222"/>
                            <a:gd name="T49" fmla="*/ 178 h 190"/>
                            <a:gd name="T50" fmla="*/ 134 w 222"/>
                            <a:gd name="T51" fmla="*/ 180 h 190"/>
                            <a:gd name="T52" fmla="*/ 134 w 222"/>
                            <a:gd name="T53" fmla="*/ 180 h 190"/>
                            <a:gd name="T54" fmla="*/ 135 w 222"/>
                            <a:gd name="T55" fmla="*/ 181 h 190"/>
                            <a:gd name="T56" fmla="*/ 141 w 222"/>
                            <a:gd name="T57" fmla="*/ 190 h 190"/>
                            <a:gd name="T58" fmla="*/ 177 w 222"/>
                            <a:gd name="T59" fmla="*/ 186 h 190"/>
                            <a:gd name="T60" fmla="*/ 198 w 222"/>
                            <a:gd name="T61" fmla="*/ 173 h 190"/>
                            <a:gd name="T62" fmla="*/ 221 w 222"/>
                            <a:gd name="T63" fmla="*/ 140 h 190"/>
                            <a:gd name="T64" fmla="*/ 222 w 222"/>
                            <a:gd name="T65" fmla="*/ 131 h 190"/>
                            <a:gd name="T66" fmla="*/ 206 w 222"/>
                            <a:gd name="T67" fmla="*/ 112 h 190"/>
                            <a:gd name="T68" fmla="*/ 205 w 222"/>
                            <a:gd name="T69" fmla="*/ 112 h 190"/>
                            <a:gd name="T70" fmla="*/ 205 w 222"/>
                            <a:gd name="T71" fmla="*/ 111 h 190"/>
                            <a:gd name="T72" fmla="*/ 203 w 222"/>
                            <a:gd name="T73" fmla="*/ 93 h 190"/>
                            <a:gd name="T74" fmla="*/ 164 w 222"/>
                            <a:gd name="T75" fmla="*/ 86 h 190"/>
                            <a:gd name="T76" fmla="*/ 163 w 222"/>
                            <a:gd name="T77" fmla="*/ 86 h 190"/>
                            <a:gd name="T78" fmla="*/ 163 w 222"/>
                            <a:gd name="T79" fmla="*/ 86 h 190"/>
                            <a:gd name="T80" fmla="*/ 144 w 222"/>
                            <a:gd name="T81" fmla="*/ 72 h 190"/>
                            <a:gd name="T82" fmla="*/ 143 w 222"/>
                            <a:gd name="T83" fmla="*/ 72 h 190"/>
                            <a:gd name="T84" fmla="*/ 143 w 222"/>
                            <a:gd name="T85" fmla="*/ 71 h 190"/>
                            <a:gd name="T86" fmla="*/ 118 w 222"/>
                            <a:gd name="T87" fmla="*/ 23 h 190"/>
                            <a:gd name="T88" fmla="*/ 118 w 222"/>
                            <a:gd name="T89" fmla="*/ 23 h 190"/>
                            <a:gd name="T90" fmla="*/ 118 w 222"/>
                            <a:gd name="T91" fmla="*/ 23 h 190"/>
                            <a:gd name="T92" fmla="*/ 110 w 222"/>
                            <a:gd name="T93" fmla="*/ 4 h 190"/>
                            <a:gd name="T94" fmla="*/ 102 w 222"/>
                            <a:gd name="T95" fmla="*/ 0 h 190"/>
                            <a:gd name="T96" fmla="*/ 86 w 222"/>
                            <a:gd name="T97" fmla="*/ 4 h 190"/>
                            <a:gd name="T98" fmla="*/ 86 w 222"/>
                            <a:gd name="T99" fmla="*/ 4 h 190"/>
                            <a:gd name="T100" fmla="*/ 86 w 222"/>
                            <a:gd name="T101" fmla="*/ 4 h 190"/>
                            <a:gd name="T102" fmla="*/ 82 w 222"/>
                            <a:gd name="T103" fmla="*/ 4 h 190"/>
                            <a:gd name="T104" fmla="*/ 82 w 222"/>
                            <a:gd name="T105" fmla="*/ 4 h 19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</a:cxnLst>
                          <a:rect l="0" t="0" r="r" b="b"/>
                          <a:pathLst>
                            <a:path w="222" h="190">
                              <a:moveTo>
                                <a:pt x="82" y="4"/>
                              </a:moveTo>
                              <a:lnTo>
                                <a:pt x="78" y="12"/>
                              </a:lnTo>
                              <a:lnTo>
                                <a:pt x="46" y="31"/>
                              </a:lnTo>
                              <a:lnTo>
                                <a:pt x="29" y="57"/>
                              </a:lnTo>
                              <a:lnTo>
                                <a:pt x="11" y="94"/>
                              </a:lnTo>
                              <a:lnTo>
                                <a:pt x="9" y="123"/>
                              </a:lnTo>
                              <a:lnTo>
                                <a:pt x="14" y="141"/>
                              </a:lnTo>
                              <a:lnTo>
                                <a:pt x="1" y="157"/>
                              </a:lnTo>
                              <a:lnTo>
                                <a:pt x="0" y="169"/>
                              </a:lnTo>
                              <a:lnTo>
                                <a:pt x="1" y="170"/>
                              </a:lnTo>
                              <a:lnTo>
                                <a:pt x="32" y="171"/>
                              </a:lnTo>
                              <a:lnTo>
                                <a:pt x="45" y="166"/>
                              </a:lnTo>
                              <a:lnTo>
                                <a:pt x="45" y="166"/>
                              </a:lnTo>
                              <a:lnTo>
                                <a:pt x="45" y="166"/>
                              </a:lnTo>
                              <a:lnTo>
                                <a:pt x="70" y="166"/>
                              </a:lnTo>
                              <a:lnTo>
                                <a:pt x="83" y="154"/>
                              </a:lnTo>
                              <a:lnTo>
                                <a:pt x="84" y="153"/>
                              </a:lnTo>
                              <a:lnTo>
                                <a:pt x="85" y="153"/>
                              </a:lnTo>
                              <a:lnTo>
                                <a:pt x="103" y="155"/>
                              </a:lnTo>
                              <a:lnTo>
                                <a:pt x="104" y="155"/>
                              </a:lnTo>
                              <a:lnTo>
                                <a:pt x="105" y="156"/>
                              </a:lnTo>
                              <a:lnTo>
                                <a:pt x="112" y="182"/>
                              </a:lnTo>
                              <a:lnTo>
                                <a:pt x="119" y="178"/>
                              </a:lnTo>
                              <a:lnTo>
                                <a:pt x="120" y="178"/>
                              </a:lnTo>
                              <a:lnTo>
                                <a:pt x="120" y="178"/>
                              </a:lnTo>
                              <a:lnTo>
                                <a:pt x="134" y="180"/>
                              </a:lnTo>
                              <a:lnTo>
                                <a:pt x="134" y="180"/>
                              </a:lnTo>
                              <a:lnTo>
                                <a:pt x="135" y="181"/>
                              </a:lnTo>
                              <a:lnTo>
                                <a:pt x="141" y="190"/>
                              </a:lnTo>
                              <a:lnTo>
                                <a:pt x="177" y="186"/>
                              </a:lnTo>
                              <a:lnTo>
                                <a:pt x="198" y="173"/>
                              </a:lnTo>
                              <a:lnTo>
                                <a:pt x="221" y="140"/>
                              </a:lnTo>
                              <a:lnTo>
                                <a:pt x="222" y="131"/>
                              </a:lnTo>
                              <a:lnTo>
                                <a:pt x="206" y="112"/>
                              </a:lnTo>
                              <a:lnTo>
                                <a:pt x="205" y="112"/>
                              </a:lnTo>
                              <a:lnTo>
                                <a:pt x="205" y="111"/>
                              </a:lnTo>
                              <a:lnTo>
                                <a:pt x="203" y="93"/>
                              </a:lnTo>
                              <a:lnTo>
                                <a:pt x="164" y="86"/>
                              </a:lnTo>
                              <a:lnTo>
                                <a:pt x="163" y="86"/>
                              </a:lnTo>
                              <a:lnTo>
                                <a:pt x="163" y="86"/>
                              </a:lnTo>
                              <a:lnTo>
                                <a:pt x="144" y="72"/>
                              </a:lnTo>
                              <a:lnTo>
                                <a:pt x="143" y="72"/>
                              </a:lnTo>
                              <a:lnTo>
                                <a:pt x="143" y="71"/>
                              </a:lnTo>
                              <a:lnTo>
                                <a:pt x="118" y="23"/>
                              </a:lnTo>
                              <a:lnTo>
                                <a:pt x="118" y="23"/>
                              </a:lnTo>
                              <a:lnTo>
                                <a:pt x="118" y="23"/>
                              </a:lnTo>
                              <a:lnTo>
                                <a:pt x="110" y="4"/>
                              </a:lnTo>
                              <a:lnTo>
                                <a:pt x="102" y="0"/>
                              </a:lnTo>
                              <a:lnTo>
                                <a:pt x="86" y="4"/>
                              </a:lnTo>
                              <a:lnTo>
                                <a:pt x="86" y="4"/>
                              </a:lnTo>
                              <a:lnTo>
                                <a:pt x="86" y="4"/>
                              </a:lnTo>
                              <a:lnTo>
                                <a:pt x="82" y="4"/>
                              </a:lnTo>
                              <a:lnTo>
                                <a:pt x="82" y="4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60" name="Freeform 171">
                          <a:extLst>
                            <a:ext uri="{FF2B5EF4-FFF2-40B4-BE49-F238E27FC236}">
                              <a16:creationId xmlns:a16="http://schemas.microsoft.com/office/drawing/2014/main" id="{7826F44B-02B4-460C-9CA5-4A25E4AB182F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63287" y="1489785"/>
                          <a:ext cx="137487" cy="170320"/>
                        </a:xfrm>
                        <a:custGeom>
                          <a:avLst/>
                          <a:gdLst>
                            <a:gd name="T0" fmla="*/ 0 w 134"/>
                            <a:gd name="T1" fmla="*/ 45 h 166"/>
                            <a:gd name="T2" fmla="*/ 43 w 134"/>
                            <a:gd name="T3" fmla="*/ 101 h 166"/>
                            <a:gd name="T4" fmla="*/ 43 w 134"/>
                            <a:gd name="T5" fmla="*/ 101 h 166"/>
                            <a:gd name="T6" fmla="*/ 43 w 134"/>
                            <a:gd name="T7" fmla="*/ 131 h 166"/>
                            <a:gd name="T8" fmla="*/ 49 w 134"/>
                            <a:gd name="T9" fmla="*/ 138 h 166"/>
                            <a:gd name="T10" fmla="*/ 49 w 134"/>
                            <a:gd name="T11" fmla="*/ 139 h 166"/>
                            <a:gd name="T12" fmla="*/ 49 w 134"/>
                            <a:gd name="T13" fmla="*/ 139 h 166"/>
                            <a:gd name="T14" fmla="*/ 49 w 134"/>
                            <a:gd name="T15" fmla="*/ 153 h 166"/>
                            <a:gd name="T16" fmla="*/ 53 w 134"/>
                            <a:gd name="T17" fmla="*/ 161 h 166"/>
                            <a:gd name="T18" fmla="*/ 66 w 134"/>
                            <a:gd name="T19" fmla="*/ 165 h 166"/>
                            <a:gd name="T20" fmla="*/ 86 w 134"/>
                            <a:gd name="T21" fmla="*/ 166 h 166"/>
                            <a:gd name="T22" fmla="*/ 92 w 134"/>
                            <a:gd name="T23" fmla="*/ 155 h 166"/>
                            <a:gd name="T24" fmla="*/ 92 w 134"/>
                            <a:gd name="T25" fmla="*/ 154 h 166"/>
                            <a:gd name="T26" fmla="*/ 93 w 134"/>
                            <a:gd name="T27" fmla="*/ 154 h 166"/>
                            <a:gd name="T28" fmla="*/ 130 w 134"/>
                            <a:gd name="T29" fmla="*/ 123 h 166"/>
                            <a:gd name="T30" fmla="*/ 134 w 134"/>
                            <a:gd name="T31" fmla="*/ 93 h 166"/>
                            <a:gd name="T32" fmla="*/ 118 w 134"/>
                            <a:gd name="T33" fmla="*/ 78 h 166"/>
                            <a:gd name="T34" fmla="*/ 118 w 134"/>
                            <a:gd name="T35" fmla="*/ 78 h 166"/>
                            <a:gd name="T36" fmla="*/ 118 w 134"/>
                            <a:gd name="T37" fmla="*/ 77 h 166"/>
                            <a:gd name="T38" fmla="*/ 109 w 134"/>
                            <a:gd name="T39" fmla="*/ 59 h 166"/>
                            <a:gd name="T40" fmla="*/ 109 w 134"/>
                            <a:gd name="T41" fmla="*/ 59 h 166"/>
                            <a:gd name="T42" fmla="*/ 109 w 134"/>
                            <a:gd name="T43" fmla="*/ 58 h 166"/>
                            <a:gd name="T44" fmla="*/ 110 w 134"/>
                            <a:gd name="T45" fmla="*/ 27 h 166"/>
                            <a:gd name="T46" fmla="*/ 60 w 134"/>
                            <a:gd name="T47" fmla="*/ 0 h 166"/>
                            <a:gd name="T48" fmla="*/ 0 w 134"/>
                            <a:gd name="T49" fmla="*/ 45 h 166"/>
                            <a:gd name="T50" fmla="*/ 0 w 134"/>
                            <a:gd name="T51" fmla="*/ 45 h 16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</a:cxnLst>
                          <a:rect l="0" t="0" r="r" b="b"/>
                          <a:pathLst>
                            <a:path w="134" h="166">
                              <a:moveTo>
                                <a:pt x="0" y="45"/>
                              </a:moveTo>
                              <a:lnTo>
                                <a:pt x="43" y="101"/>
                              </a:lnTo>
                              <a:lnTo>
                                <a:pt x="43" y="101"/>
                              </a:lnTo>
                              <a:lnTo>
                                <a:pt x="43" y="131"/>
                              </a:lnTo>
                              <a:lnTo>
                                <a:pt x="49" y="138"/>
                              </a:lnTo>
                              <a:lnTo>
                                <a:pt x="49" y="139"/>
                              </a:lnTo>
                              <a:lnTo>
                                <a:pt x="49" y="139"/>
                              </a:lnTo>
                              <a:lnTo>
                                <a:pt x="49" y="153"/>
                              </a:lnTo>
                              <a:lnTo>
                                <a:pt x="53" y="161"/>
                              </a:lnTo>
                              <a:lnTo>
                                <a:pt x="66" y="165"/>
                              </a:lnTo>
                              <a:lnTo>
                                <a:pt x="86" y="166"/>
                              </a:lnTo>
                              <a:lnTo>
                                <a:pt x="92" y="155"/>
                              </a:lnTo>
                              <a:lnTo>
                                <a:pt x="92" y="154"/>
                              </a:lnTo>
                              <a:lnTo>
                                <a:pt x="93" y="154"/>
                              </a:lnTo>
                              <a:lnTo>
                                <a:pt x="130" y="123"/>
                              </a:lnTo>
                              <a:lnTo>
                                <a:pt x="134" y="93"/>
                              </a:lnTo>
                              <a:lnTo>
                                <a:pt x="118" y="78"/>
                              </a:lnTo>
                              <a:lnTo>
                                <a:pt x="118" y="78"/>
                              </a:lnTo>
                              <a:lnTo>
                                <a:pt x="118" y="77"/>
                              </a:lnTo>
                              <a:lnTo>
                                <a:pt x="109" y="59"/>
                              </a:lnTo>
                              <a:lnTo>
                                <a:pt x="109" y="59"/>
                              </a:lnTo>
                              <a:lnTo>
                                <a:pt x="109" y="58"/>
                              </a:lnTo>
                              <a:lnTo>
                                <a:pt x="110" y="27"/>
                              </a:lnTo>
                              <a:lnTo>
                                <a:pt x="60" y="0"/>
                              </a:lnTo>
                              <a:lnTo>
                                <a:pt x="0" y="45"/>
                              </a:lnTo>
                              <a:lnTo>
                                <a:pt x="0" y="45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61" name="Freeform 172">
                          <a:extLst>
                            <a:ext uri="{FF2B5EF4-FFF2-40B4-BE49-F238E27FC236}">
                              <a16:creationId xmlns:a16="http://schemas.microsoft.com/office/drawing/2014/main" id="{959E1D0B-7AD3-4385-9F6A-360E89C137E3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33056" y="1620090"/>
                          <a:ext cx="158007" cy="152878"/>
                        </a:xfrm>
                        <a:custGeom>
                          <a:avLst/>
                          <a:gdLst>
                            <a:gd name="T0" fmla="*/ 64 w 154"/>
                            <a:gd name="T1" fmla="*/ 0 h 149"/>
                            <a:gd name="T2" fmla="*/ 27 w 154"/>
                            <a:gd name="T3" fmla="*/ 30 h 149"/>
                            <a:gd name="T4" fmla="*/ 20 w 154"/>
                            <a:gd name="T5" fmla="*/ 41 h 149"/>
                            <a:gd name="T6" fmla="*/ 20 w 154"/>
                            <a:gd name="T7" fmla="*/ 42 h 149"/>
                            <a:gd name="T8" fmla="*/ 19 w 154"/>
                            <a:gd name="T9" fmla="*/ 42 h 149"/>
                            <a:gd name="T10" fmla="*/ 0 w 154"/>
                            <a:gd name="T11" fmla="*/ 41 h 149"/>
                            <a:gd name="T12" fmla="*/ 1 w 154"/>
                            <a:gd name="T13" fmla="*/ 56 h 149"/>
                            <a:gd name="T14" fmla="*/ 13 w 154"/>
                            <a:gd name="T15" fmla="*/ 72 h 149"/>
                            <a:gd name="T16" fmla="*/ 33 w 154"/>
                            <a:gd name="T17" fmla="*/ 74 h 149"/>
                            <a:gd name="T18" fmla="*/ 34 w 154"/>
                            <a:gd name="T19" fmla="*/ 74 h 149"/>
                            <a:gd name="T20" fmla="*/ 35 w 154"/>
                            <a:gd name="T21" fmla="*/ 75 h 149"/>
                            <a:gd name="T22" fmla="*/ 40 w 154"/>
                            <a:gd name="T23" fmla="*/ 85 h 149"/>
                            <a:gd name="T24" fmla="*/ 40 w 154"/>
                            <a:gd name="T25" fmla="*/ 85 h 149"/>
                            <a:gd name="T26" fmla="*/ 40 w 154"/>
                            <a:gd name="T27" fmla="*/ 85 h 149"/>
                            <a:gd name="T28" fmla="*/ 40 w 154"/>
                            <a:gd name="T29" fmla="*/ 97 h 149"/>
                            <a:gd name="T30" fmla="*/ 53 w 154"/>
                            <a:gd name="T31" fmla="*/ 103 h 149"/>
                            <a:gd name="T32" fmla="*/ 54 w 154"/>
                            <a:gd name="T33" fmla="*/ 104 h 149"/>
                            <a:gd name="T34" fmla="*/ 54 w 154"/>
                            <a:gd name="T35" fmla="*/ 105 h 149"/>
                            <a:gd name="T36" fmla="*/ 57 w 154"/>
                            <a:gd name="T37" fmla="*/ 124 h 149"/>
                            <a:gd name="T38" fmla="*/ 89 w 154"/>
                            <a:gd name="T39" fmla="*/ 149 h 149"/>
                            <a:gd name="T40" fmla="*/ 105 w 154"/>
                            <a:gd name="T41" fmla="*/ 142 h 149"/>
                            <a:gd name="T42" fmla="*/ 109 w 154"/>
                            <a:gd name="T43" fmla="*/ 133 h 149"/>
                            <a:gd name="T44" fmla="*/ 107 w 154"/>
                            <a:gd name="T45" fmla="*/ 117 h 149"/>
                            <a:gd name="T46" fmla="*/ 102 w 154"/>
                            <a:gd name="T47" fmla="*/ 107 h 149"/>
                            <a:gd name="T48" fmla="*/ 102 w 154"/>
                            <a:gd name="T49" fmla="*/ 106 h 149"/>
                            <a:gd name="T50" fmla="*/ 102 w 154"/>
                            <a:gd name="T51" fmla="*/ 105 h 149"/>
                            <a:gd name="T52" fmla="*/ 109 w 154"/>
                            <a:gd name="T53" fmla="*/ 94 h 149"/>
                            <a:gd name="T54" fmla="*/ 109 w 154"/>
                            <a:gd name="T55" fmla="*/ 93 h 149"/>
                            <a:gd name="T56" fmla="*/ 110 w 154"/>
                            <a:gd name="T57" fmla="*/ 93 h 149"/>
                            <a:gd name="T58" fmla="*/ 138 w 154"/>
                            <a:gd name="T59" fmla="*/ 80 h 149"/>
                            <a:gd name="T60" fmla="*/ 154 w 154"/>
                            <a:gd name="T61" fmla="*/ 65 h 149"/>
                            <a:gd name="T62" fmla="*/ 154 w 154"/>
                            <a:gd name="T63" fmla="*/ 47 h 149"/>
                            <a:gd name="T64" fmla="*/ 150 w 154"/>
                            <a:gd name="T65" fmla="*/ 35 h 149"/>
                            <a:gd name="T66" fmla="*/ 136 w 154"/>
                            <a:gd name="T67" fmla="*/ 23 h 149"/>
                            <a:gd name="T68" fmla="*/ 135 w 154"/>
                            <a:gd name="T69" fmla="*/ 23 h 149"/>
                            <a:gd name="T70" fmla="*/ 135 w 154"/>
                            <a:gd name="T71" fmla="*/ 22 h 149"/>
                            <a:gd name="T72" fmla="*/ 130 w 154"/>
                            <a:gd name="T73" fmla="*/ 10 h 149"/>
                            <a:gd name="T74" fmla="*/ 117 w 154"/>
                            <a:gd name="T75" fmla="*/ 8 h 149"/>
                            <a:gd name="T76" fmla="*/ 95 w 154"/>
                            <a:gd name="T77" fmla="*/ 18 h 149"/>
                            <a:gd name="T78" fmla="*/ 94 w 154"/>
                            <a:gd name="T79" fmla="*/ 19 h 149"/>
                            <a:gd name="T80" fmla="*/ 94 w 154"/>
                            <a:gd name="T81" fmla="*/ 19 h 149"/>
                            <a:gd name="T82" fmla="*/ 78 w 154"/>
                            <a:gd name="T83" fmla="*/ 17 h 149"/>
                            <a:gd name="T84" fmla="*/ 78 w 154"/>
                            <a:gd name="T85" fmla="*/ 17 h 149"/>
                            <a:gd name="T86" fmla="*/ 77 w 154"/>
                            <a:gd name="T87" fmla="*/ 16 h 149"/>
                            <a:gd name="T88" fmla="*/ 64 w 154"/>
                            <a:gd name="T89" fmla="*/ 0 h 149"/>
                            <a:gd name="T90" fmla="*/ 64 w 154"/>
                            <a:gd name="T91" fmla="*/ 0 h 149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</a:cxnLst>
                          <a:rect l="0" t="0" r="r" b="b"/>
                          <a:pathLst>
                            <a:path w="154" h="149">
                              <a:moveTo>
                                <a:pt x="64" y="0"/>
                              </a:moveTo>
                              <a:lnTo>
                                <a:pt x="27" y="30"/>
                              </a:lnTo>
                              <a:lnTo>
                                <a:pt x="20" y="41"/>
                              </a:lnTo>
                              <a:lnTo>
                                <a:pt x="20" y="42"/>
                              </a:lnTo>
                              <a:lnTo>
                                <a:pt x="19" y="42"/>
                              </a:lnTo>
                              <a:lnTo>
                                <a:pt x="0" y="41"/>
                              </a:lnTo>
                              <a:lnTo>
                                <a:pt x="1" y="56"/>
                              </a:lnTo>
                              <a:lnTo>
                                <a:pt x="13" y="72"/>
                              </a:lnTo>
                              <a:lnTo>
                                <a:pt x="33" y="74"/>
                              </a:lnTo>
                              <a:lnTo>
                                <a:pt x="34" y="74"/>
                              </a:lnTo>
                              <a:lnTo>
                                <a:pt x="35" y="75"/>
                              </a:lnTo>
                              <a:lnTo>
                                <a:pt x="40" y="85"/>
                              </a:lnTo>
                              <a:lnTo>
                                <a:pt x="40" y="85"/>
                              </a:lnTo>
                              <a:lnTo>
                                <a:pt x="40" y="85"/>
                              </a:lnTo>
                              <a:lnTo>
                                <a:pt x="40" y="97"/>
                              </a:lnTo>
                              <a:lnTo>
                                <a:pt x="53" y="103"/>
                              </a:lnTo>
                              <a:lnTo>
                                <a:pt x="54" y="104"/>
                              </a:lnTo>
                              <a:lnTo>
                                <a:pt x="54" y="105"/>
                              </a:lnTo>
                              <a:lnTo>
                                <a:pt x="57" y="124"/>
                              </a:lnTo>
                              <a:lnTo>
                                <a:pt x="89" y="149"/>
                              </a:lnTo>
                              <a:lnTo>
                                <a:pt x="105" y="142"/>
                              </a:lnTo>
                              <a:lnTo>
                                <a:pt x="109" y="133"/>
                              </a:lnTo>
                              <a:lnTo>
                                <a:pt x="107" y="117"/>
                              </a:lnTo>
                              <a:lnTo>
                                <a:pt x="102" y="107"/>
                              </a:lnTo>
                              <a:lnTo>
                                <a:pt x="102" y="106"/>
                              </a:lnTo>
                              <a:lnTo>
                                <a:pt x="102" y="105"/>
                              </a:lnTo>
                              <a:lnTo>
                                <a:pt x="109" y="94"/>
                              </a:lnTo>
                              <a:lnTo>
                                <a:pt x="109" y="93"/>
                              </a:lnTo>
                              <a:lnTo>
                                <a:pt x="110" y="93"/>
                              </a:lnTo>
                              <a:lnTo>
                                <a:pt x="138" y="80"/>
                              </a:lnTo>
                              <a:lnTo>
                                <a:pt x="154" y="65"/>
                              </a:lnTo>
                              <a:lnTo>
                                <a:pt x="154" y="47"/>
                              </a:lnTo>
                              <a:lnTo>
                                <a:pt x="150" y="35"/>
                              </a:lnTo>
                              <a:lnTo>
                                <a:pt x="136" y="23"/>
                              </a:lnTo>
                              <a:lnTo>
                                <a:pt x="135" y="23"/>
                              </a:lnTo>
                              <a:lnTo>
                                <a:pt x="135" y="22"/>
                              </a:lnTo>
                              <a:lnTo>
                                <a:pt x="130" y="10"/>
                              </a:lnTo>
                              <a:lnTo>
                                <a:pt x="117" y="8"/>
                              </a:lnTo>
                              <a:lnTo>
                                <a:pt x="95" y="18"/>
                              </a:lnTo>
                              <a:lnTo>
                                <a:pt x="94" y="19"/>
                              </a:lnTo>
                              <a:lnTo>
                                <a:pt x="94" y="19"/>
                              </a:lnTo>
                              <a:lnTo>
                                <a:pt x="78" y="17"/>
                              </a:lnTo>
                              <a:lnTo>
                                <a:pt x="78" y="17"/>
                              </a:lnTo>
                              <a:lnTo>
                                <a:pt x="77" y="16"/>
                              </a:lnTo>
                              <a:lnTo>
                                <a:pt x="64" y="0"/>
                              </a:lnTo>
                              <a:lnTo>
                                <a:pt x="64" y="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62" name="Freeform 173">
                          <a:extLst>
                            <a:ext uri="{FF2B5EF4-FFF2-40B4-BE49-F238E27FC236}">
                              <a16:creationId xmlns:a16="http://schemas.microsoft.com/office/drawing/2014/main" id="{43E45381-D946-4D2B-8F4A-52402EE6B415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724372" y="1684729"/>
                          <a:ext cx="155955" cy="177502"/>
                        </a:xfrm>
                        <a:custGeom>
                          <a:avLst/>
                          <a:gdLst>
                            <a:gd name="T0" fmla="*/ 69 w 152"/>
                            <a:gd name="T1" fmla="*/ 0 h 173"/>
                            <a:gd name="T2" fmla="*/ 69 w 152"/>
                            <a:gd name="T3" fmla="*/ 3 h 173"/>
                            <a:gd name="T4" fmla="*/ 69 w 152"/>
                            <a:gd name="T5" fmla="*/ 4 h 173"/>
                            <a:gd name="T6" fmla="*/ 68 w 152"/>
                            <a:gd name="T7" fmla="*/ 4 h 173"/>
                            <a:gd name="T8" fmla="*/ 51 w 152"/>
                            <a:gd name="T9" fmla="*/ 20 h 173"/>
                            <a:gd name="T10" fmla="*/ 50 w 152"/>
                            <a:gd name="T11" fmla="*/ 20 h 173"/>
                            <a:gd name="T12" fmla="*/ 50 w 152"/>
                            <a:gd name="T13" fmla="*/ 20 h 173"/>
                            <a:gd name="T14" fmla="*/ 23 w 152"/>
                            <a:gd name="T15" fmla="*/ 33 h 173"/>
                            <a:gd name="T16" fmla="*/ 17 w 152"/>
                            <a:gd name="T17" fmla="*/ 43 h 173"/>
                            <a:gd name="T18" fmla="*/ 21 w 152"/>
                            <a:gd name="T19" fmla="*/ 52 h 173"/>
                            <a:gd name="T20" fmla="*/ 21 w 152"/>
                            <a:gd name="T21" fmla="*/ 52 h 173"/>
                            <a:gd name="T22" fmla="*/ 21 w 152"/>
                            <a:gd name="T23" fmla="*/ 53 h 173"/>
                            <a:gd name="T24" fmla="*/ 24 w 152"/>
                            <a:gd name="T25" fmla="*/ 69 h 173"/>
                            <a:gd name="T26" fmla="*/ 24 w 152"/>
                            <a:gd name="T27" fmla="*/ 70 h 173"/>
                            <a:gd name="T28" fmla="*/ 24 w 152"/>
                            <a:gd name="T29" fmla="*/ 71 h 173"/>
                            <a:gd name="T30" fmla="*/ 19 w 152"/>
                            <a:gd name="T31" fmla="*/ 81 h 173"/>
                            <a:gd name="T32" fmla="*/ 19 w 152"/>
                            <a:gd name="T33" fmla="*/ 82 h 173"/>
                            <a:gd name="T34" fmla="*/ 18 w 152"/>
                            <a:gd name="T35" fmla="*/ 82 h 173"/>
                            <a:gd name="T36" fmla="*/ 2 w 152"/>
                            <a:gd name="T37" fmla="*/ 90 h 173"/>
                            <a:gd name="T38" fmla="*/ 0 w 152"/>
                            <a:gd name="T39" fmla="*/ 118 h 173"/>
                            <a:gd name="T40" fmla="*/ 16 w 152"/>
                            <a:gd name="T41" fmla="*/ 130 h 173"/>
                            <a:gd name="T42" fmla="*/ 16 w 152"/>
                            <a:gd name="T43" fmla="*/ 130 h 173"/>
                            <a:gd name="T44" fmla="*/ 16 w 152"/>
                            <a:gd name="T45" fmla="*/ 130 h 173"/>
                            <a:gd name="T46" fmla="*/ 28 w 152"/>
                            <a:gd name="T47" fmla="*/ 140 h 173"/>
                            <a:gd name="T48" fmla="*/ 28 w 152"/>
                            <a:gd name="T49" fmla="*/ 141 h 173"/>
                            <a:gd name="T50" fmla="*/ 28 w 152"/>
                            <a:gd name="T51" fmla="*/ 142 h 173"/>
                            <a:gd name="T52" fmla="*/ 30 w 152"/>
                            <a:gd name="T53" fmla="*/ 160 h 173"/>
                            <a:gd name="T54" fmla="*/ 46 w 152"/>
                            <a:gd name="T55" fmla="*/ 173 h 173"/>
                            <a:gd name="T56" fmla="*/ 70 w 152"/>
                            <a:gd name="T57" fmla="*/ 169 h 173"/>
                            <a:gd name="T58" fmla="*/ 119 w 152"/>
                            <a:gd name="T59" fmla="*/ 144 h 173"/>
                            <a:gd name="T60" fmla="*/ 125 w 152"/>
                            <a:gd name="T61" fmla="*/ 135 h 173"/>
                            <a:gd name="T62" fmla="*/ 125 w 152"/>
                            <a:gd name="T63" fmla="*/ 95 h 173"/>
                            <a:gd name="T64" fmla="*/ 125 w 152"/>
                            <a:gd name="T65" fmla="*/ 95 h 173"/>
                            <a:gd name="T66" fmla="*/ 125 w 152"/>
                            <a:gd name="T67" fmla="*/ 95 h 173"/>
                            <a:gd name="T68" fmla="*/ 130 w 152"/>
                            <a:gd name="T69" fmla="*/ 67 h 173"/>
                            <a:gd name="T70" fmla="*/ 130 w 152"/>
                            <a:gd name="T71" fmla="*/ 67 h 173"/>
                            <a:gd name="T72" fmla="*/ 130 w 152"/>
                            <a:gd name="T73" fmla="*/ 66 h 173"/>
                            <a:gd name="T74" fmla="*/ 152 w 152"/>
                            <a:gd name="T75" fmla="*/ 41 h 173"/>
                            <a:gd name="T76" fmla="*/ 135 w 152"/>
                            <a:gd name="T77" fmla="*/ 22 h 173"/>
                            <a:gd name="T78" fmla="*/ 124 w 152"/>
                            <a:gd name="T79" fmla="*/ 29 h 173"/>
                            <a:gd name="T80" fmla="*/ 124 w 152"/>
                            <a:gd name="T81" fmla="*/ 29 h 173"/>
                            <a:gd name="T82" fmla="*/ 124 w 152"/>
                            <a:gd name="T83" fmla="*/ 29 h 173"/>
                            <a:gd name="T84" fmla="*/ 115 w 152"/>
                            <a:gd name="T85" fmla="*/ 32 h 173"/>
                            <a:gd name="T86" fmla="*/ 114 w 152"/>
                            <a:gd name="T87" fmla="*/ 32 h 173"/>
                            <a:gd name="T88" fmla="*/ 114 w 152"/>
                            <a:gd name="T89" fmla="*/ 32 h 173"/>
                            <a:gd name="T90" fmla="*/ 100 w 152"/>
                            <a:gd name="T91" fmla="*/ 24 h 173"/>
                            <a:gd name="T92" fmla="*/ 100 w 152"/>
                            <a:gd name="T93" fmla="*/ 23 h 173"/>
                            <a:gd name="T94" fmla="*/ 100 w 152"/>
                            <a:gd name="T95" fmla="*/ 23 h 173"/>
                            <a:gd name="T96" fmla="*/ 88 w 152"/>
                            <a:gd name="T97" fmla="*/ 1 h 173"/>
                            <a:gd name="T98" fmla="*/ 69 w 152"/>
                            <a:gd name="T99" fmla="*/ 0 h 173"/>
                            <a:gd name="T100" fmla="*/ 69 w 152"/>
                            <a:gd name="T101" fmla="*/ 0 h 17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</a:cxnLst>
                          <a:rect l="0" t="0" r="r" b="b"/>
                          <a:pathLst>
                            <a:path w="152" h="173">
                              <a:moveTo>
                                <a:pt x="69" y="0"/>
                              </a:moveTo>
                              <a:lnTo>
                                <a:pt x="69" y="3"/>
                              </a:lnTo>
                              <a:lnTo>
                                <a:pt x="69" y="4"/>
                              </a:lnTo>
                              <a:lnTo>
                                <a:pt x="68" y="4"/>
                              </a:lnTo>
                              <a:lnTo>
                                <a:pt x="51" y="20"/>
                              </a:lnTo>
                              <a:lnTo>
                                <a:pt x="50" y="20"/>
                              </a:lnTo>
                              <a:lnTo>
                                <a:pt x="50" y="20"/>
                              </a:lnTo>
                              <a:lnTo>
                                <a:pt x="23" y="33"/>
                              </a:lnTo>
                              <a:lnTo>
                                <a:pt x="17" y="43"/>
                              </a:lnTo>
                              <a:lnTo>
                                <a:pt x="21" y="52"/>
                              </a:lnTo>
                              <a:lnTo>
                                <a:pt x="21" y="52"/>
                              </a:lnTo>
                              <a:lnTo>
                                <a:pt x="21" y="53"/>
                              </a:lnTo>
                              <a:lnTo>
                                <a:pt x="24" y="69"/>
                              </a:lnTo>
                              <a:lnTo>
                                <a:pt x="24" y="70"/>
                              </a:lnTo>
                              <a:lnTo>
                                <a:pt x="24" y="71"/>
                              </a:lnTo>
                              <a:lnTo>
                                <a:pt x="19" y="81"/>
                              </a:lnTo>
                              <a:lnTo>
                                <a:pt x="19" y="82"/>
                              </a:lnTo>
                              <a:lnTo>
                                <a:pt x="18" y="82"/>
                              </a:lnTo>
                              <a:lnTo>
                                <a:pt x="2" y="90"/>
                              </a:lnTo>
                              <a:lnTo>
                                <a:pt x="0" y="118"/>
                              </a:lnTo>
                              <a:lnTo>
                                <a:pt x="16" y="130"/>
                              </a:lnTo>
                              <a:lnTo>
                                <a:pt x="16" y="130"/>
                              </a:lnTo>
                              <a:lnTo>
                                <a:pt x="16" y="130"/>
                              </a:lnTo>
                              <a:lnTo>
                                <a:pt x="28" y="140"/>
                              </a:lnTo>
                              <a:lnTo>
                                <a:pt x="28" y="141"/>
                              </a:lnTo>
                              <a:lnTo>
                                <a:pt x="28" y="142"/>
                              </a:lnTo>
                              <a:lnTo>
                                <a:pt x="30" y="160"/>
                              </a:lnTo>
                              <a:lnTo>
                                <a:pt x="46" y="173"/>
                              </a:lnTo>
                              <a:lnTo>
                                <a:pt x="70" y="169"/>
                              </a:lnTo>
                              <a:lnTo>
                                <a:pt x="119" y="144"/>
                              </a:lnTo>
                              <a:lnTo>
                                <a:pt x="125" y="135"/>
                              </a:lnTo>
                              <a:lnTo>
                                <a:pt x="125" y="95"/>
                              </a:lnTo>
                              <a:lnTo>
                                <a:pt x="125" y="95"/>
                              </a:lnTo>
                              <a:lnTo>
                                <a:pt x="125" y="95"/>
                              </a:lnTo>
                              <a:lnTo>
                                <a:pt x="130" y="67"/>
                              </a:lnTo>
                              <a:lnTo>
                                <a:pt x="130" y="67"/>
                              </a:lnTo>
                              <a:lnTo>
                                <a:pt x="130" y="66"/>
                              </a:lnTo>
                              <a:lnTo>
                                <a:pt x="152" y="41"/>
                              </a:lnTo>
                              <a:lnTo>
                                <a:pt x="135" y="22"/>
                              </a:lnTo>
                              <a:lnTo>
                                <a:pt x="124" y="29"/>
                              </a:lnTo>
                              <a:lnTo>
                                <a:pt x="124" y="29"/>
                              </a:lnTo>
                              <a:lnTo>
                                <a:pt x="124" y="29"/>
                              </a:lnTo>
                              <a:lnTo>
                                <a:pt x="115" y="32"/>
                              </a:lnTo>
                              <a:lnTo>
                                <a:pt x="114" y="32"/>
                              </a:lnTo>
                              <a:lnTo>
                                <a:pt x="114" y="32"/>
                              </a:lnTo>
                              <a:lnTo>
                                <a:pt x="100" y="24"/>
                              </a:lnTo>
                              <a:lnTo>
                                <a:pt x="100" y="23"/>
                              </a:lnTo>
                              <a:lnTo>
                                <a:pt x="100" y="23"/>
                              </a:lnTo>
                              <a:lnTo>
                                <a:pt x="88" y="1"/>
                              </a:lnTo>
                              <a:lnTo>
                                <a:pt x="69" y="0"/>
                              </a:lnTo>
                              <a:lnTo>
                                <a:pt x="69" y="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63" name="Freeform 174">
                          <a:extLst>
                            <a:ext uri="{FF2B5EF4-FFF2-40B4-BE49-F238E27FC236}">
                              <a16:creationId xmlns:a16="http://schemas.microsoft.com/office/drawing/2014/main" id="{324EB31B-350F-4CEC-9F21-1674BB1713C7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79227" y="1499019"/>
                          <a:ext cx="132357" cy="136461"/>
                        </a:xfrm>
                        <a:custGeom>
                          <a:avLst/>
                          <a:gdLst>
                            <a:gd name="T0" fmla="*/ 0 w 129"/>
                            <a:gd name="T1" fmla="*/ 18 h 133"/>
                            <a:gd name="T2" fmla="*/ 0 w 129"/>
                            <a:gd name="T3" fmla="*/ 49 h 133"/>
                            <a:gd name="T4" fmla="*/ 8 w 129"/>
                            <a:gd name="T5" fmla="*/ 66 h 133"/>
                            <a:gd name="T6" fmla="*/ 25 w 129"/>
                            <a:gd name="T7" fmla="*/ 81 h 133"/>
                            <a:gd name="T8" fmla="*/ 25 w 129"/>
                            <a:gd name="T9" fmla="*/ 82 h 133"/>
                            <a:gd name="T10" fmla="*/ 25 w 129"/>
                            <a:gd name="T11" fmla="*/ 83 h 133"/>
                            <a:gd name="T12" fmla="*/ 21 w 129"/>
                            <a:gd name="T13" fmla="*/ 115 h 133"/>
                            <a:gd name="T14" fmla="*/ 34 w 129"/>
                            <a:gd name="T15" fmla="*/ 131 h 133"/>
                            <a:gd name="T16" fmla="*/ 49 w 129"/>
                            <a:gd name="T17" fmla="*/ 133 h 133"/>
                            <a:gd name="T18" fmla="*/ 70 w 129"/>
                            <a:gd name="T19" fmla="*/ 123 h 133"/>
                            <a:gd name="T20" fmla="*/ 71 w 129"/>
                            <a:gd name="T21" fmla="*/ 123 h 133"/>
                            <a:gd name="T22" fmla="*/ 71 w 129"/>
                            <a:gd name="T23" fmla="*/ 123 h 133"/>
                            <a:gd name="T24" fmla="*/ 85 w 129"/>
                            <a:gd name="T25" fmla="*/ 124 h 133"/>
                            <a:gd name="T26" fmla="*/ 87 w 129"/>
                            <a:gd name="T27" fmla="*/ 116 h 133"/>
                            <a:gd name="T28" fmla="*/ 87 w 129"/>
                            <a:gd name="T29" fmla="*/ 115 h 133"/>
                            <a:gd name="T30" fmla="*/ 87 w 129"/>
                            <a:gd name="T31" fmla="*/ 115 h 133"/>
                            <a:gd name="T32" fmla="*/ 97 w 129"/>
                            <a:gd name="T33" fmla="*/ 101 h 133"/>
                            <a:gd name="T34" fmla="*/ 97 w 129"/>
                            <a:gd name="T35" fmla="*/ 101 h 133"/>
                            <a:gd name="T36" fmla="*/ 97 w 129"/>
                            <a:gd name="T37" fmla="*/ 101 h 133"/>
                            <a:gd name="T38" fmla="*/ 117 w 129"/>
                            <a:gd name="T39" fmla="*/ 80 h 133"/>
                            <a:gd name="T40" fmla="*/ 117 w 129"/>
                            <a:gd name="T41" fmla="*/ 67 h 133"/>
                            <a:gd name="T42" fmla="*/ 117 w 129"/>
                            <a:gd name="T43" fmla="*/ 66 h 133"/>
                            <a:gd name="T44" fmla="*/ 117 w 129"/>
                            <a:gd name="T45" fmla="*/ 65 h 133"/>
                            <a:gd name="T46" fmla="*/ 129 w 129"/>
                            <a:gd name="T47" fmla="*/ 54 h 133"/>
                            <a:gd name="T48" fmla="*/ 127 w 129"/>
                            <a:gd name="T49" fmla="*/ 30 h 133"/>
                            <a:gd name="T50" fmla="*/ 112 w 129"/>
                            <a:gd name="T51" fmla="*/ 21 h 133"/>
                            <a:gd name="T52" fmla="*/ 112 w 129"/>
                            <a:gd name="T53" fmla="*/ 21 h 133"/>
                            <a:gd name="T54" fmla="*/ 112 w 129"/>
                            <a:gd name="T55" fmla="*/ 20 h 133"/>
                            <a:gd name="T56" fmla="*/ 105 w 129"/>
                            <a:gd name="T57" fmla="*/ 7 h 133"/>
                            <a:gd name="T58" fmla="*/ 75 w 129"/>
                            <a:gd name="T59" fmla="*/ 9 h 133"/>
                            <a:gd name="T60" fmla="*/ 68 w 129"/>
                            <a:gd name="T61" fmla="*/ 17 h 133"/>
                            <a:gd name="T62" fmla="*/ 67 w 129"/>
                            <a:gd name="T63" fmla="*/ 19 h 133"/>
                            <a:gd name="T64" fmla="*/ 66 w 129"/>
                            <a:gd name="T65" fmla="*/ 18 h 133"/>
                            <a:gd name="T66" fmla="*/ 39 w 129"/>
                            <a:gd name="T67" fmla="*/ 2 h 133"/>
                            <a:gd name="T68" fmla="*/ 32 w 129"/>
                            <a:gd name="T69" fmla="*/ 0 h 133"/>
                            <a:gd name="T70" fmla="*/ 0 w 129"/>
                            <a:gd name="T71" fmla="*/ 18 h 133"/>
                            <a:gd name="T72" fmla="*/ 0 w 129"/>
                            <a:gd name="T73" fmla="*/ 18 h 13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</a:cxnLst>
                          <a:rect l="0" t="0" r="r" b="b"/>
                          <a:pathLst>
                            <a:path w="129" h="133">
                              <a:moveTo>
                                <a:pt x="0" y="18"/>
                              </a:moveTo>
                              <a:lnTo>
                                <a:pt x="0" y="49"/>
                              </a:lnTo>
                              <a:lnTo>
                                <a:pt x="8" y="66"/>
                              </a:lnTo>
                              <a:lnTo>
                                <a:pt x="25" y="81"/>
                              </a:lnTo>
                              <a:lnTo>
                                <a:pt x="25" y="82"/>
                              </a:lnTo>
                              <a:lnTo>
                                <a:pt x="25" y="83"/>
                              </a:lnTo>
                              <a:lnTo>
                                <a:pt x="21" y="115"/>
                              </a:lnTo>
                              <a:lnTo>
                                <a:pt x="34" y="131"/>
                              </a:lnTo>
                              <a:lnTo>
                                <a:pt x="49" y="133"/>
                              </a:lnTo>
                              <a:lnTo>
                                <a:pt x="70" y="123"/>
                              </a:lnTo>
                              <a:lnTo>
                                <a:pt x="71" y="123"/>
                              </a:lnTo>
                              <a:lnTo>
                                <a:pt x="71" y="123"/>
                              </a:lnTo>
                              <a:lnTo>
                                <a:pt x="85" y="124"/>
                              </a:lnTo>
                              <a:lnTo>
                                <a:pt x="87" y="116"/>
                              </a:lnTo>
                              <a:lnTo>
                                <a:pt x="87" y="115"/>
                              </a:lnTo>
                              <a:lnTo>
                                <a:pt x="87" y="115"/>
                              </a:lnTo>
                              <a:lnTo>
                                <a:pt x="97" y="101"/>
                              </a:lnTo>
                              <a:lnTo>
                                <a:pt x="97" y="101"/>
                              </a:lnTo>
                              <a:lnTo>
                                <a:pt x="97" y="101"/>
                              </a:lnTo>
                              <a:lnTo>
                                <a:pt x="117" y="80"/>
                              </a:lnTo>
                              <a:lnTo>
                                <a:pt x="117" y="67"/>
                              </a:lnTo>
                              <a:lnTo>
                                <a:pt x="117" y="66"/>
                              </a:lnTo>
                              <a:lnTo>
                                <a:pt x="117" y="65"/>
                              </a:lnTo>
                              <a:lnTo>
                                <a:pt x="129" y="54"/>
                              </a:lnTo>
                              <a:lnTo>
                                <a:pt x="127" y="30"/>
                              </a:lnTo>
                              <a:lnTo>
                                <a:pt x="112" y="21"/>
                              </a:lnTo>
                              <a:lnTo>
                                <a:pt x="112" y="21"/>
                              </a:lnTo>
                              <a:lnTo>
                                <a:pt x="112" y="20"/>
                              </a:lnTo>
                              <a:lnTo>
                                <a:pt x="105" y="7"/>
                              </a:lnTo>
                              <a:lnTo>
                                <a:pt x="75" y="9"/>
                              </a:lnTo>
                              <a:lnTo>
                                <a:pt x="68" y="17"/>
                              </a:lnTo>
                              <a:lnTo>
                                <a:pt x="67" y="19"/>
                              </a:lnTo>
                              <a:lnTo>
                                <a:pt x="66" y="18"/>
                              </a:lnTo>
                              <a:lnTo>
                                <a:pt x="39" y="2"/>
                              </a:lnTo>
                              <a:lnTo>
                                <a:pt x="32" y="0"/>
                              </a:lnTo>
                              <a:lnTo>
                                <a:pt x="0" y="18"/>
                              </a:lnTo>
                              <a:lnTo>
                                <a:pt x="0" y="18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64" name="Freeform 175">
                          <a:extLst>
                            <a:ext uri="{FF2B5EF4-FFF2-40B4-BE49-F238E27FC236}">
                              <a16:creationId xmlns:a16="http://schemas.microsoft.com/office/drawing/2014/main" id="{CDF7B82C-D1A0-420A-AF30-5CE815D55372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770543" y="1571867"/>
                          <a:ext cx="196996" cy="158007"/>
                        </a:xfrm>
                        <a:custGeom>
                          <a:avLst/>
                          <a:gdLst>
                            <a:gd name="T0" fmla="*/ 30 w 192"/>
                            <a:gd name="T1" fmla="*/ 12 h 154"/>
                            <a:gd name="T2" fmla="*/ 11 w 192"/>
                            <a:gd name="T3" fmla="*/ 33 h 154"/>
                            <a:gd name="T4" fmla="*/ 1 w 192"/>
                            <a:gd name="T5" fmla="*/ 46 h 154"/>
                            <a:gd name="T6" fmla="*/ 0 w 192"/>
                            <a:gd name="T7" fmla="*/ 55 h 154"/>
                            <a:gd name="T8" fmla="*/ 5 w 192"/>
                            <a:gd name="T9" fmla="*/ 68 h 154"/>
                            <a:gd name="T10" fmla="*/ 19 w 192"/>
                            <a:gd name="T11" fmla="*/ 79 h 154"/>
                            <a:gd name="T12" fmla="*/ 19 w 192"/>
                            <a:gd name="T13" fmla="*/ 80 h 154"/>
                            <a:gd name="T14" fmla="*/ 20 w 192"/>
                            <a:gd name="T15" fmla="*/ 80 h 154"/>
                            <a:gd name="T16" fmla="*/ 24 w 192"/>
                            <a:gd name="T17" fmla="*/ 93 h 154"/>
                            <a:gd name="T18" fmla="*/ 24 w 192"/>
                            <a:gd name="T19" fmla="*/ 93 h 154"/>
                            <a:gd name="T20" fmla="*/ 24 w 192"/>
                            <a:gd name="T21" fmla="*/ 94 h 154"/>
                            <a:gd name="T22" fmla="*/ 24 w 192"/>
                            <a:gd name="T23" fmla="*/ 107 h 154"/>
                            <a:gd name="T24" fmla="*/ 44 w 192"/>
                            <a:gd name="T25" fmla="*/ 107 h 154"/>
                            <a:gd name="T26" fmla="*/ 45 w 192"/>
                            <a:gd name="T27" fmla="*/ 107 h 154"/>
                            <a:gd name="T28" fmla="*/ 45 w 192"/>
                            <a:gd name="T29" fmla="*/ 108 h 154"/>
                            <a:gd name="T30" fmla="*/ 58 w 192"/>
                            <a:gd name="T31" fmla="*/ 131 h 154"/>
                            <a:gd name="T32" fmla="*/ 70 w 192"/>
                            <a:gd name="T33" fmla="*/ 138 h 154"/>
                            <a:gd name="T34" fmla="*/ 78 w 192"/>
                            <a:gd name="T35" fmla="*/ 136 h 154"/>
                            <a:gd name="T36" fmla="*/ 89 w 192"/>
                            <a:gd name="T37" fmla="*/ 128 h 154"/>
                            <a:gd name="T38" fmla="*/ 90 w 192"/>
                            <a:gd name="T39" fmla="*/ 127 h 154"/>
                            <a:gd name="T40" fmla="*/ 91 w 192"/>
                            <a:gd name="T41" fmla="*/ 129 h 154"/>
                            <a:gd name="T42" fmla="*/ 110 w 192"/>
                            <a:gd name="T43" fmla="*/ 150 h 154"/>
                            <a:gd name="T44" fmla="*/ 123 w 192"/>
                            <a:gd name="T45" fmla="*/ 154 h 154"/>
                            <a:gd name="T46" fmla="*/ 134 w 192"/>
                            <a:gd name="T47" fmla="*/ 153 h 154"/>
                            <a:gd name="T48" fmla="*/ 172 w 192"/>
                            <a:gd name="T49" fmla="*/ 120 h 154"/>
                            <a:gd name="T50" fmla="*/ 172 w 192"/>
                            <a:gd name="T51" fmla="*/ 120 h 154"/>
                            <a:gd name="T52" fmla="*/ 172 w 192"/>
                            <a:gd name="T53" fmla="*/ 120 h 154"/>
                            <a:gd name="T54" fmla="*/ 192 w 192"/>
                            <a:gd name="T55" fmla="*/ 106 h 154"/>
                            <a:gd name="T56" fmla="*/ 188 w 192"/>
                            <a:gd name="T57" fmla="*/ 93 h 154"/>
                            <a:gd name="T58" fmla="*/ 188 w 192"/>
                            <a:gd name="T59" fmla="*/ 93 h 154"/>
                            <a:gd name="T60" fmla="*/ 180 w 192"/>
                            <a:gd name="T61" fmla="*/ 72 h 154"/>
                            <a:gd name="T62" fmla="*/ 141 w 192"/>
                            <a:gd name="T63" fmla="*/ 6 h 154"/>
                            <a:gd name="T64" fmla="*/ 118 w 192"/>
                            <a:gd name="T65" fmla="*/ 5 h 154"/>
                            <a:gd name="T66" fmla="*/ 109 w 192"/>
                            <a:gd name="T67" fmla="*/ 13 h 154"/>
                            <a:gd name="T68" fmla="*/ 108 w 192"/>
                            <a:gd name="T69" fmla="*/ 14 h 154"/>
                            <a:gd name="T70" fmla="*/ 107 w 192"/>
                            <a:gd name="T71" fmla="*/ 13 h 154"/>
                            <a:gd name="T72" fmla="*/ 98 w 192"/>
                            <a:gd name="T73" fmla="*/ 7 h 154"/>
                            <a:gd name="T74" fmla="*/ 98 w 192"/>
                            <a:gd name="T75" fmla="*/ 7 h 154"/>
                            <a:gd name="T76" fmla="*/ 88 w 192"/>
                            <a:gd name="T77" fmla="*/ 0 h 154"/>
                            <a:gd name="T78" fmla="*/ 84 w 192"/>
                            <a:gd name="T79" fmla="*/ 4 h 154"/>
                            <a:gd name="T80" fmla="*/ 83 w 192"/>
                            <a:gd name="T81" fmla="*/ 4 h 154"/>
                            <a:gd name="T82" fmla="*/ 83 w 192"/>
                            <a:gd name="T83" fmla="*/ 4 h 154"/>
                            <a:gd name="T84" fmla="*/ 67 w 192"/>
                            <a:gd name="T85" fmla="*/ 9 h 154"/>
                            <a:gd name="T86" fmla="*/ 66 w 192"/>
                            <a:gd name="T87" fmla="*/ 9 h 154"/>
                            <a:gd name="T88" fmla="*/ 65 w 192"/>
                            <a:gd name="T89" fmla="*/ 9 h 154"/>
                            <a:gd name="T90" fmla="*/ 56 w 192"/>
                            <a:gd name="T91" fmla="*/ 4 h 154"/>
                            <a:gd name="T92" fmla="*/ 50 w 192"/>
                            <a:gd name="T93" fmla="*/ 10 h 154"/>
                            <a:gd name="T94" fmla="*/ 49 w 192"/>
                            <a:gd name="T95" fmla="*/ 11 h 154"/>
                            <a:gd name="T96" fmla="*/ 49 w 192"/>
                            <a:gd name="T97" fmla="*/ 11 h 154"/>
                            <a:gd name="T98" fmla="*/ 30 w 192"/>
                            <a:gd name="T99" fmla="*/ 12 h 154"/>
                            <a:gd name="T100" fmla="*/ 30 w 192"/>
                            <a:gd name="T101" fmla="*/ 12 h 1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</a:cxnLst>
                          <a:rect l="0" t="0" r="r" b="b"/>
                          <a:pathLst>
                            <a:path w="192" h="154">
                              <a:moveTo>
                                <a:pt x="30" y="12"/>
                              </a:moveTo>
                              <a:lnTo>
                                <a:pt x="11" y="33"/>
                              </a:lnTo>
                              <a:lnTo>
                                <a:pt x="1" y="46"/>
                              </a:lnTo>
                              <a:lnTo>
                                <a:pt x="0" y="55"/>
                              </a:lnTo>
                              <a:lnTo>
                                <a:pt x="5" y="68"/>
                              </a:lnTo>
                              <a:lnTo>
                                <a:pt x="19" y="79"/>
                              </a:lnTo>
                              <a:lnTo>
                                <a:pt x="19" y="80"/>
                              </a:lnTo>
                              <a:lnTo>
                                <a:pt x="20" y="80"/>
                              </a:lnTo>
                              <a:lnTo>
                                <a:pt x="24" y="93"/>
                              </a:lnTo>
                              <a:lnTo>
                                <a:pt x="24" y="93"/>
                              </a:lnTo>
                              <a:lnTo>
                                <a:pt x="24" y="94"/>
                              </a:lnTo>
                              <a:lnTo>
                                <a:pt x="24" y="107"/>
                              </a:lnTo>
                              <a:lnTo>
                                <a:pt x="44" y="107"/>
                              </a:lnTo>
                              <a:lnTo>
                                <a:pt x="45" y="107"/>
                              </a:lnTo>
                              <a:lnTo>
                                <a:pt x="45" y="108"/>
                              </a:lnTo>
                              <a:lnTo>
                                <a:pt x="58" y="131"/>
                              </a:lnTo>
                              <a:lnTo>
                                <a:pt x="70" y="138"/>
                              </a:lnTo>
                              <a:lnTo>
                                <a:pt x="78" y="136"/>
                              </a:lnTo>
                              <a:lnTo>
                                <a:pt x="89" y="128"/>
                              </a:lnTo>
                              <a:lnTo>
                                <a:pt x="90" y="127"/>
                              </a:lnTo>
                              <a:lnTo>
                                <a:pt x="91" y="129"/>
                              </a:lnTo>
                              <a:lnTo>
                                <a:pt x="110" y="150"/>
                              </a:lnTo>
                              <a:lnTo>
                                <a:pt x="123" y="154"/>
                              </a:lnTo>
                              <a:lnTo>
                                <a:pt x="134" y="153"/>
                              </a:lnTo>
                              <a:lnTo>
                                <a:pt x="172" y="120"/>
                              </a:lnTo>
                              <a:lnTo>
                                <a:pt x="172" y="120"/>
                              </a:lnTo>
                              <a:lnTo>
                                <a:pt x="172" y="120"/>
                              </a:lnTo>
                              <a:lnTo>
                                <a:pt x="192" y="106"/>
                              </a:lnTo>
                              <a:lnTo>
                                <a:pt x="188" y="93"/>
                              </a:lnTo>
                              <a:lnTo>
                                <a:pt x="188" y="93"/>
                              </a:lnTo>
                              <a:lnTo>
                                <a:pt x="180" y="72"/>
                              </a:lnTo>
                              <a:lnTo>
                                <a:pt x="141" y="6"/>
                              </a:lnTo>
                              <a:lnTo>
                                <a:pt x="118" y="5"/>
                              </a:lnTo>
                              <a:lnTo>
                                <a:pt x="109" y="13"/>
                              </a:lnTo>
                              <a:lnTo>
                                <a:pt x="108" y="14"/>
                              </a:lnTo>
                              <a:lnTo>
                                <a:pt x="107" y="13"/>
                              </a:lnTo>
                              <a:lnTo>
                                <a:pt x="98" y="7"/>
                              </a:lnTo>
                              <a:lnTo>
                                <a:pt x="98" y="7"/>
                              </a:lnTo>
                              <a:lnTo>
                                <a:pt x="88" y="0"/>
                              </a:lnTo>
                              <a:lnTo>
                                <a:pt x="84" y="4"/>
                              </a:lnTo>
                              <a:lnTo>
                                <a:pt x="83" y="4"/>
                              </a:lnTo>
                              <a:lnTo>
                                <a:pt x="83" y="4"/>
                              </a:lnTo>
                              <a:lnTo>
                                <a:pt x="67" y="9"/>
                              </a:lnTo>
                              <a:lnTo>
                                <a:pt x="66" y="9"/>
                              </a:lnTo>
                              <a:lnTo>
                                <a:pt x="65" y="9"/>
                              </a:lnTo>
                              <a:lnTo>
                                <a:pt x="56" y="4"/>
                              </a:lnTo>
                              <a:lnTo>
                                <a:pt x="50" y="10"/>
                              </a:lnTo>
                              <a:lnTo>
                                <a:pt x="49" y="11"/>
                              </a:lnTo>
                              <a:lnTo>
                                <a:pt x="49" y="11"/>
                              </a:lnTo>
                              <a:lnTo>
                                <a:pt x="30" y="12"/>
                              </a:lnTo>
                              <a:lnTo>
                                <a:pt x="30" y="12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65" name="Freeform 176">
                          <a:extLst>
                            <a:ext uri="{FF2B5EF4-FFF2-40B4-BE49-F238E27FC236}">
                              <a16:creationId xmlns:a16="http://schemas.microsoft.com/office/drawing/2014/main" id="{DA42EE1E-3CFC-432B-B58F-C6A00AF87D62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98172" y="1385131"/>
                          <a:ext cx="204179" cy="129279"/>
                        </a:xfrm>
                        <a:custGeom>
                          <a:avLst/>
                          <a:gdLst>
                            <a:gd name="T0" fmla="*/ 185 w 199"/>
                            <a:gd name="T1" fmla="*/ 114 h 126"/>
                            <a:gd name="T2" fmla="*/ 190 w 199"/>
                            <a:gd name="T3" fmla="*/ 107 h 126"/>
                            <a:gd name="T4" fmla="*/ 199 w 199"/>
                            <a:gd name="T5" fmla="*/ 94 h 126"/>
                            <a:gd name="T6" fmla="*/ 199 w 199"/>
                            <a:gd name="T7" fmla="*/ 64 h 126"/>
                            <a:gd name="T8" fmla="*/ 185 w 199"/>
                            <a:gd name="T9" fmla="*/ 56 h 126"/>
                            <a:gd name="T10" fmla="*/ 185 w 199"/>
                            <a:gd name="T11" fmla="*/ 56 h 126"/>
                            <a:gd name="T12" fmla="*/ 184 w 199"/>
                            <a:gd name="T13" fmla="*/ 56 h 126"/>
                            <a:gd name="T14" fmla="*/ 173 w 199"/>
                            <a:gd name="T15" fmla="*/ 38 h 126"/>
                            <a:gd name="T16" fmla="*/ 173 w 199"/>
                            <a:gd name="T17" fmla="*/ 38 h 126"/>
                            <a:gd name="T18" fmla="*/ 173 w 199"/>
                            <a:gd name="T19" fmla="*/ 38 h 126"/>
                            <a:gd name="T20" fmla="*/ 171 w 199"/>
                            <a:gd name="T21" fmla="*/ 20 h 126"/>
                            <a:gd name="T22" fmla="*/ 151 w 199"/>
                            <a:gd name="T23" fmla="*/ 33 h 126"/>
                            <a:gd name="T24" fmla="*/ 151 w 199"/>
                            <a:gd name="T25" fmla="*/ 33 h 126"/>
                            <a:gd name="T26" fmla="*/ 150 w 199"/>
                            <a:gd name="T27" fmla="*/ 33 h 126"/>
                            <a:gd name="T28" fmla="*/ 113 w 199"/>
                            <a:gd name="T29" fmla="*/ 37 h 126"/>
                            <a:gd name="T30" fmla="*/ 113 w 199"/>
                            <a:gd name="T31" fmla="*/ 37 h 126"/>
                            <a:gd name="T32" fmla="*/ 112 w 199"/>
                            <a:gd name="T33" fmla="*/ 36 h 126"/>
                            <a:gd name="T34" fmla="*/ 105 w 199"/>
                            <a:gd name="T35" fmla="*/ 26 h 126"/>
                            <a:gd name="T36" fmla="*/ 93 w 199"/>
                            <a:gd name="T37" fmla="*/ 24 h 126"/>
                            <a:gd name="T38" fmla="*/ 85 w 199"/>
                            <a:gd name="T39" fmla="*/ 29 h 126"/>
                            <a:gd name="T40" fmla="*/ 83 w 199"/>
                            <a:gd name="T41" fmla="*/ 30 h 126"/>
                            <a:gd name="T42" fmla="*/ 82 w 199"/>
                            <a:gd name="T43" fmla="*/ 28 h 126"/>
                            <a:gd name="T44" fmla="*/ 74 w 199"/>
                            <a:gd name="T45" fmla="*/ 1 h 126"/>
                            <a:gd name="T46" fmla="*/ 58 w 199"/>
                            <a:gd name="T47" fmla="*/ 0 h 126"/>
                            <a:gd name="T48" fmla="*/ 45 w 199"/>
                            <a:gd name="T49" fmla="*/ 13 h 126"/>
                            <a:gd name="T50" fmla="*/ 44 w 199"/>
                            <a:gd name="T51" fmla="*/ 13 h 126"/>
                            <a:gd name="T52" fmla="*/ 44 w 199"/>
                            <a:gd name="T53" fmla="*/ 13 h 126"/>
                            <a:gd name="T54" fmla="*/ 19 w 199"/>
                            <a:gd name="T55" fmla="*/ 13 h 126"/>
                            <a:gd name="T56" fmla="*/ 6 w 199"/>
                            <a:gd name="T57" fmla="*/ 18 h 126"/>
                            <a:gd name="T58" fmla="*/ 0 w 199"/>
                            <a:gd name="T59" fmla="*/ 30 h 126"/>
                            <a:gd name="T60" fmla="*/ 0 w 199"/>
                            <a:gd name="T61" fmla="*/ 41 h 126"/>
                            <a:gd name="T62" fmla="*/ 6 w 199"/>
                            <a:gd name="T63" fmla="*/ 53 h 126"/>
                            <a:gd name="T64" fmla="*/ 15 w 199"/>
                            <a:gd name="T65" fmla="*/ 58 h 126"/>
                            <a:gd name="T66" fmla="*/ 22 w 199"/>
                            <a:gd name="T67" fmla="*/ 54 h 126"/>
                            <a:gd name="T68" fmla="*/ 22 w 199"/>
                            <a:gd name="T69" fmla="*/ 53 h 126"/>
                            <a:gd name="T70" fmla="*/ 23 w 199"/>
                            <a:gd name="T71" fmla="*/ 53 h 126"/>
                            <a:gd name="T72" fmla="*/ 38 w 199"/>
                            <a:gd name="T73" fmla="*/ 54 h 126"/>
                            <a:gd name="T74" fmla="*/ 39 w 199"/>
                            <a:gd name="T75" fmla="*/ 54 h 126"/>
                            <a:gd name="T76" fmla="*/ 39 w 199"/>
                            <a:gd name="T77" fmla="*/ 56 h 126"/>
                            <a:gd name="T78" fmla="*/ 41 w 199"/>
                            <a:gd name="T79" fmla="*/ 67 h 126"/>
                            <a:gd name="T80" fmla="*/ 41 w 199"/>
                            <a:gd name="T81" fmla="*/ 68 h 126"/>
                            <a:gd name="T82" fmla="*/ 40 w 199"/>
                            <a:gd name="T83" fmla="*/ 69 h 126"/>
                            <a:gd name="T84" fmla="*/ 29 w 199"/>
                            <a:gd name="T85" fmla="*/ 75 h 126"/>
                            <a:gd name="T86" fmla="*/ 22 w 199"/>
                            <a:gd name="T87" fmla="*/ 82 h 126"/>
                            <a:gd name="T88" fmla="*/ 22 w 199"/>
                            <a:gd name="T89" fmla="*/ 90 h 126"/>
                            <a:gd name="T90" fmla="*/ 27 w 199"/>
                            <a:gd name="T91" fmla="*/ 99 h 126"/>
                            <a:gd name="T92" fmla="*/ 78 w 199"/>
                            <a:gd name="T93" fmla="*/ 126 h 126"/>
                            <a:gd name="T94" fmla="*/ 110 w 199"/>
                            <a:gd name="T95" fmla="*/ 107 h 126"/>
                            <a:gd name="T96" fmla="*/ 111 w 199"/>
                            <a:gd name="T97" fmla="*/ 107 h 126"/>
                            <a:gd name="T98" fmla="*/ 112 w 199"/>
                            <a:gd name="T99" fmla="*/ 107 h 126"/>
                            <a:gd name="T100" fmla="*/ 120 w 199"/>
                            <a:gd name="T101" fmla="*/ 109 h 126"/>
                            <a:gd name="T102" fmla="*/ 120 w 199"/>
                            <a:gd name="T103" fmla="*/ 109 h 126"/>
                            <a:gd name="T104" fmla="*/ 120 w 199"/>
                            <a:gd name="T105" fmla="*/ 110 h 126"/>
                            <a:gd name="T106" fmla="*/ 145 w 199"/>
                            <a:gd name="T107" fmla="*/ 125 h 126"/>
                            <a:gd name="T108" fmla="*/ 152 w 199"/>
                            <a:gd name="T109" fmla="*/ 117 h 126"/>
                            <a:gd name="T110" fmla="*/ 153 w 199"/>
                            <a:gd name="T111" fmla="*/ 116 h 126"/>
                            <a:gd name="T112" fmla="*/ 153 w 199"/>
                            <a:gd name="T113" fmla="*/ 116 h 126"/>
                            <a:gd name="T114" fmla="*/ 185 w 199"/>
                            <a:gd name="T115" fmla="*/ 114 h 126"/>
                            <a:gd name="T116" fmla="*/ 185 w 199"/>
                            <a:gd name="T117" fmla="*/ 114 h 12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  <a:cxn ang="0">
                              <a:pos x="T116" y="T117"/>
                            </a:cxn>
                          </a:cxnLst>
                          <a:rect l="0" t="0" r="r" b="b"/>
                          <a:pathLst>
                            <a:path w="199" h="126">
                              <a:moveTo>
                                <a:pt x="185" y="114"/>
                              </a:moveTo>
                              <a:lnTo>
                                <a:pt x="190" y="107"/>
                              </a:lnTo>
                              <a:lnTo>
                                <a:pt x="199" y="94"/>
                              </a:lnTo>
                              <a:lnTo>
                                <a:pt x="199" y="64"/>
                              </a:lnTo>
                              <a:lnTo>
                                <a:pt x="185" y="56"/>
                              </a:lnTo>
                              <a:lnTo>
                                <a:pt x="185" y="56"/>
                              </a:lnTo>
                              <a:lnTo>
                                <a:pt x="184" y="56"/>
                              </a:lnTo>
                              <a:lnTo>
                                <a:pt x="173" y="38"/>
                              </a:lnTo>
                              <a:lnTo>
                                <a:pt x="173" y="38"/>
                              </a:lnTo>
                              <a:lnTo>
                                <a:pt x="173" y="38"/>
                              </a:lnTo>
                              <a:lnTo>
                                <a:pt x="171" y="20"/>
                              </a:lnTo>
                              <a:lnTo>
                                <a:pt x="151" y="33"/>
                              </a:lnTo>
                              <a:lnTo>
                                <a:pt x="151" y="33"/>
                              </a:lnTo>
                              <a:lnTo>
                                <a:pt x="150" y="33"/>
                              </a:lnTo>
                              <a:lnTo>
                                <a:pt x="113" y="37"/>
                              </a:lnTo>
                              <a:lnTo>
                                <a:pt x="113" y="37"/>
                              </a:lnTo>
                              <a:lnTo>
                                <a:pt x="112" y="36"/>
                              </a:lnTo>
                              <a:lnTo>
                                <a:pt x="105" y="26"/>
                              </a:lnTo>
                              <a:lnTo>
                                <a:pt x="93" y="24"/>
                              </a:lnTo>
                              <a:lnTo>
                                <a:pt x="85" y="29"/>
                              </a:lnTo>
                              <a:lnTo>
                                <a:pt x="83" y="30"/>
                              </a:lnTo>
                              <a:lnTo>
                                <a:pt x="82" y="28"/>
                              </a:lnTo>
                              <a:lnTo>
                                <a:pt x="74" y="1"/>
                              </a:lnTo>
                              <a:lnTo>
                                <a:pt x="58" y="0"/>
                              </a:lnTo>
                              <a:lnTo>
                                <a:pt x="45" y="13"/>
                              </a:lnTo>
                              <a:lnTo>
                                <a:pt x="44" y="13"/>
                              </a:lnTo>
                              <a:lnTo>
                                <a:pt x="44" y="13"/>
                              </a:lnTo>
                              <a:lnTo>
                                <a:pt x="19" y="13"/>
                              </a:lnTo>
                              <a:lnTo>
                                <a:pt x="6" y="18"/>
                              </a:lnTo>
                              <a:lnTo>
                                <a:pt x="0" y="30"/>
                              </a:lnTo>
                              <a:lnTo>
                                <a:pt x="0" y="41"/>
                              </a:lnTo>
                              <a:lnTo>
                                <a:pt x="6" y="53"/>
                              </a:lnTo>
                              <a:lnTo>
                                <a:pt x="15" y="58"/>
                              </a:lnTo>
                              <a:lnTo>
                                <a:pt x="22" y="54"/>
                              </a:lnTo>
                              <a:lnTo>
                                <a:pt x="22" y="53"/>
                              </a:lnTo>
                              <a:lnTo>
                                <a:pt x="23" y="53"/>
                              </a:lnTo>
                              <a:lnTo>
                                <a:pt x="38" y="54"/>
                              </a:lnTo>
                              <a:lnTo>
                                <a:pt x="39" y="54"/>
                              </a:lnTo>
                              <a:lnTo>
                                <a:pt x="39" y="56"/>
                              </a:lnTo>
                              <a:lnTo>
                                <a:pt x="41" y="67"/>
                              </a:lnTo>
                              <a:lnTo>
                                <a:pt x="41" y="68"/>
                              </a:lnTo>
                              <a:lnTo>
                                <a:pt x="40" y="69"/>
                              </a:lnTo>
                              <a:lnTo>
                                <a:pt x="29" y="75"/>
                              </a:lnTo>
                              <a:lnTo>
                                <a:pt x="22" y="82"/>
                              </a:lnTo>
                              <a:lnTo>
                                <a:pt x="22" y="90"/>
                              </a:lnTo>
                              <a:lnTo>
                                <a:pt x="27" y="99"/>
                              </a:lnTo>
                              <a:lnTo>
                                <a:pt x="78" y="126"/>
                              </a:lnTo>
                              <a:lnTo>
                                <a:pt x="110" y="107"/>
                              </a:lnTo>
                              <a:lnTo>
                                <a:pt x="111" y="107"/>
                              </a:lnTo>
                              <a:lnTo>
                                <a:pt x="112" y="107"/>
                              </a:lnTo>
                              <a:lnTo>
                                <a:pt x="120" y="109"/>
                              </a:lnTo>
                              <a:lnTo>
                                <a:pt x="120" y="109"/>
                              </a:lnTo>
                              <a:lnTo>
                                <a:pt x="120" y="110"/>
                              </a:lnTo>
                              <a:lnTo>
                                <a:pt x="145" y="125"/>
                              </a:lnTo>
                              <a:lnTo>
                                <a:pt x="152" y="117"/>
                              </a:lnTo>
                              <a:lnTo>
                                <a:pt x="153" y="116"/>
                              </a:lnTo>
                              <a:lnTo>
                                <a:pt x="153" y="116"/>
                              </a:lnTo>
                              <a:lnTo>
                                <a:pt x="185" y="114"/>
                              </a:lnTo>
                              <a:lnTo>
                                <a:pt x="185" y="114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66" name="Freeform 177">
                          <a:extLst>
                            <a:ext uri="{FF2B5EF4-FFF2-40B4-BE49-F238E27FC236}">
                              <a16:creationId xmlns:a16="http://schemas.microsoft.com/office/drawing/2014/main" id="{5F8D58A0-CA98-4D6A-A611-E12561E7CB45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776699" y="1354350"/>
                          <a:ext cx="171346" cy="226751"/>
                        </a:xfrm>
                        <a:custGeom>
                          <a:avLst/>
                          <a:gdLst>
                            <a:gd name="T0" fmla="*/ 3 w 167"/>
                            <a:gd name="T1" fmla="*/ 67 h 221"/>
                            <a:gd name="T2" fmla="*/ 28 w 167"/>
                            <a:gd name="T3" fmla="*/ 91 h 221"/>
                            <a:gd name="T4" fmla="*/ 29 w 167"/>
                            <a:gd name="T5" fmla="*/ 93 h 221"/>
                            <a:gd name="T6" fmla="*/ 29 w 167"/>
                            <a:gd name="T7" fmla="*/ 126 h 221"/>
                            <a:gd name="T8" fmla="*/ 19 w 167"/>
                            <a:gd name="T9" fmla="*/ 140 h 221"/>
                            <a:gd name="T10" fmla="*/ 13 w 167"/>
                            <a:gd name="T11" fmla="*/ 147 h 221"/>
                            <a:gd name="T12" fmla="*/ 34 w 167"/>
                            <a:gd name="T13" fmla="*/ 168 h 221"/>
                            <a:gd name="T14" fmla="*/ 35 w 167"/>
                            <a:gd name="T15" fmla="*/ 169 h 221"/>
                            <a:gd name="T16" fmla="*/ 38 w 167"/>
                            <a:gd name="T17" fmla="*/ 196 h 221"/>
                            <a:gd name="T18" fmla="*/ 25 w 167"/>
                            <a:gd name="T19" fmla="*/ 209 h 221"/>
                            <a:gd name="T20" fmla="*/ 42 w 167"/>
                            <a:gd name="T21" fmla="*/ 219 h 221"/>
                            <a:gd name="T22" fmla="*/ 49 w 167"/>
                            <a:gd name="T23" fmla="*/ 212 h 221"/>
                            <a:gd name="T24" fmla="*/ 60 w 167"/>
                            <a:gd name="T25" fmla="*/ 217 h 221"/>
                            <a:gd name="T26" fmla="*/ 81 w 167"/>
                            <a:gd name="T27" fmla="*/ 209 h 221"/>
                            <a:gd name="T28" fmla="*/ 83 w 167"/>
                            <a:gd name="T29" fmla="*/ 208 h 221"/>
                            <a:gd name="T30" fmla="*/ 94 w 167"/>
                            <a:gd name="T31" fmla="*/ 216 h 221"/>
                            <a:gd name="T32" fmla="*/ 110 w 167"/>
                            <a:gd name="T33" fmla="*/ 214 h 221"/>
                            <a:gd name="T34" fmla="*/ 111 w 167"/>
                            <a:gd name="T35" fmla="*/ 214 h 221"/>
                            <a:gd name="T36" fmla="*/ 145 w 167"/>
                            <a:gd name="T37" fmla="*/ 201 h 221"/>
                            <a:gd name="T38" fmla="*/ 145 w 167"/>
                            <a:gd name="T39" fmla="*/ 178 h 221"/>
                            <a:gd name="T40" fmla="*/ 145 w 167"/>
                            <a:gd name="T41" fmla="*/ 177 h 221"/>
                            <a:gd name="T42" fmla="*/ 134 w 167"/>
                            <a:gd name="T43" fmla="*/ 163 h 221"/>
                            <a:gd name="T44" fmla="*/ 125 w 167"/>
                            <a:gd name="T45" fmla="*/ 136 h 221"/>
                            <a:gd name="T46" fmla="*/ 125 w 167"/>
                            <a:gd name="T47" fmla="*/ 135 h 221"/>
                            <a:gd name="T48" fmla="*/ 131 w 167"/>
                            <a:gd name="T49" fmla="*/ 115 h 221"/>
                            <a:gd name="T50" fmla="*/ 151 w 167"/>
                            <a:gd name="T51" fmla="*/ 92 h 221"/>
                            <a:gd name="T52" fmla="*/ 151 w 167"/>
                            <a:gd name="T53" fmla="*/ 92 h 221"/>
                            <a:gd name="T54" fmla="*/ 167 w 167"/>
                            <a:gd name="T55" fmla="*/ 66 h 221"/>
                            <a:gd name="T56" fmla="*/ 113 w 167"/>
                            <a:gd name="T57" fmla="*/ 48 h 221"/>
                            <a:gd name="T58" fmla="*/ 112 w 167"/>
                            <a:gd name="T59" fmla="*/ 48 h 221"/>
                            <a:gd name="T60" fmla="*/ 69 w 167"/>
                            <a:gd name="T61" fmla="*/ 20 h 221"/>
                            <a:gd name="T62" fmla="*/ 70 w 167"/>
                            <a:gd name="T63" fmla="*/ 3 h 221"/>
                            <a:gd name="T64" fmla="*/ 61 w 167"/>
                            <a:gd name="T65" fmla="*/ 4 h 221"/>
                            <a:gd name="T66" fmla="*/ 60 w 167"/>
                            <a:gd name="T67" fmla="*/ 5 h 221"/>
                            <a:gd name="T68" fmla="*/ 23 w 167"/>
                            <a:gd name="T69" fmla="*/ 14 h 221"/>
                            <a:gd name="T70" fmla="*/ 23 w 167"/>
                            <a:gd name="T71" fmla="*/ 14 h 221"/>
                            <a:gd name="T72" fmla="*/ 0 w 167"/>
                            <a:gd name="T73" fmla="*/ 48 h 221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</a:cxnLst>
                          <a:rect l="0" t="0" r="r" b="b"/>
                          <a:pathLst>
                            <a:path w="167" h="221">
                              <a:moveTo>
                                <a:pt x="0" y="48"/>
                              </a:moveTo>
                              <a:lnTo>
                                <a:pt x="3" y="67"/>
                              </a:lnTo>
                              <a:lnTo>
                                <a:pt x="13" y="83"/>
                              </a:lnTo>
                              <a:lnTo>
                                <a:pt x="28" y="91"/>
                              </a:lnTo>
                              <a:lnTo>
                                <a:pt x="29" y="92"/>
                              </a:lnTo>
                              <a:lnTo>
                                <a:pt x="29" y="93"/>
                              </a:lnTo>
                              <a:lnTo>
                                <a:pt x="29" y="125"/>
                              </a:lnTo>
                              <a:lnTo>
                                <a:pt x="29" y="126"/>
                              </a:lnTo>
                              <a:lnTo>
                                <a:pt x="28" y="126"/>
                              </a:lnTo>
                              <a:lnTo>
                                <a:pt x="19" y="140"/>
                              </a:lnTo>
                              <a:lnTo>
                                <a:pt x="19" y="140"/>
                              </a:lnTo>
                              <a:lnTo>
                                <a:pt x="13" y="147"/>
                              </a:lnTo>
                              <a:lnTo>
                                <a:pt x="20" y="159"/>
                              </a:lnTo>
                              <a:lnTo>
                                <a:pt x="34" y="168"/>
                              </a:lnTo>
                              <a:lnTo>
                                <a:pt x="35" y="168"/>
                              </a:lnTo>
                              <a:lnTo>
                                <a:pt x="35" y="169"/>
                              </a:lnTo>
                              <a:lnTo>
                                <a:pt x="38" y="195"/>
                              </a:lnTo>
                              <a:lnTo>
                                <a:pt x="38" y="196"/>
                              </a:lnTo>
                              <a:lnTo>
                                <a:pt x="37" y="197"/>
                              </a:lnTo>
                              <a:lnTo>
                                <a:pt x="25" y="209"/>
                              </a:lnTo>
                              <a:lnTo>
                                <a:pt x="25" y="220"/>
                              </a:lnTo>
                              <a:lnTo>
                                <a:pt x="42" y="219"/>
                              </a:lnTo>
                              <a:lnTo>
                                <a:pt x="48" y="213"/>
                              </a:lnTo>
                              <a:lnTo>
                                <a:pt x="49" y="212"/>
                              </a:lnTo>
                              <a:lnTo>
                                <a:pt x="51" y="212"/>
                              </a:lnTo>
                              <a:lnTo>
                                <a:pt x="60" y="217"/>
                              </a:lnTo>
                              <a:lnTo>
                                <a:pt x="76" y="213"/>
                              </a:lnTo>
                              <a:lnTo>
                                <a:pt x="81" y="209"/>
                              </a:lnTo>
                              <a:lnTo>
                                <a:pt x="82" y="208"/>
                              </a:lnTo>
                              <a:lnTo>
                                <a:pt x="83" y="208"/>
                              </a:lnTo>
                              <a:lnTo>
                                <a:pt x="94" y="216"/>
                              </a:lnTo>
                              <a:lnTo>
                                <a:pt x="94" y="216"/>
                              </a:lnTo>
                              <a:lnTo>
                                <a:pt x="102" y="221"/>
                              </a:lnTo>
                              <a:lnTo>
                                <a:pt x="110" y="214"/>
                              </a:lnTo>
                              <a:lnTo>
                                <a:pt x="110" y="214"/>
                              </a:lnTo>
                              <a:lnTo>
                                <a:pt x="111" y="214"/>
                              </a:lnTo>
                              <a:lnTo>
                                <a:pt x="135" y="215"/>
                              </a:lnTo>
                              <a:lnTo>
                                <a:pt x="145" y="201"/>
                              </a:lnTo>
                              <a:lnTo>
                                <a:pt x="151" y="183"/>
                              </a:lnTo>
                              <a:lnTo>
                                <a:pt x="145" y="178"/>
                              </a:lnTo>
                              <a:lnTo>
                                <a:pt x="145" y="177"/>
                              </a:lnTo>
                              <a:lnTo>
                                <a:pt x="145" y="177"/>
                              </a:lnTo>
                              <a:lnTo>
                                <a:pt x="134" y="163"/>
                              </a:lnTo>
                              <a:lnTo>
                                <a:pt x="134" y="163"/>
                              </a:lnTo>
                              <a:lnTo>
                                <a:pt x="133" y="163"/>
                              </a:lnTo>
                              <a:lnTo>
                                <a:pt x="125" y="136"/>
                              </a:lnTo>
                              <a:lnTo>
                                <a:pt x="125" y="135"/>
                              </a:lnTo>
                              <a:lnTo>
                                <a:pt x="125" y="135"/>
                              </a:lnTo>
                              <a:lnTo>
                                <a:pt x="131" y="116"/>
                              </a:lnTo>
                              <a:lnTo>
                                <a:pt x="131" y="115"/>
                              </a:lnTo>
                              <a:lnTo>
                                <a:pt x="131" y="115"/>
                              </a:lnTo>
                              <a:lnTo>
                                <a:pt x="151" y="92"/>
                              </a:lnTo>
                              <a:lnTo>
                                <a:pt x="151" y="92"/>
                              </a:lnTo>
                              <a:lnTo>
                                <a:pt x="151" y="92"/>
                              </a:lnTo>
                              <a:lnTo>
                                <a:pt x="164" y="80"/>
                              </a:lnTo>
                              <a:lnTo>
                                <a:pt x="167" y="66"/>
                              </a:lnTo>
                              <a:lnTo>
                                <a:pt x="151" y="47"/>
                              </a:lnTo>
                              <a:lnTo>
                                <a:pt x="113" y="48"/>
                              </a:lnTo>
                              <a:lnTo>
                                <a:pt x="112" y="48"/>
                              </a:lnTo>
                              <a:lnTo>
                                <a:pt x="112" y="48"/>
                              </a:lnTo>
                              <a:lnTo>
                                <a:pt x="70" y="20"/>
                              </a:lnTo>
                              <a:lnTo>
                                <a:pt x="69" y="20"/>
                              </a:lnTo>
                              <a:lnTo>
                                <a:pt x="69" y="19"/>
                              </a:lnTo>
                              <a:lnTo>
                                <a:pt x="70" y="3"/>
                              </a:lnTo>
                              <a:lnTo>
                                <a:pt x="65" y="0"/>
                              </a:lnTo>
                              <a:lnTo>
                                <a:pt x="61" y="4"/>
                              </a:lnTo>
                              <a:lnTo>
                                <a:pt x="61" y="5"/>
                              </a:lnTo>
                              <a:lnTo>
                                <a:pt x="60" y="5"/>
                              </a:lnTo>
                              <a:lnTo>
                                <a:pt x="24" y="10"/>
                              </a:lnTo>
                              <a:lnTo>
                                <a:pt x="23" y="14"/>
                              </a:lnTo>
                              <a:lnTo>
                                <a:pt x="23" y="14"/>
                              </a:lnTo>
                              <a:lnTo>
                                <a:pt x="23" y="14"/>
                              </a:lnTo>
                              <a:lnTo>
                                <a:pt x="0" y="48"/>
                              </a:lnTo>
                              <a:lnTo>
                                <a:pt x="0" y="48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67" name="Freeform 178">
                          <a:extLst>
                            <a:ext uri="{FF2B5EF4-FFF2-40B4-BE49-F238E27FC236}">
                              <a16:creationId xmlns:a16="http://schemas.microsoft.com/office/drawing/2014/main" id="{1357664C-A219-4E4B-9529-982D1461C789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908030" y="1441562"/>
                          <a:ext cx="149799" cy="200075"/>
                        </a:xfrm>
                        <a:custGeom>
                          <a:avLst/>
                          <a:gdLst>
                            <a:gd name="T0" fmla="*/ 36 w 146"/>
                            <a:gd name="T1" fmla="*/ 0 h 195"/>
                            <a:gd name="T2" fmla="*/ 26 w 146"/>
                            <a:gd name="T3" fmla="*/ 9 h 195"/>
                            <a:gd name="T4" fmla="*/ 6 w 146"/>
                            <a:gd name="T5" fmla="*/ 32 h 195"/>
                            <a:gd name="T6" fmla="*/ 0 w 146"/>
                            <a:gd name="T7" fmla="*/ 50 h 195"/>
                            <a:gd name="T8" fmla="*/ 9 w 146"/>
                            <a:gd name="T9" fmla="*/ 77 h 195"/>
                            <a:gd name="T10" fmla="*/ 19 w 146"/>
                            <a:gd name="T11" fmla="*/ 90 h 195"/>
                            <a:gd name="T12" fmla="*/ 26 w 146"/>
                            <a:gd name="T13" fmla="*/ 96 h 195"/>
                            <a:gd name="T14" fmla="*/ 27 w 146"/>
                            <a:gd name="T15" fmla="*/ 97 h 195"/>
                            <a:gd name="T16" fmla="*/ 27 w 146"/>
                            <a:gd name="T17" fmla="*/ 98 h 195"/>
                            <a:gd name="T18" fmla="*/ 20 w 146"/>
                            <a:gd name="T19" fmla="*/ 117 h 195"/>
                            <a:gd name="T20" fmla="*/ 20 w 146"/>
                            <a:gd name="T21" fmla="*/ 117 h 195"/>
                            <a:gd name="T22" fmla="*/ 20 w 146"/>
                            <a:gd name="T23" fmla="*/ 118 h 195"/>
                            <a:gd name="T24" fmla="*/ 10 w 146"/>
                            <a:gd name="T25" fmla="*/ 132 h 195"/>
                            <a:gd name="T26" fmla="*/ 48 w 146"/>
                            <a:gd name="T27" fmla="*/ 195 h 195"/>
                            <a:gd name="T28" fmla="*/ 75 w 146"/>
                            <a:gd name="T29" fmla="*/ 180 h 195"/>
                            <a:gd name="T30" fmla="*/ 75 w 146"/>
                            <a:gd name="T31" fmla="*/ 180 h 195"/>
                            <a:gd name="T32" fmla="*/ 76 w 146"/>
                            <a:gd name="T33" fmla="*/ 180 h 195"/>
                            <a:gd name="T34" fmla="*/ 109 w 146"/>
                            <a:gd name="T35" fmla="*/ 178 h 195"/>
                            <a:gd name="T36" fmla="*/ 146 w 146"/>
                            <a:gd name="T37" fmla="*/ 156 h 195"/>
                            <a:gd name="T38" fmla="*/ 138 w 146"/>
                            <a:gd name="T39" fmla="*/ 135 h 195"/>
                            <a:gd name="T40" fmla="*/ 102 w 146"/>
                            <a:gd name="T41" fmla="*/ 88 h 195"/>
                            <a:gd name="T42" fmla="*/ 84 w 146"/>
                            <a:gd name="T43" fmla="*/ 81 h 195"/>
                            <a:gd name="T44" fmla="*/ 84 w 146"/>
                            <a:gd name="T45" fmla="*/ 81 h 195"/>
                            <a:gd name="T46" fmla="*/ 84 w 146"/>
                            <a:gd name="T47" fmla="*/ 80 h 195"/>
                            <a:gd name="T48" fmla="*/ 70 w 146"/>
                            <a:gd name="T49" fmla="*/ 66 h 195"/>
                            <a:gd name="T50" fmla="*/ 69 w 146"/>
                            <a:gd name="T51" fmla="*/ 64 h 195"/>
                            <a:gd name="T52" fmla="*/ 70 w 146"/>
                            <a:gd name="T53" fmla="*/ 63 h 195"/>
                            <a:gd name="T54" fmla="*/ 80 w 146"/>
                            <a:gd name="T55" fmla="*/ 50 h 195"/>
                            <a:gd name="T56" fmla="*/ 84 w 146"/>
                            <a:gd name="T57" fmla="*/ 33 h 195"/>
                            <a:gd name="T58" fmla="*/ 76 w 146"/>
                            <a:gd name="T59" fmla="*/ 24 h 195"/>
                            <a:gd name="T60" fmla="*/ 58 w 146"/>
                            <a:gd name="T61" fmla="*/ 39 h 195"/>
                            <a:gd name="T62" fmla="*/ 56 w 146"/>
                            <a:gd name="T63" fmla="*/ 41 h 195"/>
                            <a:gd name="T64" fmla="*/ 55 w 146"/>
                            <a:gd name="T65" fmla="*/ 39 h 195"/>
                            <a:gd name="T66" fmla="*/ 38 w 146"/>
                            <a:gd name="T67" fmla="*/ 21 h 195"/>
                            <a:gd name="T68" fmla="*/ 38 w 146"/>
                            <a:gd name="T69" fmla="*/ 21 h 195"/>
                            <a:gd name="T70" fmla="*/ 38 w 146"/>
                            <a:gd name="T71" fmla="*/ 20 h 195"/>
                            <a:gd name="T72" fmla="*/ 36 w 146"/>
                            <a:gd name="T73" fmla="*/ 0 h 195"/>
                            <a:gd name="T74" fmla="*/ 36 w 146"/>
                            <a:gd name="T75" fmla="*/ 0 h 19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</a:cxnLst>
                          <a:rect l="0" t="0" r="r" b="b"/>
                          <a:pathLst>
                            <a:path w="146" h="195">
                              <a:moveTo>
                                <a:pt x="36" y="0"/>
                              </a:moveTo>
                              <a:lnTo>
                                <a:pt x="26" y="9"/>
                              </a:lnTo>
                              <a:lnTo>
                                <a:pt x="6" y="32"/>
                              </a:lnTo>
                              <a:lnTo>
                                <a:pt x="0" y="50"/>
                              </a:lnTo>
                              <a:lnTo>
                                <a:pt x="9" y="77"/>
                              </a:lnTo>
                              <a:lnTo>
                                <a:pt x="19" y="90"/>
                              </a:lnTo>
                              <a:lnTo>
                                <a:pt x="26" y="96"/>
                              </a:lnTo>
                              <a:lnTo>
                                <a:pt x="27" y="97"/>
                              </a:lnTo>
                              <a:lnTo>
                                <a:pt x="27" y="98"/>
                              </a:lnTo>
                              <a:lnTo>
                                <a:pt x="20" y="117"/>
                              </a:lnTo>
                              <a:lnTo>
                                <a:pt x="20" y="117"/>
                              </a:lnTo>
                              <a:lnTo>
                                <a:pt x="20" y="118"/>
                              </a:lnTo>
                              <a:lnTo>
                                <a:pt x="10" y="132"/>
                              </a:lnTo>
                              <a:lnTo>
                                <a:pt x="48" y="195"/>
                              </a:lnTo>
                              <a:lnTo>
                                <a:pt x="75" y="180"/>
                              </a:lnTo>
                              <a:lnTo>
                                <a:pt x="75" y="180"/>
                              </a:lnTo>
                              <a:lnTo>
                                <a:pt x="76" y="180"/>
                              </a:lnTo>
                              <a:lnTo>
                                <a:pt x="109" y="178"/>
                              </a:lnTo>
                              <a:lnTo>
                                <a:pt x="146" y="156"/>
                              </a:lnTo>
                              <a:lnTo>
                                <a:pt x="138" y="135"/>
                              </a:lnTo>
                              <a:lnTo>
                                <a:pt x="102" y="88"/>
                              </a:lnTo>
                              <a:lnTo>
                                <a:pt x="84" y="81"/>
                              </a:lnTo>
                              <a:lnTo>
                                <a:pt x="84" y="81"/>
                              </a:lnTo>
                              <a:lnTo>
                                <a:pt x="84" y="80"/>
                              </a:lnTo>
                              <a:lnTo>
                                <a:pt x="70" y="66"/>
                              </a:lnTo>
                              <a:lnTo>
                                <a:pt x="69" y="64"/>
                              </a:lnTo>
                              <a:lnTo>
                                <a:pt x="70" y="63"/>
                              </a:lnTo>
                              <a:lnTo>
                                <a:pt x="80" y="50"/>
                              </a:lnTo>
                              <a:lnTo>
                                <a:pt x="84" y="33"/>
                              </a:lnTo>
                              <a:lnTo>
                                <a:pt x="76" y="24"/>
                              </a:lnTo>
                              <a:lnTo>
                                <a:pt x="58" y="39"/>
                              </a:lnTo>
                              <a:lnTo>
                                <a:pt x="56" y="41"/>
                              </a:lnTo>
                              <a:lnTo>
                                <a:pt x="55" y="39"/>
                              </a:lnTo>
                              <a:lnTo>
                                <a:pt x="38" y="21"/>
                              </a:lnTo>
                              <a:lnTo>
                                <a:pt x="38" y="21"/>
                              </a:lnTo>
                              <a:lnTo>
                                <a:pt x="38" y="20"/>
                              </a:lnTo>
                              <a:lnTo>
                                <a:pt x="36" y="0"/>
                              </a:lnTo>
                              <a:lnTo>
                                <a:pt x="36" y="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68" name="Freeform 179">
                          <a:extLst>
                            <a:ext uri="{FF2B5EF4-FFF2-40B4-BE49-F238E27FC236}">
                              <a16:creationId xmlns:a16="http://schemas.microsoft.com/office/drawing/2014/main" id="{489CFB2E-5CBC-4E7F-809D-C646B79D6320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983956" y="1467213"/>
                          <a:ext cx="150826" cy="133383"/>
                        </a:xfrm>
                        <a:custGeom>
                          <a:avLst/>
                          <a:gdLst>
                            <a:gd name="T0" fmla="*/ 11 w 147"/>
                            <a:gd name="T1" fmla="*/ 3 h 130"/>
                            <a:gd name="T2" fmla="*/ 14 w 147"/>
                            <a:gd name="T3" fmla="*/ 6 h 130"/>
                            <a:gd name="T4" fmla="*/ 14 w 147"/>
                            <a:gd name="T5" fmla="*/ 7 h 130"/>
                            <a:gd name="T6" fmla="*/ 14 w 147"/>
                            <a:gd name="T7" fmla="*/ 8 h 130"/>
                            <a:gd name="T8" fmla="*/ 9 w 147"/>
                            <a:gd name="T9" fmla="*/ 26 h 130"/>
                            <a:gd name="T10" fmla="*/ 9 w 147"/>
                            <a:gd name="T11" fmla="*/ 26 h 130"/>
                            <a:gd name="T12" fmla="*/ 9 w 147"/>
                            <a:gd name="T13" fmla="*/ 27 h 130"/>
                            <a:gd name="T14" fmla="*/ 0 w 147"/>
                            <a:gd name="T15" fmla="*/ 39 h 130"/>
                            <a:gd name="T16" fmla="*/ 12 w 147"/>
                            <a:gd name="T17" fmla="*/ 52 h 130"/>
                            <a:gd name="T18" fmla="*/ 30 w 147"/>
                            <a:gd name="T19" fmla="*/ 60 h 130"/>
                            <a:gd name="T20" fmla="*/ 30 w 147"/>
                            <a:gd name="T21" fmla="*/ 61 h 130"/>
                            <a:gd name="T22" fmla="*/ 31 w 147"/>
                            <a:gd name="T23" fmla="*/ 61 h 130"/>
                            <a:gd name="T24" fmla="*/ 67 w 147"/>
                            <a:gd name="T25" fmla="*/ 107 h 130"/>
                            <a:gd name="T26" fmla="*/ 68 w 147"/>
                            <a:gd name="T27" fmla="*/ 108 h 130"/>
                            <a:gd name="T28" fmla="*/ 68 w 147"/>
                            <a:gd name="T29" fmla="*/ 108 h 130"/>
                            <a:gd name="T30" fmla="*/ 75 w 147"/>
                            <a:gd name="T31" fmla="*/ 130 h 130"/>
                            <a:gd name="T32" fmla="*/ 87 w 147"/>
                            <a:gd name="T33" fmla="*/ 127 h 130"/>
                            <a:gd name="T34" fmla="*/ 96 w 147"/>
                            <a:gd name="T35" fmla="*/ 115 h 130"/>
                            <a:gd name="T36" fmla="*/ 96 w 147"/>
                            <a:gd name="T37" fmla="*/ 114 h 130"/>
                            <a:gd name="T38" fmla="*/ 97 w 147"/>
                            <a:gd name="T39" fmla="*/ 114 h 130"/>
                            <a:gd name="T40" fmla="*/ 119 w 147"/>
                            <a:gd name="T41" fmla="*/ 112 h 130"/>
                            <a:gd name="T42" fmla="*/ 120 w 147"/>
                            <a:gd name="T43" fmla="*/ 112 h 130"/>
                            <a:gd name="T44" fmla="*/ 121 w 147"/>
                            <a:gd name="T45" fmla="*/ 113 h 130"/>
                            <a:gd name="T46" fmla="*/ 129 w 147"/>
                            <a:gd name="T47" fmla="*/ 121 h 130"/>
                            <a:gd name="T48" fmla="*/ 143 w 147"/>
                            <a:gd name="T49" fmla="*/ 113 h 130"/>
                            <a:gd name="T50" fmla="*/ 147 w 147"/>
                            <a:gd name="T51" fmla="*/ 65 h 130"/>
                            <a:gd name="T52" fmla="*/ 125 w 147"/>
                            <a:gd name="T53" fmla="*/ 53 h 130"/>
                            <a:gd name="T54" fmla="*/ 124 w 147"/>
                            <a:gd name="T55" fmla="*/ 53 h 130"/>
                            <a:gd name="T56" fmla="*/ 124 w 147"/>
                            <a:gd name="T57" fmla="*/ 52 h 130"/>
                            <a:gd name="T58" fmla="*/ 123 w 147"/>
                            <a:gd name="T59" fmla="*/ 32 h 130"/>
                            <a:gd name="T60" fmla="*/ 113 w 147"/>
                            <a:gd name="T61" fmla="*/ 23 h 130"/>
                            <a:gd name="T62" fmla="*/ 97 w 147"/>
                            <a:gd name="T63" fmla="*/ 28 h 130"/>
                            <a:gd name="T64" fmla="*/ 96 w 147"/>
                            <a:gd name="T65" fmla="*/ 29 h 130"/>
                            <a:gd name="T66" fmla="*/ 96 w 147"/>
                            <a:gd name="T67" fmla="*/ 28 h 130"/>
                            <a:gd name="T68" fmla="*/ 43 w 147"/>
                            <a:gd name="T69" fmla="*/ 0 h 130"/>
                            <a:gd name="T70" fmla="*/ 11 w 147"/>
                            <a:gd name="T71" fmla="*/ 3 h 130"/>
                            <a:gd name="T72" fmla="*/ 11 w 147"/>
                            <a:gd name="T73" fmla="*/ 3 h 13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</a:cxnLst>
                          <a:rect l="0" t="0" r="r" b="b"/>
                          <a:pathLst>
                            <a:path w="147" h="130">
                              <a:moveTo>
                                <a:pt x="11" y="3"/>
                              </a:moveTo>
                              <a:lnTo>
                                <a:pt x="14" y="6"/>
                              </a:lnTo>
                              <a:lnTo>
                                <a:pt x="14" y="7"/>
                              </a:lnTo>
                              <a:lnTo>
                                <a:pt x="14" y="8"/>
                              </a:lnTo>
                              <a:lnTo>
                                <a:pt x="9" y="26"/>
                              </a:lnTo>
                              <a:lnTo>
                                <a:pt x="9" y="26"/>
                              </a:lnTo>
                              <a:lnTo>
                                <a:pt x="9" y="27"/>
                              </a:lnTo>
                              <a:lnTo>
                                <a:pt x="0" y="39"/>
                              </a:lnTo>
                              <a:lnTo>
                                <a:pt x="12" y="52"/>
                              </a:lnTo>
                              <a:lnTo>
                                <a:pt x="30" y="60"/>
                              </a:lnTo>
                              <a:lnTo>
                                <a:pt x="30" y="61"/>
                              </a:lnTo>
                              <a:lnTo>
                                <a:pt x="31" y="61"/>
                              </a:lnTo>
                              <a:lnTo>
                                <a:pt x="67" y="107"/>
                              </a:lnTo>
                              <a:lnTo>
                                <a:pt x="68" y="108"/>
                              </a:lnTo>
                              <a:lnTo>
                                <a:pt x="68" y="108"/>
                              </a:lnTo>
                              <a:lnTo>
                                <a:pt x="75" y="130"/>
                              </a:lnTo>
                              <a:lnTo>
                                <a:pt x="87" y="127"/>
                              </a:lnTo>
                              <a:lnTo>
                                <a:pt x="96" y="115"/>
                              </a:lnTo>
                              <a:lnTo>
                                <a:pt x="96" y="114"/>
                              </a:lnTo>
                              <a:lnTo>
                                <a:pt x="97" y="114"/>
                              </a:lnTo>
                              <a:lnTo>
                                <a:pt x="119" y="112"/>
                              </a:lnTo>
                              <a:lnTo>
                                <a:pt x="120" y="112"/>
                              </a:lnTo>
                              <a:lnTo>
                                <a:pt x="121" y="113"/>
                              </a:lnTo>
                              <a:lnTo>
                                <a:pt x="129" y="121"/>
                              </a:lnTo>
                              <a:lnTo>
                                <a:pt x="143" y="113"/>
                              </a:lnTo>
                              <a:lnTo>
                                <a:pt x="147" y="65"/>
                              </a:lnTo>
                              <a:lnTo>
                                <a:pt x="125" y="53"/>
                              </a:lnTo>
                              <a:lnTo>
                                <a:pt x="124" y="53"/>
                              </a:lnTo>
                              <a:lnTo>
                                <a:pt x="124" y="52"/>
                              </a:lnTo>
                              <a:lnTo>
                                <a:pt x="123" y="32"/>
                              </a:lnTo>
                              <a:lnTo>
                                <a:pt x="113" y="23"/>
                              </a:lnTo>
                              <a:lnTo>
                                <a:pt x="97" y="28"/>
                              </a:lnTo>
                              <a:lnTo>
                                <a:pt x="96" y="29"/>
                              </a:lnTo>
                              <a:lnTo>
                                <a:pt x="96" y="28"/>
                              </a:lnTo>
                              <a:lnTo>
                                <a:pt x="43" y="0"/>
                              </a:lnTo>
                              <a:lnTo>
                                <a:pt x="11" y="3"/>
                              </a:lnTo>
                              <a:lnTo>
                                <a:pt x="11" y="3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69" name="Freeform 180">
                          <a:extLst>
                            <a:ext uri="{FF2B5EF4-FFF2-40B4-BE49-F238E27FC236}">
                              <a16:creationId xmlns:a16="http://schemas.microsoft.com/office/drawing/2014/main" id="{DC0896D3-9825-4384-BE6C-73D22CB53370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050647" y="1426172"/>
                          <a:ext cx="323197" cy="193919"/>
                        </a:xfrm>
                        <a:custGeom>
                          <a:avLst/>
                          <a:gdLst>
                            <a:gd name="T0" fmla="*/ 0 w 315"/>
                            <a:gd name="T1" fmla="*/ 48 h 189"/>
                            <a:gd name="T2" fmla="*/ 32 w 315"/>
                            <a:gd name="T3" fmla="*/ 65 h 189"/>
                            <a:gd name="T4" fmla="*/ 48 w 315"/>
                            <a:gd name="T5" fmla="*/ 59 h 189"/>
                            <a:gd name="T6" fmla="*/ 49 w 315"/>
                            <a:gd name="T7" fmla="*/ 59 h 189"/>
                            <a:gd name="T8" fmla="*/ 50 w 315"/>
                            <a:gd name="T9" fmla="*/ 60 h 189"/>
                            <a:gd name="T10" fmla="*/ 61 w 315"/>
                            <a:gd name="T11" fmla="*/ 70 h 189"/>
                            <a:gd name="T12" fmla="*/ 62 w 315"/>
                            <a:gd name="T13" fmla="*/ 70 h 189"/>
                            <a:gd name="T14" fmla="*/ 62 w 315"/>
                            <a:gd name="T15" fmla="*/ 71 h 189"/>
                            <a:gd name="T16" fmla="*/ 63 w 315"/>
                            <a:gd name="T17" fmla="*/ 91 h 189"/>
                            <a:gd name="T18" fmla="*/ 85 w 315"/>
                            <a:gd name="T19" fmla="*/ 102 h 189"/>
                            <a:gd name="T20" fmla="*/ 86 w 315"/>
                            <a:gd name="T21" fmla="*/ 103 h 189"/>
                            <a:gd name="T22" fmla="*/ 86 w 315"/>
                            <a:gd name="T23" fmla="*/ 104 h 189"/>
                            <a:gd name="T24" fmla="*/ 82 w 315"/>
                            <a:gd name="T25" fmla="*/ 152 h 189"/>
                            <a:gd name="T26" fmla="*/ 147 w 315"/>
                            <a:gd name="T27" fmla="*/ 153 h 189"/>
                            <a:gd name="T28" fmla="*/ 155 w 315"/>
                            <a:gd name="T29" fmla="*/ 148 h 189"/>
                            <a:gd name="T30" fmla="*/ 156 w 315"/>
                            <a:gd name="T31" fmla="*/ 147 h 189"/>
                            <a:gd name="T32" fmla="*/ 156 w 315"/>
                            <a:gd name="T33" fmla="*/ 147 h 189"/>
                            <a:gd name="T34" fmla="*/ 178 w 315"/>
                            <a:gd name="T35" fmla="*/ 148 h 189"/>
                            <a:gd name="T36" fmla="*/ 179 w 315"/>
                            <a:gd name="T37" fmla="*/ 148 h 189"/>
                            <a:gd name="T38" fmla="*/ 180 w 315"/>
                            <a:gd name="T39" fmla="*/ 149 h 189"/>
                            <a:gd name="T40" fmla="*/ 185 w 315"/>
                            <a:gd name="T41" fmla="*/ 166 h 189"/>
                            <a:gd name="T42" fmla="*/ 203 w 315"/>
                            <a:gd name="T43" fmla="*/ 174 h 189"/>
                            <a:gd name="T44" fmla="*/ 203 w 315"/>
                            <a:gd name="T45" fmla="*/ 174 h 189"/>
                            <a:gd name="T46" fmla="*/ 203 w 315"/>
                            <a:gd name="T47" fmla="*/ 174 h 189"/>
                            <a:gd name="T48" fmla="*/ 218 w 315"/>
                            <a:gd name="T49" fmla="*/ 189 h 189"/>
                            <a:gd name="T50" fmla="*/ 242 w 315"/>
                            <a:gd name="T51" fmla="*/ 165 h 189"/>
                            <a:gd name="T52" fmla="*/ 243 w 315"/>
                            <a:gd name="T53" fmla="*/ 164 h 189"/>
                            <a:gd name="T54" fmla="*/ 244 w 315"/>
                            <a:gd name="T55" fmla="*/ 164 h 189"/>
                            <a:gd name="T56" fmla="*/ 302 w 315"/>
                            <a:gd name="T57" fmla="*/ 165 h 189"/>
                            <a:gd name="T58" fmla="*/ 303 w 315"/>
                            <a:gd name="T59" fmla="*/ 128 h 189"/>
                            <a:gd name="T60" fmla="*/ 303 w 315"/>
                            <a:gd name="T61" fmla="*/ 127 h 189"/>
                            <a:gd name="T62" fmla="*/ 304 w 315"/>
                            <a:gd name="T63" fmla="*/ 127 h 189"/>
                            <a:gd name="T64" fmla="*/ 315 w 315"/>
                            <a:gd name="T65" fmla="*/ 115 h 189"/>
                            <a:gd name="T66" fmla="*/ 302 w 315"/>
                            <a:gd name="T67" fmla="*/ 102 h 189"/>
                            <a:gd name="T68" fmla="*/ 271 w 315"/>
                            <a:gd name="T69" fmla="*/ 109 h 189"/>
                            <a:gd name="T70" fmla="*/ 271 w 315"/>
                            <a:gd name="T71" fmla="*/ 110 h 189"/>
                            <a:gd name="T72" fmla="*/ 270 w 315"/>
                            <a:gd name="T73" fmla="*/ 109 h 189"/>
                            <a:gd name="T74" fmla="*/ 223 w 315"/>
                            <a:gd name="T75" fmla="*/ 82 h 189"/>
                            <a:gd name="T76" fmla="*/ 223 w 315"/>
                            <a:gd name="T77" fmla="*/ 82 h 189"/>
                            <a:gd name="T78" fmla="*/ 223 w 315"/>
                            <a:gd name="T79" fmla="*/ 81 h 189"/>
                            <a:gd name="T80" fmla="*/ 194 w 315"/>
                            <a:gd name="T81" fmla="*/ 29 h 189"/>
                            <a:gd name="T82" fmla="*/ 152 w 315"/>
                            <a:gd name="T83" fmla="*/ 3 h 189"/>
                            <a:gd name="T84" fmla="*/ 87 w 315"/>
                            <a:gd name="T85" fmla="*/ 0 h 189"/>
                            <a:gd name="T86" fmla="*/ 64 w 315"/>
                            <a:gd name="T87" fmla="*/ 16 h 189"/>
                            <a:gd name="T88" fmla="*/ 64 w 315"/>
                            <a:gd name="T89" fmla="*/ 16 h 189"/>
                            <a:gd name="T90" fmla="*/ 63 w 315"/>
                            <a:gd name="T91" fmla="*/ 16 h 189"/>
                            <a:gd name="T92" fmla="*/ 38 w 315"/>
                            <a:gd name="T93" fmla="*/ 17 h 189"/>
                            <a:gd name="T94" fmla="*/ 31 w 315"/>
                            <a:gd name="T95" fmla="*/ 29 h 189"/>
                            <a:gd name="T96" fmla="*/ 31 w 315"/>
                            <a:gd name="T97" fmla="*/ 29 h 189"/>
                            <a:gd name="T98" fmla="*/ 30 w 315"/>
                            <a:gd name="T99" fmla="*/ 29 h 189"/>
                            <a:gd name="T100" fmla="*/ 0 w 315"/>
                            <a:gd name="T101" fmla="*/ 48 h 189"/>
                            <a:gd name="T102" fmla="*/ 0 w 315"/>
                            <a:gd name="T103" fmla="*/ 48 h 189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</a:cxnLst>
                          <a:rect l="0" t="0" r="r" b="b"/>
                          <a:pathLst>
                            <a:path w="315" h="189">
                              <a:moveTo>
                                <a:pt x="0" y="48"/>
                              </a:moveTo>
                              <a:lnTo>
                                <a:pt x="32" y="65"/>
                              </a:lnTo>
                              <a:lnTo>
                                <a:pt x="48" y="59"/>
                              </a:lnTo>
                              <a:lnTo>
                                <a:pt x="49" y="59"/>
                              </a:lnTo>
                              <a:lnTo>
                                <a:pt x="50" y="60"/>
                              </a:lnTo>
                              <a:lnTo>
                                <a:pt x="61" y="70"/>
                              </a:lnTo>
                              <a:lnTo>
                                <a:pt x="62" y="70"/>
                              </a:lnTo>
                              <a:lnTo>
                                <a:pt x="62" y="71"/>
                              </a:lnTo>
                              <a:lnTo>
                                <a:pt x="63" y="91"/>
                              </a:lnTo>
                              <a:lnTo>
                                <a:pt x="85" y="102"/>
                              </a:lnTo>
                              <a:lnTo>
                                <a:pt x="86" y="103"/>
                              </a:lnTo>
                              <a:lnTo>
                                <a:pt x="86" y="104"/>
                              </a:lnTo>
                              <a:lnTo>
                                <a:pt x="82" y="152"/>
                              </a:lnTo>
                              <a:lnTo>
                                <a:pt x="147" y="153"/>
                              </a:lnTo>
                              <a:lnTo>
                                <a:pt x="155" y="148"/>
                              </a:lnTo>
                              <a:lnTo>
                                <a:pt x="156" y="147"/>
                              </a:lnTo>
                              <a:lnTo>
                                <a:pt x="156" y="147"/>
                              </a:lnTo>
                              <a:lnTo>
                                <a:pt x="178" y="148"/>
                              </a:lnTo>
                              <a:lnTo>
                                <a:pt x="179" y="148"/>
                              </a:lnTo>
                              <a:lnTo>
                                <a:pt x="180" y="149"/>
                              </a:lnTo>
                              <a:lnTo>
                                <a:pt x="185" y="166"/>
                              </a:lnTo>
                              <a:lnTo>
                                <a:pt x="203" y="174"/>
                              </a:lnTo>
                              <a:lnTo>
                                <a:pt x="203" y="174"/>
                              </a:lnTo>
                              <a:lnTo>
                                <a:pt x="203" y="174"/>
                              </a:lnTo>
                              <a:lnTo>
                                <a:pt x="218" y="189"/>
                              </a:lnTo>
                              <a:lnTo>
                                <a:pt x="242" y="165"/>
                              </a:lnTo>
                              <a:lnTo>
                                <a:pt x="243" y="164"/>
                              </a:lnTo>
                              <a:lnTo>
                                <a:pt x="244" y="164"/>
                              </a:lnTo>
                              <a:lnTo>
                                <a:pt x="302" y="165"/>
                              </a:lnTo>
                              <a:lnTo>
                                <a:pt x="303" y="128"/>
                              </a:lnTo>
                              <a:lnTo>
                                <a:pt x="303" y="127"/>
                              </a:lnTo>
                              <a:lnTo>
                                <a:pt x="304" y="127"/>
                              </a:lnTo>
                              <a:lnTo>
                                <a:pt x="315" y="115"/>
                              </a:lnTo>
                              <a:lnTo>
                                <a:pt x="302" y="102"/>
                              </a:lnTo>
                              <a:lnTo>
                                <a:pt x="271" y="109"/>
                              </a:lnTo>
                              <a:lnTo>
                                <a:pt x="271" y="110"/>
                              </a:lnTo>
                              <a:lnTo>
                                <a:pt x="270" y="109"/>
                              </a:lnTo>
                              <a:lnTo>
                                <a:pt x="223" y="82"/>
                              </a:lnTo>
                              <a:lnTo>
                                <a:pt x="223" y="82"/>
                              </a:lnTo>
                              <a:lnTo>
                                <a:pt x="223" y="81"/>
                              </a:lnTo>
                              <a:lnTo>
                                <a:pt x="194" y="29"/>
                              </a:lnTo>
                              <a:lnTo>
                                <a:pt x="152" y="3"/>
                              </a:lnTo>
                              <a:lnTo>
                                <a:pt x="87" y="0"/>
                              </a:lnTo>
                              <a:lnTo>
                                <a:pt x="64" y="16"/>
                              </a:lnTo>
                              <a:lnTo>
                                <a:pt x="64" y="16"/>
                              </a:lnTo>
                              <a:lnTo>
                                <a:pt x="63" y="16"/>
                              </a:lnTo>
                              <a:lnTo>
                                <a:pt x="38" y="17"/>
                              </a:lnTo>
                              <a:lnTo>
                                <a:pt x="31" y="29"/>
                              </a:lnTo>
                              <a:lnTo>
                                <a:pt x="31" y="29"/>
                              </a:lnTo>
                              <a:lnTo>
                                <a:pt x="30" y="29"/>
                              </a:lnTo>
                              <a:lnTo>
                                <a:pt x="0" y="48"/>
                              </a:lnTo>
                              <a:lnTo>
                                <a:pt x="0" y="48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70" name="Freeform 181">
                          <a:extLst>
                            <a:ext uri="{FF2B5EF4-FFF2-40B4-BE49-F238E27FC236}">
                              <a16:creationId xmlns:a16="http://schemas.microsoft.com/office/drawing/2014/main" id="{2669644F-EAA1-4C0F-A1F2-A6F0BC8014CF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87435" y="1161458"/>
                          <a:ext cx="355004" cy="257532"/>
                        </a:xfrm>
                        <a:custGeom>
                          <a:avLst/>
                          <a:gdLst>
                            <a:gd name="T0" fmla="*/ 284 w 346"/>
                            <a:gd name="T1" fmla="*/ 239 h 251"/>
                            <a:gd name="T2" fmla="*/ 280 w 346"/>
                            <a:gd name="T3" fmla="*/ 225 h 251"/>
                            <a:gd name="T4" fmla="*/ 289 w 346"/>
                            <a:gd name="T5" fmla="*/ 178 h 251"/>
                            <a:gd name="T6" fmla="*/ 291 w 346"/>
                            <a:gd name="T7" fmla="*/ 176 h 251"/>
                            <a:gd name="T8" fmla="*/ 346 w 346"/>
                            <a:gd name="T9" fmla="*/ 148 h 251"/>
                            <a:gd name="T10" fmla="*/ 312 w 346"/>
                            <a:gd name="T11" fmla="*/ 113 h 251"/>
                            <a:gd name="T12" fmla="*/ 309 w 346"/>
                            <a:gd name="T13" fmla="*/ 112 h 251"/>
                            <a:gd name="T14" fmla="*/ 256 w 346"/>
                            <a:gd name="T15" fmla="*/ 84 h 251"/>
                            <a:gd name="T16" fmla="*/ 255 w 346"/>
                            <a:gd name="T17" fmla="*/ 84 h 251"/>
                            <a:gd name="T18" fmla="*/ 231 w 346"/>
                            <a:gd name="T19" fmla="*/ 64 h 251"/>
                            <a:gd name="T20" fmla="*/ 227 w 346"/>
                            <a:gd name="T21" fmla="*/ 46 h 251"/>
                            <a:gd name="T22" fmla="*/ 203 w 346"/>
                            <a:gd name="T23" fmla="*/ 39 h 251"/>
                            <a:gd name="T24" fmla="*/ 199 w 346"/>
                            <a:gd name="T25" fmla="*/ 56 h 251"/>
                            <a:gd name="T26" fmla="*/ 154 w 346"/>
                            <a:gd name="T27" fmla="*/ 52 h 251"/>
                            <a:gd name="T28" fmla="*/ 153 w 346"/>
                            <a:gd name="T29" fmla="*/ 52 h 251"/>
                            <a:gd name="T30" fmla="*/ 96 w 346"/>
                            <a:gd name="T31" fmla="*/ 28 h 251"/>
                            <a:gd name="T32" fmla="*/ 95 w 346"/>
                            <a:gd name="T33" fmla="*/ 28 h 251"/>
                            <a:gd name="T34" fmla="*/ 73 w 346"/>
                            <a:gd name="T35" fmla="*/ 11 h 251"/>
                            <a:gd name="T36" fmla="*/ 61 w 346"/>
                            <a:gd name="T37" fmla="*/ 0 h 251"/>
                            <a:gd name="T38" fmla="*/ 43 w 346"/>
                            <a:gd name="T39" fmla="*/ 39 h 251"/>
                            <a:gd name="T40" fmla="*/ 43 w 346"/>
                            <a:gd name="T41" fmla="*/ 40 h 251"/>
                            <a:gd name="T42" fmla="*/ 30 w 346"/>
                            <a:gd name="T43" fmla="*/ 59 h 251"/>
                            <a:gd name="T44" fmla="*/ 0 w 346"/>
                            <a:gd name="T45" fmla="*/ 65 h 251"/>
                            <a:gd name="T46" fmla="*/ 32 w 346"/>
                            <a:gd name="T47" fmla="*/ 130 h 251"/>
                            <a:gd name="T48" fmla="*/ 91 w 346"/>
                            <a:gd name="T49" fmla="*/ 151 h 251"/>
                            <a:gd name="T50" fmla="*/ 93 w 346"/>
                            <a:gd name="T51" fmla="*/ 152 h 251"/>
                            <a:gd name="T52" fmla="*/ 111 w 346"/>
                            <a:gd name="T53" fmla="*/ 191 h 251"/>
                            <a:gd name="T54" fmla="*/ 112 w 346"/>
                            <a:gd name="T55" fmla="*/ 192 h 251"/>
                            <a:gd name="T56" fmla="*/ 146 w 346"/>
                            <a:gd name="T57" fmla="*/ 190 h 251"/>
                            <a:gd name="T58" fmla="*/ 151 w 346"/>
                            <a:gd name="T59" fmla="*/ 184 h 251"/>
                            <a:gd name="T60" fmla="*/ 160 w 346"/>
                            <a:gd name="T61" fmla="*/ 188 h 251"/>
                            <a:gd name="T62" fmla="*/ 161 w 346"/>
                            <a:gd name="T63" fmla="*/ 190 h 251"/>
                            <a:gd name="T64" fmla="*/ 200 w 346"/>
                            <a:gd name="T65" fmla="*/ 232 h 251"/>
                            <a:gd name="T66" fmla="*/ 240 w 346"/>
                            <a:gd name="T67" fmla="*/ 232 h 251"/>
                            <a:gd name="T68" fmla="*/ 256 w 346"/>
                            <a:gd name="T69" fmla="*/ 251 h 251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</a:cxnLst>
                          <a:rect l="0" t="0" r="r" b="b"/>
                          <a:pathLst>
                            <a:path w="346" h="251">
                              <a:moveTo>
                                <a:pt x="256" y="251"/>
                              </a:moveTo>
                              <a:lnTo>
                                <a:pt x="284" y="239"/>
                              </a:lnTo>
                              <a:lnTo>
                                <a:pt x="281" y="226"/>
                              </a:lnTo>
                              <a:lnTo>
                                <a:pt x="280" y="225"/>
                              </a:lnTo>
                              <a:lnTo>
                                <a:pt x="280" y="225"/>
                              </a:lnTo>
                              <a:lnTo>
                                <a:pt x="289" y="178"/>
                              </a:lnTo>
                              <a:lnTo>
                                <a:pt x="289" y="176"/>
                              </a:lnTo>
                              <a:lnTo>
                                <a:pt x="291" y="176"/>
                              </a:lnTo>
                              <a:lnTo>
                                <a:pt x="315" y="178"/>
                              </a:lnTo>
                              <a:lnTo>
                                <a:pt x="346" y="148"/>
                              </a:lnTo>
                              <a:lnTo>
                                <a:pt x="342" y="113"/>
                              </a:lnTo>
                              <a:lnTo>
                                <a:pt x="312" y="113"/>
                              </a:lnTo>
                              <a:lnTo>
                                <a:pt x="312" y="114"/>
                              </a:lnTo>
                              <a:lnTo>
                                <a:pt x="309" y="112"/>
                              </a:lnTo>
                              <a:lnTo>
                                <a:pt x="276" y="83"/>
                              </a:lnTo>
                              <a:lnTo>
                                <a:pt x="256" y="84"/>
                              </a:lnTo>
                              <a:lnTo>
                                <a:pt x="256" y="84"/>
                              </a:lnTo>
                              <a:lnTo>
                                <a:pt x="255" y="84"/>
                              </a:lnTo>
                              <a:lnTo>
                                <a:pt x="231" y="64"/>
                              </a:lnTo>
                              <a:lnTo>
                                <a:pt x="231" y="64"/>
                              </a:lnTo>
                              <a:lnTo>
                                <a:pt x="231" y="64"/>
                              </a:lnTo>
                              <a:lnTo>
                                <a:pt x="227" y="46"/>
                              </a:lnTo>
                              <a:lnTo>
                                <a:pt x="209" y="34"/>
                              </a:lnTo>
                              <a:lnTo>
                                <a:pt x="203" y="39"/>
                              </a:lnTo>
                              <a:lnTo>
                                <a:pt x="199" y="55"/>
                              </a:lnTo>
                              <a:lnTo>
                                <a:pt x="199" y="56"/>
                              </a:lnTo>
                              <a:lnTo>
                                <a:pt x="198" y="56"/>
                              </a:lnTo>
                              <a:lnTo>
                                <a:pt x="154" y="52"/>
                              </a:lnTo>
                              <a:lnTo>
                                <a:pt x="154" y="52"/>
                              </a:lnTo>
                              <a:lnTo>
                                <a:pt x="153" y="52"/>
                              </a:lnTo>
                              <a:lnTo>
                                <a:pt x="139" y="39"/>
                              </a:lnTo>
                              <a:lnTo>
                                <a:pt x="96" y="28"/>
                              </a:lnTo>
                              <a:lnTo>
                                <a:pt x="96" y="28"/>
                              </a:lnTo>
                              <a:lnTo>
                                <a:pt x="95" y="28"/>
                              </a:lnTo>
                              <a:lnTo>
                                <a:pt x="73" y="11"/>
                              </a:lnTo>
                              <a:lnTo>
                                <a:pt x="73" y="11"/>
                              </a:lnTo>
                              <a:lnTo>
                                <a:pt x="73" y="11"/>
                              </a:lnTo>
                              <a:lnTo>
                                <a:pt x="61" y="0"/>
                              </a:lnTo>
                              <a:lnTo>
                                <a:pt x="50" y="11"/>
                              </a:lnTo>
                              <a:lnTo>
                                <a:pt x="43" y="39"/>
                              </a:lnTo>
                              <a:lnTo>
                                <a:pt x="43" y="39"/>
                              </a:lnTo>
                              <a:lnTo>
                                <a:pt x="43" y="40"/>
                              </a:lnTo>
                              <a:lnTo>
                                <a:pt x="30" y="59"/>
                              </a:lnTo>
                              <a:lnTo>
                                <a:pt x="30" y="59"/>
                              </a:lnTo>
                              <a:lnTo>
                                <a:pt x="29" y="59"/>
                              </a:lnTo>
                              <a:lnTo>
                                <a:pt x="0" y="65"/>
                              </a:lnTo>
                              <a:lnTo>
                                <a:pt x="7" y="83"/>
                              </a:lnTo>
                              <a:lnTo>
                                <a:pt x="32" y="130"/>
                              </a:lnTo>
                              <a:lnTo>
                                <a:pt x="51" y="143"/>
                              </a:lnTo>
                              <a:lnTo>
                                <a:pt x="91" y="151"/>
                              </a:lnTo>
                              <a:lnTo>
                                <a:pt x="92" y="151"/>
                              </a:lnTo>
                              <a:lnTo>
                                <a:pt x="93" y="152"/>
                              </a:lnTo>
                              <a:lnTo>
                                <a:pt x="95" y="171"/>
                              </a:lnTo>
                              <a:lnTo>
                                <a:pt x="111" y="191"/>
                              </a:lnTo>
                              <a:lnTo>
                                <a:pt x="112" y="191"/>
                              </a:lnTo>
                              <a:lnTo>
                                <a:pt x="112" y="192"/>
                              </a:lnTo>
                              <a:lnTo>
                                <a:pt x="111" y="194"/>
                              </a:lnTo>
                              <a:lnTo>
                                <a:pt x="146" y="190"/>
                              </a:lnTo>
                              <a:lnTo>
                                <a:pt x="150" y="185"/>
                              </a:lnTo>
                              <a:lnTo>
                                <a:pt x="151" y="184"/>
                              </a:lnTo>
                              <a:lnTo>
                                <a:pt x="153" y="185"/>
                              </a:lnTo>
                              <a:lnTo>
                                <a:pt x="160" y="188"/>
                              </a:lnTo>
                              <a:lnTo>
                                <a:pt x="161" y="189"/>
                              </a:lnTo>
                              <a:lnTo>
                                <a:pt x="161" y="190"/>
                              </a:lnTo>
                              <a:lnTo>
                                <a:pt x="160" y="206"/>
                              </a:lnTo>
                              <a:lnTo>
                                <a:pt x="200" y="232"/>
                              </a:lnTo>
                              <a:lnTo>
                                <a:pt x="239" y="232"/>
                              </a:lnTo>
                              <a:lnTo>
                                <a:pt x="240" y="232"/>
                              </a:lnTo>
                              <a:lnTo>
                                <a:pt x="240" y="232"/>
                              </a:lnTo>
                              <a:lnTo>
                                <a:pt x="256" y="251"/>
                              </a:lnTo>
                              <a:lnTo>
                                <a:pt x="256" y="251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 dirty="0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71" name="Freeform 182">
                          <a:extLst>
                            <a:ext uri="{FF2B5EF4-FFF2-40B4-BE49-F238E27FC236}">
                              <a16:creationId xmlns:a16="http://schemas.microsoft.com/office/drawing/2014/main" id="{76C92254-9D84-44DA-911A-34CD80764869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949071" y="1316387"/>
                          <a:ext cx="186736" cy="161086"/>
                        </a:xfrm>
                        <a:custGeom>
                          <a:avLst/>
                          <a:gdLst>
                            <a:gd name="T0" fmla="*/ 182 w 182"/>
                            <a:gd name="T1" fmla="*/ 105 h 157"/>
                            <a:gd name="T2" fmla="*/ 158 w 182"/>
                            <a:gd name="T3" fmla="*/ 82 h 157"/>
                            <a:gd name="T4" fmla="*/ 158 w 182"/>
                            <a:gd name="T5" fmla="*/ 81 h 157"/>
                            <a:gd name="T6" fmla="*/ 158 w 182"/>
                            <a:gd name="T7" fmla="*/ 81 h 157"/>
                            <a:gd name="T8" fmla="*/ 167 w 182"/>
                            <a:gd name="T9" fmla="*/ 47 h 157"/>
                            <a:gd name="T10" fmla="*/ 150 w 182"/>
                            <a:gd name="T11" fmla="*/ 25 h 157"/>
                            <a:gd name="T12" fmla="*/ 134 w 182"/>
                            <a:gd name="T13" fmla="*/ 26 h 157"/>
                            <a:gd name="T14" fmla="*/ 133 w 182"/>
                            <a:gd name="T15" fmla="*/ 26 h 157"/>
                            <a:gd name="T16" fmla="*/ 133 w 182"/>
                            <a:gd name="T17" fmla="*/ 26 h 157"/>
                            <a:gd name="T18" fmla="*/ 93 w 182"/>
                            <a:gd name="T19" fmla="*/ 0 h 157"/>
                            <a:gd name="T20" fmla="*/ 62 w 182"/>
                            <a:gd name="T21" fmla="*/ 30 h 157"/>
                            <a:gd name="T22" fmla="*/ 62 w 182"/>
                            <a:gd name="T23" fmla="*/ 30 h 157"/>
                            <a:gd name="T24" fmla="*/ 61 w 182"/>
                            <a:gd name="T25" fmla="*/ 30 h 157"/>
                            <a:gd name="T26" fmla="*/ 38 w 182"/>
                            <a:gd name="T27" fmla="*/ 29 h 157"/>
                            <a:gd name="T28" fmla="*/ 29 w 182"/>
                            <a:gd name="T29" fmla="*/ 74 h 157"/>
                            <a:gd name="T30" fmla="*/ 33 w 182"/>
                            <a:gd name="T31" fmla="*/ 88 h 157"/>
                            <a:gd name="T32" fmla="*/ 34 w 182"/>
                            <a:gd name="T33" fmla="*/ 90 h 157"/>
                            <a:gd name="T34" fmla="*/ 33 w 182"/>
                            <a:gd name="T35" fmla="*/ 91 h 157"/>
                            <a:gd name="T36" fmla="*/ 3 w 182"/>
                            <a:gd name="T37" fmla="*/ 104 h 157"/>
                            <a:gd name="T38" fmla="*/ 0 w 182"/>
                            <a:gd name="T39" fmla="*/ 118 h 157"/>
                            <a:gd name="T40" fmla="*/ 1 w 182"/>
                            <a:gd name="T41" fmla="*/ 141 h 157"/>
                            <a:gd name="T42" fmla="*/ 17 w 182"/>
                            <a:gd name="T43" fmla="*/ 157 h 157"/>
                            <a:gd name="T44" fmla="*/ 35 w 182"/>
                            <a:gd name="T45" fmla="*/ 143 h 157"/>
                            <a:gd name="T46" fmla="*/ 36 w 182"/>
                            <a:gd name="T47" fmla="*/ 141 h 157"/>
                            <a:gd name="T48" fmla="*/ 37 w 182"/>
                            <a:gd name="T49" fmla="*/ 143 h 157"/>
                            <a:gd name="T50" fmla="*/ 42 w 182"/>
                            <a:gd name="T51" fmla="*/ 147 h 157"/>
                            <a:gd name="T52" fmla="*/ 77 w 182"/>
                            <a:gd name="T53" fmla="*/ 143 h 157"/>
                            <a:gd name="T54" fmla="*/ 77 w 182"/>
                            <a:gd name="T55" fmla="*/ 143 h 157"/>
                            <a:gd name="T56" fmla="*/ 78 w 182"/>
                            <a:gd name="T57" fmla="*/ 144 h 157"/>
                            <a:gd name="T58" fmla="*/ 95 w 182"/>
                            <a:gd name="T59" fmla="*/ 153 h 157"/>
                            <a:gd name="T60" fmla="*/ 127 w 182"/>
                            <a:gd name="T61" fmla="*/ 134 h 157"/>
                            <a:gd name="T62" fmla="*/ 135 w 182"/>
                            <a:gd name="T63" fmla="*/ 121 h 157"/>
                            <a:gd name="T64" fmla="*/ 135 w 182"/>
                            <a:gd name="T65" fmla="*/ 120 h 157"/>
                            <a:gd name="T66" fmla="*/ 136 w 182"/>
                            <a:gd name="T67" fmla="*/ 120 h 157"/>
                            <a:gd name="T68" fmla="*/ 162 w 182"/>
                            <a:gd name="T69" fmla="*/ 120 h 157"/>
                            <a:gd name="T70" fmla="*/ 182 w 182"/>
                            <a:gd name="T71" fmla="*/ 105 h 157"/>
                            <a:gd name="T72" fmla="*/ 182 w 182"/>
                            <a:gd name="T73" fmla="*/ 105 h 15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</a:cxnLst>
                          <a:rect l="0" t="0" r="r" b="b"/>
                          <a:pathLst>
                            <a:path w="182" h="157">
                              <a:moveTo>
                                <a:pt x="182" y="105"/>
                              </a:moveTo>
                              <a:lnTo>
                                <a:pt x="158" y="82"/>
                              </a:lnTo>
                              <a:lnTo>
                                <a:pt x="158" y="81"/>
                              </a:lnTo>
                              <a:lnTo>
                                <a:pt x="158" y="81"/>
                              </a:lnTo>
                              <a:lnTo>
                                <a:pt x="167" y="47"/>
                              </a:lnTo>
                              <a:lnTo>
                                <a:pt x="150" y="25"/>
                              </a:lnTo>
                              <a:lnTo>
                                <a:pt x="134" y="26"/>
                              </a:lnTo>
                              <a:lnTo>
                                <a:pt x="133" y="26"/>
                              </a:lnTo>
                              <a:lnTo>
                                <a:pt x="133" y="26"/>
                              </a:lnTo>
                              <a:lnTo>
                                <a:pt x="93" y="0"/>
                              </a:lnTo>
                              <a:lnTo>
                                <a:pt x="62" y="30"/>
                              </a:lnTo>
                              <a:lnTo>
                                <a:pt x="62" y="30"/>
                              </a:lnTo>
                              <a:lnTo>
                                <a:pt x="61" y="30"/>
                              </a:lnTo>
                              <a:lnTo>
                                <a:pt x="38" y="29"/>
                              </a:lnTo>
                              <a:lnTo>
                                <a:pt x="29" y="74"/>
                              </a:lnTo>
                              <a:lnTo>
                                <a:pt x="33" y="88"/>
                              </a:lnTo>
                              <a:lnTo>
                                <a:pt x="34" y="90"/>
                              </a:lnTo>
                              <a:lnTo>
                                <a:pt x="33" y="91"/>
                              </a:lnTo>
                              <a:lnTo>
                                <a:pt x="3" y="104"/>
                              </a:lnTo>
                              <a:lnTo>
                                <a:pt x="0" y="118"/>
                              </a:lnTo>
                              <a:lnTo>
                                <a:pt x="1" y="141"/>
                              </a:lnTo>
                              <a:lnTo>
                                <a:pt x="17" y="157"/>
                              </a:lnTo>
                              <a:lnTo>
                                <a:pt x="35" y="143"/>
                              </a:lnTo>
                              <a:lnTo>
                                <a:pt x="36" y="141"/>
                              </a:lnTo>
                              <a:lnTo>
                                <a:pt x="37" y="143"/>
                              </a:lnTo>
                              <a:lnTo>
                                <a:pt x="42" y="147"/>
                              </a:lnTo>
                              <a:lnTo>
                                <a:pt x="77" y="143"/>
                              </a:lnTo>
                              <a:lnTo>
                                <a:pt x="77" y="143"/>
                              </a:lnTo>
                              <a:lnTo>
                                <a:pt x="78" y="144"/>
                              </a:lnTo>
                              <a:lnTo>
                                <a:pt x="95" y="153"/>
                              </a:lnTo>
                              <a:lnTo>
                                <a:pt x="127" y="134"/>
                              </a:lnTo>
                              <a:lnTo>
                                <a:pt x="135" y="121"/>
                              </a:lnTo>
                              <a:lnTo>
                                <a:pt x="135" y="120"/>
                              </a:lnTo>
                              <a:lnTo>
                                <a:pt x="136" y="120"/>
                              </a:lnTo>
                              <a:lnTo>
                                <a:pt x="162" y="120"/>
                              </a:lnTo>
                              <a:lnTo>
                                <a:pt x="182" y="105"/>
                              </a:lnTo>
                              <a:lnTo>
                                <a:pt x="182" y="105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/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72" name="Freeform 183">
                          <a:extLst>
                            <a:ext uri="{FF2B5EF4-FFF2-40B4-BE49-F238E27FC236}">
                              <a16:creationId xmlns:a16="http://schemas.microsoft.com/office/drawing/2014/main" id="{8FCCFB10-27EF-4DAC-A056-2F1FC13BC232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089636" y="2021265"/>
                          <a:ext cx="429904" cy="506855"/>
                        </a:xfrm>
                        <a:custGeom>
                          <a:avLst/>
                          <a:gdLst>
                            <a:gd name="T0" fmla="*/ 0 w 419"/>
                            <a:gd name="T1" fmla="*/ 147 h 494"/>
                            <a:gd name="T2" fmla="*/ 25 w 419"/>
                            <a:gd name="T3" fmla="*/ 173 h 494"/>
                            <a:gd name="T4" fmla="*/ 56 w 419"/>
                            <a:gd name="T5" fmla="*/ 174 h 494"/>
                            <a:gd name="T6" fmla="*/ 49 w 419"/>
                            <a:gd name="T7" fmla="*/ 201 h 494"/>
                            <a:gd name="T8" fmla="*/ 76 w 419"/>
                            <a:gd name="T9" fmla="*/ 215 h 494"/>
                            <a:gd name="T10" fmla="*/ 92 w 419"/>
                            <a:gd name="T11" fmla="*/ 278 h 494"/>
                            <a:gd name="T12" fmla="*/ 92 w 419"/>
                            <a:gd name="T13" fmla="*/ 317 h 494"/>
                            <a:gd name="T14" fmla="*/ 124 w 419"/>
                            <a:gd name="T15" fmla="*/ 306 h 494"/>
                            <a:gd name="T16" fmla="*/ 136 w 419"/>
                            <a:gd name="T17" fmla="*/ 347 h 494"/>
                            <a:gd name="T18" fmla="*/ 169 w 419"/>
                            <a:gd name="T19" fmla="*/ 346 h 494"/>
                            <a:gd name="T20" fmla="*/ 217 w 419"/>
                            <a:gd name="T21" fmla="*/ 360 h 494"/>
                            <a:gd name="T22" fmla="*/ 223 w 419"/>
                            <a:gd name="T23" fmla="*/ 387 h 494"/>
                            <a:gd name="T24" fmla="*/ 251 w 419"/>
                            <a:gd name="T25" fmla="*/ 376 h 494"/>
                            <a:gd name="T26" fmla="*/ 283 w 419"/>
                            <a:gd name="T27" fmla="*/ 401 h 494"/>
                            <a:gd name="T28" fmla="*/ 283 w 419"/>
                            <a:gd name="T29" fmla="*/ 444 h 494"/>
                            <a:gd name="T30" fmla="*/ 316 w 419"/>
                            <a:gd name="T31" fmla="*/ 469 h 494"/>
                            <a:gd name="T32" fmla="*/ 343 w 419"/>
                            <a:gd name="T33" fmla="*/ 464 h 494"/>
                            <a:gd name="T34" fmla="*/ 388 w 419"/>
                            <a:gd name="T35" fmla="*/ 494 h 494"/>
                            <a:gd name="T36" fmla="*/ 419 w 419"/>
                            <a:gd name="T37" fmla="*/ 459 h 494"/>
                            <a:gd name="T38" fmla="*/ 389 w 419"/>
                            <a:gd name="T39" fmla="*/ 396 h 494"/>
                            <a:gd name="T40" fmla="*/ 389 w 419"/>
                            <a:gd name="T41" fmla="*/ 395 h 494"/>
                            <a:gd name="T42" fmla="*/ 382 w 419"/>
                            <a:gd name="T43" fmla="*/ 376 h 494"/>
                            <a:gd name="T44" fmla="*/ 398 w 419"/>
                            <a:gd name="T45" fmla="*/ 363 h 494"/>
                            <a:gd name="T46" fmla="*/ 394 w 419"/>
                            <a:gd name="T47" fmla="*/ 336 h 494"/>
                            <a:gd name="T48" fmla="*/ 337 w 419"/>
                            <a:gd name="T49" fmla="*/ 329 h 494"/>
                            <a:gd name="T50" fmla="*/ 327 w 419"/>
                            <a:gd name="T51" fmla="*/ 352 h 494"/>
                            <a:gd name="T52" fmla="*/ 302 w 419"/>
                            <a:gd name="T53" fmla="*/ 350 h 494"/>
                            <a:gd name="T54" fmla="*/ 301 w 419"/>
                            <a:gd name="T55" fmla="*/ 349 h 494"/>
                            <a:gd name="T56" fmla="*/ 240 w 419"/>
                            <a:gd name="T57" fmla="*/ 319 h 494"/>
                            <a:gd name="T58" fmla="*/ 238 w 419"/>
                            <a:gd name="T59" fmla="*/ 318 h 494"/>
                            <a:gd name="T60" fmla="*/ 229 w 419"/>
                            <a:gd name="T61" fmla="*/ 300 h 494"/>
                            <a:gd name="T62" fmla="*/ 246 w 419"/>
                            <a:gd name="T63" fmla="*/ 282 h 494"/>
                            <a:gd name="T64" fmla="*/ 235 w 419"/>
                            <a:gd name="T65" fmla="*/ 271 h 494"/>
                            <a:gd name="T66" fmla="*/ 236 w 419"/>
                            <a:gd name="T67" fmla="*/ 260 h 494"/>
                            <a:gd name="T68" fmla="*/ 237 w 419"/>
                            <a:gd name="T69" fmla="*/ 259 h 494"/>
                            <a:gd name="T70" fmla="*/ 253 w 419"/>
                            <a:gd name="T71" fmla="*/ 230 h 494"/>
                            <a:gd name="T72" fmla="*/ 222 w 419"/>
                            <a:gd name="T73" fmla="*/ 238 h 494"/>
                            <a:gd name="T74" fmla="*/ 220 w 419"/>
                            <a:gd name="T75" fmla="*/ 236 h 494"/>
                            <a:gd name="T76" fmla="*/ 216 w 419"/>
                            <a:gd name="T77" fmla="*/ 206 h 494"/>
                            <a:gd name="T78" fmla="*/ 226 w 419"/>
                            <a:gd name="T79" fmla="*/ 202 h 494"/>
                            <a:gd name="T80" fmla="*/ 218 w 419"/>
                            <a:gd name="T81" fmla="*/ 175 h 494"/>
                            <a:gd name="T82" fmla="*/ 218 w 419"/>
                            <a:gd name="T83" fmla="*/ 173 h 494"/>
                            <a:gd name="T84" fmla="*/ 208 w 419"/>
                            <a:gd name="T85" fmla="*/ 117 h 494"/>
                            <a:gd name="T86" fmla="*/ 207 w 419"/>
                            <a:gd name="T87" fmla="*/ 117 h 494"/>
                            <a:gd name="T88" fmla="*/ 196 w 419"/>
                            <a:gd name="T89" fmla="*/ 39 h 494"/>
                            <a:gd name="T90" fmla="*/ 196 w 419"/>
                            <a:gd name="T91" fmla="*/ 38 h 494"/>
                            <a:gd name="T92" fmla="*/ 187 w 419"/>
                            <a:gd name="T93" fmla="*/ 0 h 494"/>
                            <a:gd name="T94" fmla="*/ 187 w 419"/>
                            <a:gd name="T95" fmla="*/ 3 h 494"/>
                            <a:gd name="T96" fmla="*/ 179 w 419"/>
                            <a:gd name="T97" fmla="*/ 27 h 494"/>
                            <a:gd name="T98" fmla="*/ 173 w 419"/>
                            <a:gd name="T99" fmla="*/ 38 h 494"/>
                            <a:gd name="T100" fmla="*/ 173 w 419"/>
                            <a:gd name="T101" fmla="*/ 39 h 494"/>
                            <a:gd name="T102" fmla="*/ 120 w 419"/>
                            <a:gd name="T103" fmla="*/ 82 h 494"/>
                            <a:gd name="T104" fmla="*/ 119 w 419"/>
                            <a:gd name="T105" fmla="*/ 83 h 494"/>
                            <a:gd name="T106" fmla="*/ 90 w 419"/>
                            <a:gd name="T107" fmla="*/ 92 h 494"/>
                            <a:gd name="T108" fmla="*/ 75 w 419"/>
                            <a:gd name="T109" fmla="*/ 94 h 494"/>
                            <a:gd name="T110" fmla="*/ 45 w 419"/>
                            <a:gd name="T111" fmla="*/ 120 h 494"/>
                            <a:gd name="T112" fmla="*/ 2 w 419"/>
                            <a:gd name="T113" fmla="*/ 123 h 494"/>
                            <a:gd name="T114" fmla="*/ 1 w 419"/>
                            <a:gd name="T115" fmla="*/ 125 h 49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</a:cxnLst>
                          <a:rect l="0" t="0" r="r" b="b"/>
                          <a:pathLst>
                            <a:path w="419" h="494">
                              <a:moveTo>
                                <a:pt x="1" y="125"/>
                              </a:moveTo>
                              <a:lnTo>
                                <a:pt x="0" y="147"/>
                              </a:lnTo>
                              <a:lnTo>
                                <a:pt x="12" y="176"/>
                              </a:lnTo>
                              <a:lnTo>
                                <a:pt x="25" y="173"/>
                              </a:lnTo>
                              <a:lnTo>
                                <a:pt x="35" y="164"/>
                              </a:lnTo>
                              <a:lnTo>
                                <a:pt x="56" y="174"/>
                              </a:lnTo>
                              <a:lnTo>
                                <a:pt x="55" y="188"/>
                              </a:lnTo>
                              <a:lnTo>
                                <a:pt x="49" y="201"/>
                              </a:lnTo>
                              <a:lnTo>
                                <a:pt x="56" y="208"/>
                              </a:lnTo>
                              <a:lnTo>
                                <a:pt x="76" y="215"/>
                              </a:lnTo>
                              <a:lnTo>
                                <a:pt x="84" y="243"/>
                              </a:lnTo>
                              <a:lnTo>
                                <a:pt x="92" y="278"/>
                              </a:lnTo>
                              <a:lnTo>
                                <a:pt x="83" y="299"/>
                              </a:lnTo>
                              <a:lnTo>
                                <a:pt x="92" y="317"/>
                              </a:lnTo>
                              <a:lnTo>
                                <a:pt x="114" y="303"/>
                              </a:lnTo>
                              <a:lnTo>
                                <a:pt x="124" y="306"/>
                              </a:lnTo>
                              <a:lnTo>
                                <a:pt x="131" y="321"/>
                              </a:lnTo>
                              <a:lnTo>
                                <a:pt x="136" y="347"/>
                              </a:lnTo>
                              <a:lnTo>
                                <a:pt x="151" y="358"/>
                              </a:lnTo>
                              <a:lnTo>
                                <a:pt x="169" y="346"/>
                              </a:lnTo>
                              <a:lnTo>
                                <a:pt x="186" y="347"/>
                              </a:lnTo>
                              <a:lnTo>
                                <a:pt x="217" y="360"/>
                              </a:lnTo>
                              <a:lnTo>
                                <a:pt x="216" y="375"/>
                              </a:lnTo>
                              <a:lnTo>
                                <a:pt x="223" y="387"/>
                              </a:lnTo>
                              <a:lnTo>
                                <a:pt x="239" y="390"/>
                              </a:lnTo>
                              <a:lnTo>
                                <a:pt x="251" y="376"/>
                              </a:lnTo>
                              <a:lnTo>
                                <a:pt x="265" y="390"/>
                              </a:lnTo>
                              <a:lnTo>
                                <a:pt x="283" y="401"/>
                              </a:lnTo>
                              <a:lnTo>
                                <a:pt x="279" y="428"/>
                              </a:lnTo>
                              <a:lnTo>
                                <a:pt x="283" y="444"/>
                              </a:lnTo>
                              <a:lnTo>
                                <a:pt x="301" y="464"/>
                              </a:lnTo>
                              <a:lnTo>
                                <a:pt x="316" y="469"/>
                              </a:lnTo>
                              <a:lnTo>
                                <a:pt x="331" y="460"/>
                              </a:lnTo>
                              <a:lnTo>
                                <a:pt x="343" y="464"/>
                              </a:lnTo>
                              <a:lnTo>
                                <a:pt x="351" y="482"/>
                              </a:lnTo>
                              <a:lnTo>
                                <a:pt x="388" y="494"/>
                              </a:lnTo>
                              <a:lnTo>
                                <a:pt x="404" y="482"/>
                              </a:lnTo>
                              <a:lnTo>
                                <a:pt x="419" y="459"/>
                              </a:lnTo>
                              <a:lnTo>
                                <a:pt x="392" y="398"/>
                              </a:lnTo>
                              <a:lnTo>
                                <a:pt x="389" y="396"/>
                              </a:lnTo>
                              <a:lnTo>
                                <a:pt x="389" y="396"/>
                              </a:lnTo>
                              <a:lnTo>
                                <a:pt x="389" y="395"/>
                              </a:lnTo>
                              <a:lnTo>
                                <a:pt x="382" y="377"/>
                              </a:lnTo>
                              <a:lnTo>
                                <a:pt x="382" y="376"/>
                              </a:lnTo>
                              <a:lnTo>
                                <a:pt x="383" y="375"/>
                              </a:lnTo>
                              <a:lnTo>
                                <a:pt x="398" y="363"/>
                              </a:lnTo>
                              <a:lnTo>
                                <a:pt x="402" y="352"/>
                              </a:lnTo>
                              <a:lnTo>
                                <a:pt x="394" y="336"/>
                              </a:lnTo>
                              <a:lnTo>
                                <a:pt x="355" y="324"/>
                              </a:lnTo>
                              <a:lnTo>
                                <a:pt x="337" y="329"/>
                              </a:lnTo>
                              <a:lnTo>
                                <a:pt x="327" y="351"/>
                              </a:lnTo>
                              <a:lnTo>
                                <a:pt x="327" y="352"/>
                              </a:lnTo>
                              <a:lnTo>
                                <a:pt x="325" y="352"/>
                              </a:lnTo>
                              <a:lnTo>
                                <a:pt x="302" y="350"/>
                              </a:lnTo>
                              <a:lnTo>
                                <a:pt x="301" y="350"/>
                              </a:lnTo>
                              <a:lnTo>
                                <a:pt x="301" y="349"/>
                              </a:lnTo>
                              <a:lnTo>
                                <a:pt x="279" y="328"/>
                              </a:lnTo>
                              <a:lnTo>
                                <a:pt x="240" y="319"/>
                              </a:lnTo>
                              <a:lnTo>
                                <a:pt x="239" y="319"/>
                              </a:lnTo>
                              <a:lnTo>
                                <a:pt x="238" y="318"/>
                              </a:lnTo>
                              <a:lnTo>
                                <a:pt x="230" y="301"/>
                              </a:lnTo>
                              <a:lnTo>
                                <a:pt x="229" y="300"/>
                              </a:lnTo>
                              <a:lnTo>
                                <a:pt x="230" y="299"/>
                              </a:lnTo>
                              <a:lnTo>
                                <a:pt x="246" y="282"/>
                              </a:lnTo>
                              <a:lnTo>
                                <a:pt x="236" y="272"/>
                              </a:lnTo>
                              <a:lnTo>
                                <a:pt x="235" y="271"/>
                              </a:lnTo>
                              <a:lnTo>
                                <a:pt x="235" y="271"/>
                              </a:lnTo>
                              <a:lnTo>
                                <a:pt x="236" y="260"/>
                              </a:lnTo>
                              <a:lnTo>
                                <a:pt x="236" y="259"/>
                              </a:lnTo>
                              <a:lnTo>
                                <a:pt x="237" y="259"/>
                              </a:lnTo>
                              <a:lnTo>
                                <a:pt x="251" y="255"/>
                              </a:lnTo>
                              <a:lnTo>
                                <a:pt x="253" y="230"/>
                              </a:lnTo>
                              <a:lnTo>
                                <a:pt x="232" y="231"/>
                              </a:lnTo>
                              <a:lnTo>
                                <a:pt x="222" y="238"/>
                              </a:lnTo>
                              <a:lnTo>
                                <a:pt x="220" y="240"/>
                              </a:lnTo>
                              <a:lnTo>
                                <a:pt x="220" y="236"/>
                              </a:lnTo>
                              <a:lnTo>
                                <a:pt x="216" y="208"/>
                              </a:lnTo>
                              <a:lnTo>
                                <a:pt x="216" y="206"/>
                              </a:lnTo>
                              <a:lnTo>
                                <a:pt x="217" y="206"/>
                              </a:lnTo>
                              <a:lnTo>
                                <a:pt x="226" y="202"/>
                              </a:lnTo>
                              <a:lnTo>
                                <a:pt x="228" y="185"/>
                              </a:lnTo>
                              <a:lnTo>
                                <a:pt x="218" y="175"/>
                              </a:lnTo>
                              <a:lnTo>
                                <a:pt x="218" y="174"/>
                              </a:lnTo>
                              <a:lnTo>
                                <a:pt x="218" y="173"/>
                              </a:lnTo>
                              <a:lnTo>
                                <a:pt x="219" y="133"/>
                              </a:lnTo>
                              <a:lnTo>
                                <a:pt x="208" y="117"/>
                              </a:lnTo>
                              <a:lnTo>
                                <a:pt x="207" y="117"/>
                              </a:lnTo>
                              <a:lnTo>
                                <a:pt x="207" y="117"/>
                              </a:lnTo>
                              <a:lnTo>
                                <a:pt x="207" y="63"/>
                              </a:lnTo>
                              <a:lnTo>
                                <a:pt x="196" y="39"/>
                              </a:lnTo>
                              <a:lnTo>
                                <a:pt x="196" y="38"/>
                              </a:lnTo>
                              <a:lnTo>
                                <a:pt x="196" y="38"/>
                              </a:lnTo>
                              <a:lnTo>
                                <a:pt x="201" y="16"/>
                              </a:lnTo>
                              <a:lnTo>
                                <a:pt x="187" y="0"/>
                              </a:lnTo>
                              <a:lnTo>
                                <a:pt x="187" y="3"/>
                              </a:lnTo>
                              <a:lnTo>
                                <a:pt x="187" y="3"/>
                              </a:lnTo>
                              <a:lnTo>
                                <a:pt x="179" y="27"/>
                              </a:lnTo>
                              <a:lnTo>
                                <a:pt x="179" y="27"/>
                              </a:lnTo>
                              <a:lnTo>
                                <a:pt x="179" y="27"/>
                              </a:lnTo>
                              <a:lnTo>
                                <a:pt x="173" y="38"/>
                              </a:lnTo>
                              <a:lnTo>
                                <a:pt x="173" y="39"/>
                              </a:lnTo>
                              <a:lnTo>
                                <a:pt x="173" y="39"/>
                              </a:lnTo>
                              <a:lnTo>
                                <a:pt x="131" y="62"/>
                              </a:lnTo>
                              <a:lnTo>
                                <a:pt x="120" y="82"/>
                              </a:lnTo>
                              <a:lnTo>
                                <a:pt x="120" y="82"/>
                              </a:lnTo>
                              <a:lnTo>
                                <a:pt x="119" y="83"/>
                              </a:lnTo>
                              <a:lnTo>
                                <a:pt x="90" y="92"/>
                              </a:lnTo>
                              <a:lnTo>
                                <a:pt x="90" y="92"/>
                              </a:lnTo>
                              <a:lnTo>
                                <a:pt x="90" y="92"/>
                              </a:lnTo>
                              <a:lnTo>
                                <a:pt x="75" y="94"/>
                              </a:lnTo>
                              <a:lnTo>
                                <a:pt x="46" y="119"/>
                              </a:lnTo>
                              <a:lnTo>
                                <a:pt x="45" y="120"/>
                              </a:lnTo>
                              <a:lnTo>
                                <a:pt x="45" y="120"/>
                              </a:lnTo>
                              <a:lnTo>
                                <a:pt x="2" y="123"/>
                              </a:lnTo>
                              <a:lnTo>
                                <a:pt x="1" y="125"/>
                              </a:lnTo>
                              <a:lnTo>
                                <a:pt x="1" y="125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73" name="Freeform 184">
                          <a:extLst>
                            <a:ext uri="{FF2B5EF4-FFF2-40B4-BE49-F238E27FC236}">
                              <a16:creationId xmlns:a16="http://schemas.microsoft.com/office/drawing/2014/main" id="{95DC2E3E-AE6B-4DE9-92A9-38DD33A89B6E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763361" y="1839659"/>
                          <a:ext cx="326275" cy="367316"/>
                        </a:xfrm>
                        <a:custGeom>
                          <a:avLst/>
                          <a:gdLst>
                            <a:gd name="T0" fmla="*/ 130 w 318"/>
                            <a:gd name="T1" fmla="*/ 303 h 358"/>
                            <a:gd name="T2" fmla="*/ 123 w 318"/>
                            <a:gd name="T3" fmla="*/ 338 h 358"/>
                            <a:gd name="T4" fmla="*/ 156 w 318"/>
                            <a:gd name="T5" fmla="*/ 348 h 358"/>
                            <a:gd name="T6" fmla="*/ 179 w 318"/>
                            <a:gd name="T7" fmla="*/ 312 h 358"/>
                            <a:gd name="T8" fmla="*/ 227 w 318"/>
                            <a:gd name="T9" fmla="*/ 304 h 358"/>
                            <a:gd name="T10" fmla="*/ 248 w 318"/>
                            <a:gd name="T11" fmla="*/ 310 h 358"/>
                            <a:gd name="T12" fmla="*/ 301 w 318"/>
                            <a:gd name="T13" fmla="*/ 303 h 358"/>
                            <a:gd name="T14" fmla="*/ 317 w 318"/>
                            <a:gd name="T15" fmla="*/ 298 h 358"/>
                            <a:gd name="T16" fmla="*/ 316 w 318"/>
                            <a:gd name="T17" fmla="*/ 273 h 358"/>
                            <a:gd name="T18" fmla="*/ 301 w 318"/>
                            <a:gd name="T19" fmla="*/ 251 h 358"/>
                            <a:gd name="T20" fmla="*/ 303 w 318"/>
                            <a:gd name="T21" fmla="*/ 224 h 358"/>
                            <a:gd name="T22" fmla="*/ 286 w 318"/>
                            <a:gd name="T23" fmla="*/ 202 h 358"/>
                            <a:gd name="T24" fmla="*/ 279 w 318"/>
                            <a:gd name="T25" fmla="*/ 177 h 358"/>
                            <a:gd name="T26" fmla="*/ 279 w 318"/>
                            <a:gd name="T27" fmla="*/ 177 h 358"/>
                            <a:gd name="T28" fmla="*/ 264 w 318"/>
                            <a:gd name="T29" fmla="*/ 158 h 358"/>
                            <a:gd name="T30" fmla="*/ 264 w 318"/>
                            <a:gd name="T31" fmla="*/ 158 h 358"/>
                            <a:gd name="T32" fmla="*/ 221 w 318"/>
                            <a:gd name="T33" fmla="*/ 135 h 358"/>
                            <a:gd name="T34" fmla="*/ 220 w 318"/>
                            <a:gd name="T35" fmla="*/ 111 h 358"/>
                            <a:gd name="T36" fmla="*/ 179 w 318"/>
                            <a:gd name="T37" fmla="*/ 104 h 358"/>
                            <a:gd name="T38" fmla="*/ 135 w 318"/>
                            <a:gd name="T39" fmla="*/ 78 h 358"/>
                            <a:gd name="T40" fmla="*/ 135 w 318"/>
                            <a:gd name="T41" fmla="*/ 77 h 358"/>
                            <a:gd name="T42" fmla="*/ 128 w 318"/>
                            <a:gd name="T43" fmla="*/ 52 h 358"/>
                            <a:gd name="T44" fmla="*/ 106 w 318"/>
                            <a:gd name="T45" fmla="*/ 49 h 358"/>
                            <a:gd name="T46" fmla="*/ 75 w 318"/>
                            <a:gd name="T47" fmla="*/ 0 h 358"/>
                            <a:gd name="T48" fmla="*/ 33 w 318"/>
                            <a:gd name="T49" fmla="*/ 21 h 358"/>
                            <a:gd name="T50" fmla="*/ 9 w 318"/>
                            <a:gd name="T51" fmla="*/ 26 h 358"/>
                            <a:gd name="T52" fmla="*/ 7 w 318"/>
                            <a:gd name="T53" fmla="*/ 56 h 358"/>
                            <a:gd name="T54" fmla="*/ 0 w 318"/>
                            <a:gd name="T55" fmla="*/ 63 h 358"/>
                            <a:gd name="T56" fmla="*/ 15 w 318"/>
                            <a:gd name="T57" fmla="*/ 103 h 358"/>
                            <a:gd name="T58" fmla="*/ 33 w 318"/>
                            <a:gd name="T59" fmla="*/ 107 h 358"/>
                            <a:gd name="T60" fmla="*/ 67 w 318"/>
                            <a:gd name="T61" fmla="*/ 139 h 358"/>
                            <a:gd name="T62" fmla="*/ 68 w 318"/>
                            <a:gd name="T63" fmla="*/ 141 h 358"/>
                            <a:gd name="T64" fmla="*/ 68 w 318"/>
                            <a:gd name="T65" fmla="*/ 166 h 358"/>
                            <a:gd name="T66" fmla="*/ 53 w 318"/>
                            <a:gd name="T67" fmla="*/ 183 h 358"/>
                            <a:gd name="T68" fmla="*/ 64 w 318"/>
                            <a:gd name="T69" fmla="*/ 200 h 358"/>
                            <a:gd name="T70" fmla="*/ 80 w 318"/>
                            <a:gd name="T71" fmla="*/ 192 h 358"/>
                            <a:gd name="T72" fmla="*/ 81 w 318"/>
                            <a:gd name="T73" fmla="*/ 222 h 358"/>
                            <a:gd name="T74" fmla="*/ 109 w 318"/>
                            <a:gd name="T75" fmla="*/ 238 h 358"/>
                            <a:gd name="T76" fmla="*/ 110 w 318"/>
                            <a:gd name="T77" fmla="*/ 240 h 358"/>
                            <a:gd name="T78" fmla="*/ 111 w 318"/>
                            <a:gd name="T79" fmla="*/ 284 h 35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</a:cxnLst>
                          <a:rect l="0" t="0" r="r" b="b"/>
                          <a:pathLst>
                            <a:path w="318" h="358">
                              <a:moveTo>
                                <a:pt x="111" y="284"/>
                              </a:moveTo>
                              <a:lnTo>
                                <a:pt x="130" y="303"/>
                              </a:lnTo>
                              <a:lnTo>
                                <a:pt x="128" y="322"/>
                              </a:lnTo>
                              <a:lnTo>
                                <a:pt x="123" y="338"/>
                              </a:lnTo>
                              <a:lnTo>
                                <a:pt x="134" y="358"/>
                              </a:lnTo>
                              <a:lnTo>
                                <a:pt x="156" y="348"/>
                              </a:lnTo>
                              <a:lnTo>
                                <a:pt x="167" y="326"/>
                              </a:lnTo>
                              <a:lnTo>
                                <a:pt x="179" y="312"/>
                              </a:lnTo>
                              <a:lnTo>
                                <a:pt x="210" y="318"/>
                              </a:lnTo>
                              <a:lnTo>
                                <a:pt x="227" y="304"/>
                              </a:lnTo>
                              <a:lnTo>
                                <a:pt x="239" y="304"/>
                              </a:lnTo>
                              <a:lnTo>
                                <a:pt x="248" y="310"/>
                              </a:lnTo>
                              <a:lnTo>
                                <a:pt x="278" y="309"/>
                              </a:lnTo>
                              <a:lnTo>
                                <a:pt x="301" y="303"/>
                              </a:lnTo>
                              <a:lnTo>
                                <a:pt x="316" y="299"/>
                              </a:lnTo>
                              <a:lnTo>
                                <a:pt x="317" y="298"/>
                              </a:lnTo>
                              <a:lnTo>
                                <a:pt x="318" y="284"/>
                              </a:lnTo>
                              <a:lnTo>
                                <a:pt x="316" y="273"/>
                              </a:lnTo>
                              <a:lnTo>
                                <a:pt x="301" y="251"/>
                              </a:lnTo>
                              <a:lnTo>
                                <a:pt x="301" y="251"/>
                              </a:lnTo>
                              <a:lnTo>
                                <a:pt x="301" y="250"/>
                              </a:lnTo>
                              <a:lnTo>
                                <a:pt x="303" y="224"/>
                              </a:lnTo>
                              <a:lnTo>
                                <a:pt x="286" y="202"/>
                              </a:lnTo>
                              <a:lnTo>
                                <a:pt x="286" y="202"/>
                              </a:lnTo>
                              <a:lnTo>
                                <a:pt x="286" y="201"/>
                              </a:lnTo>
                              <a:lnTo>
                                <a:pt x="279" y="177"/>
                              </a:lnTo>
                              <a:lnTo>
                                <a:pt x="279" y="177"/>
                              </a:lnTo>
                              <a:lnTo>
                                <a:pt x="279" y="177"/>
                              </a:lnTo>
                              <a:lnTo>
                                <a:pt x="278" y="163"/>
                              </a:lnTo>
                              <a:lnTo>
                                <a:pt x="264" y="158"/>
                              </a:lnTo>
                              <a:lnTo>
                                <a:pt x="264" y="158"/>
                              </a:lnTo>
                              <a:lnTo>
                                <a:pt x="264" y="158"/>
                              </a:lnTo>
                              <a:lnTo>
                                <a:pt x="222" y="136"/>
                              </a:lnTo>
                              <a:lnTo>
                                <a:pt x="221" y="135"/>
                              </a:lnTo>
                              <a:lnTo>
                                <a:pt x="221" y="134"/>
                              </a:lnTo>
                              <a:lnTo>
                                <a:pt x="220" y="111"/>
                              </a:lnTo>
                              <a:lnTo>
                                <a:pt x="179" y="104"/>
                              </a:lnTo>
                              <a:lnTo>
                                <a:pt x="179" y="104"/>
                              </a:lnTo>
                              <a:lnTo>
                                <a:pt x="179" y="104"/>
                              </a:lnTo>
                              <a:lnTo>
                                <a:pt x="135" y="78"/>
                              </a:lnTo>
                              <a:lnTo>
                                <a:pt x="135" y="78"/>
                              </a:lnTo>
                              <a:lnTo>
                                <a:pt x="135" y="77"/>
                              </a:lnTo>
                              <a:lnTo>
                                <a:pt x="135" y="63"/>
                              </a:lnTo>
                              <a:lnTo>
                                <a:pt x="128" y="52"/>
                              </a:lnTo>
                              <a:lnTo>
                                <a:pt x="107" y="50"/>
                              </a:lnTo>
                              <a:lnTo>
                                <a:pt x="106" y="49"/>
                              </a:lnTo>
                              <a:lnTo>
                                <a:pt x="106" y="49"/>
                              </a:lnTo>
                              <a:lnTo>
                                <a:pt x="75" y="0"/>
                              </a:lnTo>
                              <a:lnTo>
                                <a:pt x="34" y="21"/>
                              </a:lnTo>
                              <a:lnTo>
                                <a:pt x="33" y="21"/>
                              </a:lnTo>
                              <a:lnTo>
                                <a:pt x="33" y="21"/>
                              </a:lnTo>
                              <a:lnTo>
                                <a:pt x="9" y="26"/>
                              </a:lnTo>
                              <a:lnTo>
                                <a:pt x="7" y="56"/>
                              </a:lnTo>
                              <a:lnTo>
                                <a:pt x="7" y="56"/>
                              </a:lnTo>
                              <a:lnTo>
                                <a:pt x="7" y="57"/>
                              </a:lnTo>
                              <a:lnTo>
                                <a:pt x="0" y="63"/>
                              </a:lnTo>
                              <a:lnTo>
                                <a:pt x="2" y="87"/>
                              </a:lnTo>
                              <a:lnTo>
                                <a:pt x="15" y="103"/>
                              </a:lnTo>
                              <a:lnTo>
                                <a:pt x="33" y="107"/>
                              </a:lnTo>
                              <a:lnTo>
                                <a:pt x="33" y="107"/>
                              </a:lnTo>
                              <a:lnTo>
                                <a:pt x="34" y="107"/>
                              </a:lnTo>
                              <a:lnTo>
                                <a:pt x="67" y="139"/>
                              </a:lnTo>
                              <a:lnTo>
                                <a:pt x="68" y="140"/>
                              </a:lnTo>
                              <a:lnTo>
                                <a:pt x="68" y="141"/>
                              </a:lnTo>
                              <a:lnTo>
                                <a:pt x="68" y="165"/>
                              </a:lnTo>
                              <a:lnTo>
                                <a:pt x="68" y="166"/>
                              </a:lnTo>
                              <a:lnTo>
                                <a:pt x="67" y="166"/>
                              </a:lnTo>
                              <a:lnTo>
                                <a:pt x="53" y="183"/>
                              </a:lnTo>
                              <a:lnTo>
                                <a:pt x="52" y="199"/>
                              </a:lnTo>
                              <a:lnTo>
                                <a:pt x="64" y="200"/>
                              </a:lnTo>
                              <a:lnTo>
                                <a:pt x="77" y="194"/>
                              </a:lnTo>
                              <a:lnTo>
                                <a:pt x="80" y="192"/>
                              </a:lnTo>
                              <a:lnTo>
                                <a:pt x="80" y="195"/>
                              </a:lnTo>
                              <a:lnTo>
                                <a:pt x="81" y="222"/>
                              </a:lnTo>
                              <a:lnTo>
                                <a:pt x="89" y="234"/>
                              </a:lnTo>
                              <a:lnTo>
                                <a:pt x="109" y="238"/>
                              </a:lnTo>
                              <a:lnTo>
                                <a:pt x="110" y="238"/>
                              </a:lnTo>
                              <a:lnTo>
                                <a:pt x="110" y="240"/>
                              </a:lnTo>
                              <a:lnTo>
                                <a:pt x="111" y="284"/>
                              </a:lnTo>
                              <a:lnTo>
                                <a:pt x="111" y="284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74" name="Freeform 185">
                          <a:extLst>
                            <a:ext uri="{FF2B5EF4-FFF2-40B4-BE49-F238E27FC236}">
                              <a16:creationId xmlns:a16="http://schemas.microsoft.com/office/drawing/2014/main" id="{4BA258B9-1A05-498B-B83F-6A0F752D0946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052699" y="1951495"/>
                          <a:ext cx="227777" cy="191867"/>
                        </a:xfrm>
                        <a:custGeom>
                          <a:avLst/>
                          <a:gdLst>
                            <a:gd name="T0" fmla="*/ 0 w 222"/>
                            <a:gd name="T1" fmla="*/ 54 h 187"/>
                            <a:gd name="T2" fmla="*/ 1 w 222"/>
                            <a:gd name="T3" fmla="*/ 67 h 187"/>
                            <a:gd name="T4" fmla="*/ 7 w 222"/>
                            <a:gd name="T5" fmla="*/ 92 h 187"/>
                            <a:gd name="T6" fmla="*/ 24 w 222"/>
                            <a:gd name="T7" fmla="*/ 113 h 187"/>
                            <a:gd name="T8" fmla="*/ 25 w 222"/>
                            <a:gd name="T9" fmla="*/ 114 h 187"/>
                            <a:gd name="T10" fmla="*/ 25 w 222"/>
                            <a:gd name="T11" fmla="*/ 114 h 187"/>
                            <a:gd name="T12" fmla="*/ 22 w 222"/>
                            <a:gd name="T13" fmla="*/ 141 h 187"/>
                            <a:gd name="T14" fmla="*/ 37 w 222"/>
                            <a:gd name="T15" fmla="*/ 162 h 187"/>
                            <a:gd name="T16" fmla="*/ 38 w 222"/>
                            <a:gd name="T17" fmla="*/ 163 h 187"/>
                            <a:gd name="T18" fmla="*/ 38 w 222"/>
                            <a:gd name="T19" fmla="*/ 163 h 187"/>
                            <a:gd name="T20" fmla="*/ 40 w 222"/>
                            <a:gd name="T21" fmla="*/ 175 h 187"/>
                            <a:gd name="T22" fmla="*/ 40 w 222"/>
                            <a:gd name="T23" fmla="*/ 175 h 187"/>
                            <a:gd name="T24" fmla="*/ 40 w 222"/>
                            <a:gd name="T25" fmla="*/ 175 h 187"/>
                            <a:gd name="T26" fmla="*/ 39 w 222"/>
                            <a:gd name="T27" fmla="*/ 187 h 187"/>
                            <a:gd name="T28" fmla="*/ 80 w 222"/>
                            <a:gd name="T29" fmla="*/ 184 h 187"/>
                            <a:gd name="T30" fmla="*/ 109 w 222"/>
                            <a:gd name="T31" fmla="*/ 159 h 187"/>
                            <a:gd name="T32" fmla="*/ 110 w 222"/>
                            <a:gd name="T33" fmla="*/ 158 h 187"/>
                            <a:gd name="T34" fmla="*/ 110 w 222"/>
                            <a:gd name="T35" fmla="*/ 158 h 187"/>
                            <a:gd name="T36" fmla="*/ 125 w 222"/>
                            <a:gd name="T37" fmla="*/ 156 h 187"/>
                            <a:gd name="T38" fmla="*/ 154 w 222"/>
                            <a:gd name="T39" fmla="*/ 147 h 187"/>
                            <a:gd name="T40" fmla="*/ 164 w 222"/>
                            <a:gd name="T41" fmla="*/ 128 h 187"/>
                            <a:gd name="T42" fmla="*/ 164 w 222"/>
                            <a:gd name="T43" fmla="*/ 127 h 187"/>
                            <a:gd name="T44" fmla="*/ 164 w 222"/>
                            <a:gd name="T45" fmla="*/ 127 h 187"/>
                            <a:gd name="T46" fmla="*/ 207 w 222"/>
                            <a:gd name="T47" fmla="*/ 104 h 187"/>
                            <a:gd name="T48" fmla="*/ 212 w 222"/>
                            <a:gd name="T49" fmla="*/ 94 h 187"/>
                            <a:gd name="T50" fmla="*/ 219 w 222"/>
                            <a:gd name="T51" fmla="*/ 70 h 187"/>
                            <a:gd name="T52" fmla="*/ 222 w 222"/>
                            <a:gd name="T53" fmla="*/ 58 h 187"/>
                            <a:gd name="T54" fmla="*/ 201 w 222"/>
                            <a:gd name="T55" fmla="*/ 28 h 187"/>
                            <a:gd name="T56" fmla="*/ 192 w 222"/>
                            <a:gd name="T57" fmla="*/ 20 h 187"/>
                            <a:gd name="T58" fmla="*/ 182 w 222"/>
                            <a:gd name="T59" fmla="*/ 27 h 187"/>
                            <a:gd name="T60" fmla="*/ 182 w 222"/>
                            <a:gd name="T61" fmla="*/ 27 h 187"/>
                            <a:gd name="T62" fmla="*/ 182 w 222"/>
                            <a:gd name="T63" fmla="*/ 27 h 187"/>
                            <a:gd name="T64" fmla="*/ 173 w 222"/>
                            <a:gd name="T65" fmla="*/ 29 h 187"/>
                            <a:gd name="T66" fmla="*/ 172 w 222"/>
                            <a:gd name="T67" fmla="*/ 29 h 187"/>
                            <a:gd name="T68" fmla="*/ 171 w 222"/>
                            <a:gd name="T69" fmla="*/ 28 h 187"/>
                            <a:gd name="T70" fmla="*/ 154 w 222"/>
                            <a:gd name="T71" fmla="*/ 3 h 187"/>
                            <a:gd name="T72" fmla="*/ 149 w 222"/>
                            <a:gd name="T73" fmla="*/ 8 h 187"/>
                            <a:gd name="T74" fmla="*/ 128 w 222"/>
                            <a:gd name="T75" fmla="*/ 30 h 187"/>
                            <a:gd name="T76" fmla="*/ 128 w 222"/>
                            <a:gd name="T77" fmla="*/ 30 h 187"/>
                            <a:gd name="T78" fmla="*/ 127 w 222"/>
                            <a:gd name="T79" fmla="*/ 30 h 187"/>
                            <a:gd name="T80" fmla="*/ 115 w 222"/>
                            <a:gd name="T81" fmla="*/ 38 h 187"/>
                            <a:gd name="T82" fmla="*/ 114 w 222"/>
                            <a:gd name="T83" fmla="*/ 38 h 187"/>
                            <a:gd name="T84" fmla="*/ 114 w 222"/>
                            <a:gd name="T85" fmla="*/ 38 h 187"/>
                            <a:gd name="T86" fmla="*/ 98 w 222"/>
                            <a:gd name="T87" fmla="*/ 34 h 187"/>
                            <a:gd name="T88" fmla="*/ 97 w 222"/>
                            <a:gd name="T89" fmla="*/ 34 h 187"/>
                            <a:gd name="T90" fmla="*/ 97 w 222"/>
                            <a:gd name="T91" fmla="*/ 33 h 187"/>
                            <a:gd name="T92" fmla="*/ 73 w 222"/>
                            <a:gd name="T93" fmla="*/ 12 h 187"/>
                            <a:gd name="T94" fmla="*/ 56 w 222"/>
                            <a:gd name="T95" fmla="*/ 0 h 187"/>
                            <a:gd name="T96" fmla="*/ 41 w 222"/>
                            <a:gd name="T97" fmla="*/ 2 h 187"/>
                            <a:gd name="T98" fmla="*/ 16 w 222"/>
                            <a:gd name="T99" fmla="*/ 5 h 187"/>
                            <a:gd name="T100" fmla="*/ 6 w 222"/>
                            <a:gd name="T101" fmla="*/ 19 h 187"/>
                            <a:gd name="T102" fmla="*/ 6 w 222"/>
                            <a:gd name="T103" fmla="*/ 25 h 187"/>
                            <a:gd name="T104" fmla="*/ 14 w 222"/>
                            <a:gd name="T105" fmla="*/ 29 h 187"/>
                            <a:gd name="T106" fmla="*/ 15 w 222"/>
                            <a:gd name="T107" fmla="*/ 30 h 187"/>
                            <a:gd name="T108" fmla="*/ 15 w 222"/>
                            <a:gd name="T109" fmla="*/ 31 h 187"/>
                            <a:gd name="T110" fmla="*/ 12 w 222"/>
                            <a:gd name="T111" fmla="*/ 48 h 187"/>
                            <a:gd name="T112" fmla="*/ 11 w 222"/>
                            <a:gd name="T113" fmla="*/ 49 h 187"/>
                            <a:gd name="T114" fmla="*/ 11 w 222"/>
                            <a:gd name="T115" fmla="*/ 49 h 187"/>
                            <a:gd name="T116" fmla="*/ 0 w 222"/>
                            <a:gd name="T117" fmla="*/ 54 h 187"/>
                            <a:gd name="T118" fmla="*/ 0 w 222"/>
                            <a:gd name="T119" fmla="*/ 54 h 18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  <a:cxn ang="0">
                              <a:pos x="T116" y="T117"/>
                            </a:cxn>
                            <a:cxn ang="0">
                              <a:pos x="T118" y="T119"/>
                            </a:cxn>
                          </a:cxnLst>
                          <a:rect l="0" t="0" r="r" b="b"/>
                          <a:pathLst>
                            <a:path w="222" h="187">
                              <a:moveTo>
                                <a:pt x="0" y="54"/>
                              </a:moveTo>
                              <a:lnTo>
                                <a:pt x="1" y="67"/>
                              </a:lnTo>
                              <a:lnTo>
                                <a:pt x="7" y="92"/>
                              </a:lnTo>
                              <a:lnTo>
                                <a:pt x="24" y="113"/>
                              </a:lnTo>
                              <a:lnTo>
                                <a:pt x="25" y="114"/>
                              </a:lnTo>
                              <a:lnTo>
                                <a:pt x="25" y="114"/>
                              </a:lnTo>
                              <a:lnTo>
                                <a:pt x="22" y="141"/>
                              </a:lnTo>
                              <a:lnTo>
                                <a:pt x="37" y="162"/>
                              </a:lnTo>
                              <a:lnTo>
                                <a:pt x="38" y="163"/>
                              </a:lnTo>
                              <a:lnTo>
                                <a:pt x="38" y="163"/>
                              </a:lnTo>
                              <a:lnTo>
                                <a:pt x="40" y="175"/>
                              </a:lnTo>
                              <a:lnTo>
                                <a:pt x="40" y="175"/>
                              </a:lnTo>
                              <a:lnTo>
                                <a:pt x="40" y="175"/>
                              </a:lnTo>
                              <a:lnTo>
                                <a:pt x="39" y="187"/>
                              </a:lnTo>
                              <a:lnTo>
                                <a:pt x="80" y="184"/>
                              </a:lnTo>
                              <a:lnTo>
                                <a:pt x="109" y="159"/>
                              </a:lnTo>
                              <a:lnTo>
                                <a:pt x="110" y="158"/>
                              </a:lnTo>
                              <a:lnTo>
                                <a:pt x="110" y="158"/>
                              </a:lnTo>
                              <a:lnTo>
                                <a:pt x="125" y="156"/>
                              </a:lnTo>
                              <a:lnTo>
                                <a:pt x="154" y="147"/>
                              </a:lnTo>
                              <a:lnTo>
                                <a:pt x="164" y="128"/>
                              </a:lnTo>
                              <a:lnTo>
                                <a:pt x="164" y="127"/>
                              </a:lnTo>
                              <a:lnTo>
                                <a:pt x="164" y="127"/>
                              </a:lnTo>
                              <a:lnTo>
                                <a:pt x="207" y="104"/>
                              </a:lnTo>
                              <a:lnTo>
                                <a:pt x="212" y="94"/>
                              </a:lnTo>
                              <a:lnTo>
                                <a:pt x="219" y="70"/>
                              </a:lnTo>
                              <a:lnTo>
                                <a:pt x="222" y="58"/>
                              </a:lnTo>
                              <a:lnTo>
                                <a:pt x="201" y="28"/>
                              </a:lnTo>
                              <a:lnTo>
                                <a:pt x="192" y="20"/>
                              </a:lnTo>
                              <a:lnTo>
                                <a:pt x="182" y="27"/>
                              </a:lnTo>
                              <a:lnTo>
                                <a:pt x="182" y="27"/>
                              </a:lnTo>
                              <a:lnTo>
                                <a:pt x="182" y="27"/>
                              </a:lnTo>
                              <a:lnTo>
                                <a:pt x="173" y="29"/>
                              </a:lnTo>
                              <a:lnTo>
                                <a:pt x="172" y="29"/>
                              </a:lnTo>
                              <a:lnTo>
                                <a:pt x="171" y="28"/>
                              </a:lnTo>
                              <a:lnTo>
                                <a:pt x="154" y="3"/>
                              </a:lnTo>
                              <a:lnTo>
                                <a:pt x="149" y="8"/>
                              </a:lnTo>
                              <a:lnTo>
                                <a:pt x="128" y="30"/>
                              </a:lnTo>
                              <a:lnTo>
                                <a:pt x="128" y="30"/>
                              </a:lnTo>
                              <a:lnTo>
                                <a:pt x="127" y="30"/>
                              </a:lnTo>
                              <a:lnTo>
                                <a:pt x="115" y="38"/>
                              </a:lnTo>
                              <a:lnTo>
                                <a:pt x="114" y="38"/>
                              </a:lnTo>
                              <a:lnTo>
                                <a:pt x="114" y="38"/>
                              </a:lnTo>
                              <a:lnTo>
                                <a:pt x="98" y="34"/>
                              </a:lnTo>
                              <a:lnTo>
                                <a:pt x="97" y="34"/>
                              </a:lnTo>
                              <a:lnTo>
                                <a:pt x="97" y="33"/>
                              </a:lnTo>
                              <a:lnTo>
                                <a:pt x="73" y="12"/>
                              </a:lnTo>
                              <a:lnTo>
                                <a:pt x="56" y="0"/>
                              </a:lnTo>
                              <a:lnTo>
                                <a:pt x="41" y="2"/>
                              </a:lnTo>
                              <a:lnTo>
                                <a:pt x="16" y="5"/>
                              </a:lnTo>
                              <a:lnTo>
                                <a:pt x="6" y="19"/>
                              </a:lnTo>
                              <a:lnTo>
                                <a:pt x="6" y="25"/>
                              </a:lnTo>
                              <a:lnTo>
                                <a:pt x="14" y="29"/>
                              </a:lnTo>
                              <a:lnTo>
                                <a:pt x="15" y="30"/>
                              </a:lnTo>
                              <a:lnTo>
                                <a:pt x="15" y="31"/>
                              </a:lnTo>
                              <a:lnTo>
                                <a:pt x="12" y="48"/>
                              </a:lnTo>
                              <a:lnTo>
                                <a:pt x="11" y="49"/>
                              </a:lnTo>
                              <a:lnTo>
                                <a:pt x="11" y="49"/>
                              </a:lnTo>
                              <a:lnTo>
                                <a:pt x="0" y="54"/>
                              </a:lnTo>
                              <a:lnTo>
                                <a:pt x="0" y="54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75" name="Freeform 186">
                          <a:extLst>
                            <a:ext uri="{FF2B5EF4-FFF2-40B4-BE49-F238E27FC236}">
                              <a16:creationId xmlns:a16="http://schemas.microsoft.com/office/drawing/2014/main" id="{8E51A22D-E3E3-4A7D-934B-D3F0B993107A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993190" y="1821190"/>
                          <a:ext cx="215465" cy="182632"/>
                        </a:xfrm>
                        <a:custGeom>
                          <a:avLst/>
                          <a:gdLst>
                            <a:gd name="T0" fmla="*/ 0 w 210"/>
                            <a:gd name="T1" fmla="*/ 151 h 178"/>
                            <a:gd name="T2" fmla="*/ 56 w 210"/>
                            <a:gd name="T3" fmla="*/ 178 h 178"/>
                            <a:gd name="T4" fmla="*/ 69 w 210"/>
                            <a:gd name="T5" fmla="*/ 159 h 178"/>
                            <a:gd name="T6" fmla="*/ 60 w 210"/>
                            <a:gd name="T7" fmla="*/ 155 h 178"/>
                            <a:gd name="T8" fmla="*/ 60 w 210"/>
                            <a:gd name="T9" fmla="*/ 145 h 178"/>
                            <a:gd name="T10" fmla="*/ 61 w 210"/>
                            <a:gd name="T11" fmla="*/ 145 h 178"/>
                            <a:gd name="T12" fmla="*/ 72 w 210"/>
                            <a:gd name="T13" fmla="*/ 129 h 178"/>
                            <a:gd name="T14" fmla="*/ 99 w 210"/>
                            <a:gd name="T15" fmla="*/ 125 h 178"/>
                            <a:gd name="T16" fmla="*/ 115 w 210"/>
                            <a:gd name="T17" fmla="*/ 123 h 178"/>
                            <a:gd name="T18" fmla="*/ 116 w 210"/>
                            <a:gd name="T19" fmla="*/ 124 h 178"/>
                            <a:gd name="T20" fmla="*/ 133 w 210"/>
                            <a:gd name="T21" fmla="*/ 136 h 178"/>
                            <a:gd name="T22" fmla="*/ 157 w 210"/>
                            <a:gd name="T23" fmla="*/ 158 h 178"/>
                            <a:gd name="T24" fmla="*/ 183 w 210"/>
                            <a:gd name="T25" fmla="*/ 155 h 178"/>
                            <a:gd name="T26" fmla="*/ 205 w 210"/>
                            <a:gd name="T27" fmla="*/ 132 h 178"/>
                            <a:gd name="T28" fmla="*/ 210 w 210"/>
                            <a:gd name="T29" fmla="*/ 128 h 178"/>
                            <a:gd name="T30" fmla="*/ 193 w 210"/>
                            <a:gd name="T31" fmla="*/ 107 h 178"/>
                            <a:gd name="T32" fmla="*/ 201 w 210"/>
                            <a:gd name="T33" fmla="*/ 98 h 178"/>
                            <a:gd name="T34" fmla="*/ 168 w 210"/>
                            <a:gd name="T35" fmla="*/ 79 h 178"/>
                            <a:gd name="T36" fmla="*/ 167 w 210"/>
                            <a:gd name="T37" fmla="*/ 78 h 178"/>
                            <a:gd name="T38" fmla="*/ 125 w 210"/>
                            <a:gd name="T39" fmla="*/ 51 h 178"/>
                            <a:gd name="T40" fmla="*/ 124 w 210"/>
                            <a:gd name="T41" fmla="*/ 50 h 178"/>
                            <a:gd name="T42" fmla="*/ 90 w 210"/>
                            <a:gd name="T43" fmla="*/ 0 h 178"/>
                            <a:gd name="T44" fmla="*/ 83 w 210"/>
                            <a:gd name="T45" fmla="*/ 26 h 178"/>
                            <a:gd name="T46" fmla="*/ 83 w 210"/>
                            <a:gd name="T47" fmla="*/ 27 h 178"/>
                            <a:gd name="T48" fmla="*/ 76 w 210"/>
                            <a:gd name="T49" fmla="*/ 37 h 178"/>
                            <a:gd name="T50" fmla="*/ 36 w 210"/>
                            <a:gd name="T51" fmla="*/ 22 h 178"/>
                            <a:gd name="T52" fmla="*/ 36 w 210"/>
                            <a:gd name="T53" fmla="*/ 63 h 178"/>
                            <a:gd name="T54" fmla="*/ 28 w 210"/>
                            <a:gd name="T55" fmla="*/ 73 h 178"/>
                            <a:gd name="T56" fmla="*/ 35 w 210"/>
                            <a:gd name="T57" fmla="*/ 88 h 178"/>
                            <a:gd name="T58" fmla="*/ 32 w 210"/>
                            <a:gd name="T59" fmla="*/ 98 h 178"/>
                            <a:gd name="T60" fmla="*/ 31 w 210"/>
                            <a:gd name="T61" fmla="*/ 99 h 178"/>
                            <a:gd name="T62" fmla="*/ 0 w 210"/>
                            <a:gd name="T63" fmla="*/ 128 h 17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</a:cxnLst>
                          <a:rect l="0" t="0" r="r" b="b"/>
                          <a:pathLst>
                            <a:path w="210" h="178">
                              <a:moveTo>
                                <a:pt x="0" y="128"/>
                              </a:moveTo>
                              <a:lnTo>
                                <a:pt x="0" y="151"/>
                              </a:lnTo>
                              <a:lnTo>
                                <a:pt x="41" y="173"/>
                              </a:lnTo>
                              <a:lnTo>
                                <a:pt x="56" y="178"/>
                              </a:lnTo>
                              <a:lnTo>
                                <a:pt x="66" y="173"/>
                              </a:lnTo>
                              <a:lnTo>
                                <a:pt x="69" y="159"/>
                              </a:lnTo>
                              <a:lnTo>
                                <a:pt x="61" y="155"/>
                              </a:lnTo>
                              <a:lnTo>
                                <a:pt x="60" y="155"/>
                              </a:lnTo>
                              <a:lnTo>
                                <a:pt x="60" y="154"/>
                              </a:lnTo>
                              <a:lnTo>
                                <a:pt x="60" y="145"/>
                              </a:lnTo>
                              <a:lnTo>
                                <a:pt x="60" y="145"/>
                              </a:lnTo>
                              <a:lnTo>
                                <a:pt x="61" y="145"/>
                              </a:lnTo>
                              <a:lnTo>
                                <a:pt x="71" y="129"/>
                              </a:lnTo>
                              <a:lnTo>
                                <a:pt x="72" y="129"/>
                              </a:lnTo>
                              <a:lnTo>
                                <a:pt x="73" y="129"/>
                              </a:lnTo>
                              <a:lnTo>
                                <a:pt x="99" y="125"/>
                              </a:lnTo>
                              <a:lnTo>
                                <a:pt x="99" y="125"/>
                              </a:lnTo>
                              <a:lnTo>
                                <a:pt x="115" y="123"/>
                              </a:lnTo>
                              <a:lnTo>
                                <a:pt x="115" y="123"/>
                              </a:lnTo>
                              <a:lnTo>
                                <a:pt x="116" y="124"/>
                              </a:lnTo>
                              <a:lnTo>
                                <a:pt x="133" y="136"/>
                              </a:lnTo>
                              <a:lnTo>
                                <a:pt x="133" y="136"/>
                              </a:lnTo>
                              <a:lnTo>
                                <a:pt x="133" y="136"/>
                              </a:lnTo>
                              <a:lnTo>
                                <a:pt x="157" y="158"/>
                              </a:lnTo>
                              <a:lnTo>
                                <a:pt x="172" y="161"/>
                              </a:lnTo>
                              <a:lnTo>
                                <a:pt x="183" y="155"/>
                              </a:lnTo>
                              <a:lnTo>
                                <a:pt x="205" y="132"/>
                              </a:lnTo>
                              <a:lnTo>
                                <a:pt x="205" y="132"/>
                              </a:lnTo>
                              <a:lnTo>
                                <a:pt x="205" y="132"/>
                              </a:lnTo>
                              <a:lnTo>
                                <a:pt x="210" y="128"/>
                              </a:lnTo>
                              <a:lnTo>
                                <a:pt x="194" y="108"/>
                              </a:lnTo>
                              <a:lnTo>
                                <a:pt x="193" y="107"/>
                              </a:lnTo>
                              <a:lnTo>
                                <a:pt x="194" y="106"/>
                              </a:lnTo>
                              <a:lnTo>
                                <a:pt x="201" y="98"/>
                              </a:lnTo>
                              <a:lnTo>
                                <a:pt x="200" y="81"/>
                              </a:lnTo>
                              <a:lnTo>
                                <a:pt x="168" y="79"/>
                              </a:lnTo>
                              <a:lnTo>
                                <a:pt x="167" y="79"/>
                              </a:lnTo>
                              <a:lnTo>
                                <a:pt x="167" y="78"/>
                              </a:lnTo>
                              <a:lnTo>
                                <a:pt x="148" y="52"/>
                              </a:lnTo>
                              <a:lnTo>
                                <a:pt x="125" y="51"/>
                              </a:lnTo>
                              <a:lnTo>
                                <a:pt x="124" y="51"/>
                              </a:lnTo>
                              <a:lnTo>
                                <a:pt x="124" y="50"/>
                              </a:lnTo>
                              <a:lnTo>
                                <a:pt x="115" y="29"/>
                              </a:lnTo>
                              <a:lnTo>
                                <a:pt x="90" y="0"/>
                              </a:lnTo>
                              <a:lnTo>
                                <a:pt x="87" y="4"/>
                              </a:lnTo>
                              <a:lnTo>
                                <a:pt x="83" y="26"/>
                              </a:lnTo>
                              <a:lnTo>
                                <a:pt x="83" y="27"/>
                              </a:lnTo>
                              <a:lnTo>
                                <a:pt x="83" y="27"/>
                              </a:lnTo>
                              <a:lnTo>
                                <a:pt x="77" y="35"/>
                              </a:lnTo>
                              <a:lnTo>
                                <a:pt x="76" y="37"/>
                              </a:lnTo>
                              <a:lnTo>
                                <a:pt x="74" y="36"/>
                              </a:lnTo>
                              <a:lnTo>
                                <a:pt x="36" y="22"/>
                              </a:lnTo>
                              <a:lnTo>
                                <a:pt x="36" y="62"/>
                              </a:lnTo>
                              <a:lnTo>
                                <a:pt x="36" y="63"/>
                              </a:lnTo>
                              <a:lnTo>
                                <a:pt x="36" y="64"/>
                              </a:lnTo>
                              <a:lnTo>
                                <a:pt x="28" y="73"/>
                              </a:lnTo>
                              <a:lnTo>
                                <a:pt x="35" y="87"/>
                              </a:lnTo>
                              <a:lnTo>
                                <a:pt x="35" y="88"/>
                              </a:lnTo>
                              <a:lnTo>
                                <a:pt x="35" y="89"/>
                              </a:lnTo>
                              <a:lnTo>
                                <a:pt x="32" y="98"/>
                              </a:lnTo>
                              <a:lnTo>
                                <a:pt x="32" y="99"/>
                              </a:lnTo>
                              <a:lnTo>
                                <a:pt x="31" y="99"/>
                              </a:lnTo>
                              <a:lnTo>
                                <a:pt x="0" y="128"/>
                              </a:lnTo>
                              <a:lnTo>
                                <a:pt x="0" y="128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76" name="Freeform 187">
                          <a:extLst>
                            <a:ext uri="{FF2B5EF4-FFF2-40B4-BE49-F238E27FC236}">
                              <a16:creationId xmlns:a16="http://schemas.microsoft.com/office/drawing/2014/main" id="{E6A829A6-FC38-454C-8521-8AC6C4466BD0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843391" y="1728848"/>
                          <a:ext cx="183658" cy="220595"/>
                        </a:xfrm>
                        <a:custGeom>
                          <a:avLst/>
                          <a:gdLst>
                            <a:gd name="T0" fmla="*/ 63 w 179"/>
                            <a:gd name="T1" fmla="*/ 4 h 215"/>
                            <a:gd name="T2" fmla="*/ 52 w 179"/>
                            <a:gd name="T3" fmla="*/ 5 h 215"/>
                            <a:gd name="T4" fmla="*/ 52 w 179"/>
                            <a:gd name="T5" fmla="*/ 5 h 215"/>
                            <a:gd name="T6" fmla="*/ 51 w 179"/>
                            <a:gd name="T7" fmla="*/ 4 h 215"/>
                            <a:gd name="T8" fmla="*/ 39 w 179"/>
                            <a:gd name="T9" fmla="*/ 0 h 215"/>
                            <a:gd name="T10" fmla="*/ 17 w 179"/>
                            <a:gd name="T11" fmla="*/ 25 h 215"/>
                            <a:gd name="T12" fmla="*/ 13 w 179"/>
                            <a:gd name="T13" fmla="*/ 52 h 215"/>
                            <a:gd name="T14" fmla="*/ 12 w 179"/>
                            <a:gd name="T15" fmla="*/ 93 h 215"/>
                            <a:gd name="T16" fmla="*/ 12 w 179"/>
                            <a:gd name="T17" fmla="*/ 93 h 215"/>
                            <a:gd name="T18" fmla="*/ 12 w 179"/>
                            <a:gd name="T19" fmla="*/ 94 h 215"/>
                            <a:gd name="T20" fmla="*/ 6 w 179"/>
                            <a:gd name="T21" fmla="*/ 103 h 215"/>
                            <a:gd name="T22" fmla="*/ 5 w 179"/>
                            <a:gd name="T23" fmla="*/ 104 h 215"/>
                            <a:gd name="T24" fmla="*/ 5 w 179"/>
                            <a:gd name="T25" fmla="*/ 104 h 215"/>
                            <a:gd name="T26" fmla="*/ 0 w 179"/>
                            <a:gd name="T27" fmla="*/ 107 h 215"/>
                            <a:gd name="T28" fmla="*/ 31 w 179"/>
                            <a:gd name="T29" fmla="*/ 154 h 215"/>
                            <a:gd name="T30" fmla="*/ 52 w 179"/>
                            <a:gd name="T31" fmla="*/ 156 h 215"/>
                            <a:gd name="T32" fmla="*/ 52 w 179"/>
                            <a:gd name="T33" fmla="*/ 156 h 215"/>
                            <a:gd name="T34" fmla="*/ 53 w 179"/>
                            <a:gd name="T35" fmla="*/ 157 h 215"/>
                            <a:gd name="T36" fmla="*/ 60 w 179"/>
                            <a:gd name="T37" fmla="*/ 169 h 215"/>
                            <a:gd name="T38" fmla="*/ 60 w 179"/>
                            <a:gd name="T39" fmla="*/ 170 h 215"/>
                            <a:gd name="T40" fmla="*/ 60 w 179"/>
                            <a:gd name="T41" fmla="*/ 170 h 215"/>
                            <a:gd name="T42" fmla="*/ 60 w 179"/>
                            <a:gd name="T43" fmla="*/ 184 h 215"/>
                            <a:gd name="T44" fmla="*/ 102 w 179"/>
                            <a:gd name="T45" fmla="*/ 208 h 215"/>
                            <a:gd name="T46" fmla="*/ 144 w 179"/>
                            <a:gd name="T47" fmla="*/ 215 h 215"/>
                            <a:gd name="T48" fmla="*/ 175 w 179"/>
                            <a:gd name="T49" fmla="*/ 186 h 215"/>
                            <a:gd name="T50" fmla="*/ 177 w 179"/>
                            <a:gd name="T51" fmla="*/ 178 h 215"/>
                            <a:gd name="T52" fmla="*/ 170 w 179"/>
                            <a:gd name="T53" fmla="*/ 163 h 215"/>
                            <a:gd name="T54" fmla="*/ 169 w 179"/>
                            <a:gd name="T55" fmla="*/ 162 h 215"/>
                            <a:gd name="T56" fmla="*/ 170 w 179"/>
                            <a:gd name="T57" fmla="*/ 161 h 215"/>
                            <a:gd name="T58" fmla="*/ 179 w 179"/>
                            <a:gd name="T59" fmla="*/ 152 h 215"/>
                            <a:gd name="T60" fmla="*/ 179 w 179"/>
                            <a:gd name="T61" fmla="*/ 112 h 215"/>
                            <a:gd name="T62" fmla="*/ 164 w 179"/>
                            <a:gd name="T63" fmla="*/ 111 h 215"/>
                            <a:gd name="T64" fmla="*/ 163 w 179"/>
                            <a:gd name="T65" fmla="*/ 111 h 215"/>
                            <a:gd name="T66" fmla="*/ 162 w 179"/>
                            <a:gd name="T67" fmla="*/ 110 h 215"/>
                            <a:gd name="T68" fmla="*/ 152 w 179"/>
                            <a:gd name="T69" fmla="*/ 87 h 215"/>
                            <a:gd name="T70" fmla="*/ 128 w 179"/>
                            <a:gd name="T71" fmla="*/ 83 h 215"/>
                            <a:gd name="T72" fmla="*/ 121 w 179"/>
                            <a:gd name="T73" fmla="*/ 90 h 215"/>
                            <a:gd name="T74" fmla="*/ 119 w 179"/>
                            <a:gd name="T75" fmla="*/ 91 h 215"/>
                            <a:gd name="T76" fmla="*/ 118 w 179"/>
                            <a:gd name="T77" fmla="*/ 89 h 215"/>
                            <a:gd name="T78" fmla="*/ 103 w 179"/>
                            <a:gd name="T79" fmla="*/ 65 h 215"/>
                            <a:gd name="T80" fmla="*/ 103 w 179"/>
                            <a:gd name="T81" fmla="*/ 65 h 215"/>
                            <a:gd name="T82" fmla="*/ 103 w 179"/>
                            <a:gd name="T83" fmla="*/ 64 h 215"/>
                            <a:gd name="T84" fmla="*/ 101 w 179"/>
                            <a:gd name="T85" fmla="*/ 37 h 215"/>
                            <a:gd name="T86" fmla="*/ 76 w 179"/>
                            <a:gd name="T87" fmla="*/ 37 h 215"/>
                            <a:gd name="T88" fmla="*/ 75 w 179"/>
                            <a:gd name="T89" fmla="*/ 37 h 215"/>
                            <a:gd name="T90" fmla="*/ 74 w 179"/>
                            <a:gd name="T91" fmla="*/ 36 h 215"/>
                            <a:gd name="T92" fmla="*/ 63 w 179"/>
                            <a:gd name="T93" fmla="*/ 4 h 215"/>
                            <a:gd name="T94" fmla="*/ 63 w 179"/>
                            <a:gd name="T95" fmla="*/ 4 h 21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</a:cxnLst>
                          <a:rect l="0" t="0" r="r" b="b"/>
                          <a:pathLst>
                            <a:path w="179" h="215">
                              <a:moveTo>
                                <a:pt x="63" y="4"/>
                              </a:moveTo>
                              <a:lnTo>
                                <a:pt x="52" y="5"/>
                              </a:lnTo>
                              <a:lnTo>
                                <a:pt x="52" y="5"/>
                              </a:lnTo>
                              <a:lnTo>
                                <a:pt x="51" y="4"/>
                              </a:lnTo>
                              <a:lnTo>
                                <a:pt x="39" y="0"/>
                              </a:lnTo>
                              <a:lnTo>
                                <a:pt x="17" y="25"/>
                              </a:lnTo>
                              <a:lnTo>
                                <a:pt x="13" y="52"/>
                              </a:lnTo>
                              <a:lnTo>
                                <a:pt x="12" y="93"/>
                              </a:lnTo>
                              <a:lnTo>
                                <a:pt x="12" y="93"/>
                              </a:lnTo>
                              <a:lnTo>
                                <a:pt x="12" y="94"/>
                              </a:lnTo>
                              <a:lnTo>
                                <a:pt x="6" y="103"/>
                              </a:lnTo>
                              <a:lnTo>
                                <a:pt x="5" y="104"/>
                              </a:lnTo>
                              <a:lnTo>
                                <a:pt x="5" y="104"/>
                              </a:lnTo>
                              <a:lnTo>
                                <a:pt x="0" y="107"/>
                              </a:lnTo>
                              <a:lnTo>
                                <a:pt x="31" y="154"/>
                              </a:lnTo>
                              <a:lnTo>
                                <a:pt x="52" y="156"/>
                              </a:lnTo>
                              <a:lnTo>
                                <a:pt x="52" y="156"/>
                              </a:lnTo>
                              <a:lnTo>
                                <a:pt x="53" y="157"/>
                              </a:lnTo>
                              <a:lnTo>
                                <a:pt x="60" y="169"/>
                              </a:lnTo>
                              <a:lnTo>
                                <a:pt x="60" y="170"/>
                              </a:lnTo>
                              <a:lnTo>
                                <a:pt x="60" y="170"/>
                              </a:lnTo>
                              <a:lnTo>
                                <a:pt x="60" y="184"/>
                              </a:lnTo>
                              <a:lnTo>
                                <a:pt x="102" y="208"/>
                              </a:lnTo>
                              <a:lnTo>
                                <a:pt x="144" y="215"/>
                              </a:lnTo>
                              <a:lnTo>
                                <a:pt x="175" y="186"/>
                              </a:lnTo>
                              <a:lnTo>
                                <a:pt x="177" y="178"/>
                              </a:lnTo>
                              <a:lnTo>
                                <a:pt x="170" y="163"/>
                              </a:lnTo>
                              <a:lnTo>
                                <a:pt x="169" y="162"/>
                              </a:lnTo>
                              <a:lnTo>
                                <a:pt x="170" y="161"/>
                              </a:lnTo>
                              <a:lnTo>
                                <a:pt x="179" y="152"/>
                              </a:lnTo>
                              <a:lnTo>
                                <a:pt x="179" y="112"/>
                              </a:lnTo>
                              <a:lnTo>
                                <a:pt x="164" y="111"/>
                              </a:lnTo>
                              <a:lnTo>
                                <a:pt x="163" y="111"/>
                              </a:lnTo>
                              <a:lnTo>
                                <a:pt x="162" y="110"/>
                              </a:lnTo>
                              <a:lnTo>
                                <a:pt x="152" y="87"/>
                              </a:lnTo>
                              <a:lnTo>
                                <a:pt x="128" y="83"/>
                              </a:lnTo>
                              <a:lnTo>
                                <a:pt x="121" y="90"/>
                              </a:lnTo>
                              <a:lnTo>
                                <a:pt x="119" y="91"/>
                              </a:lnTo>
                              <a:lnTo>
                                <a:pt x="118" y="89"/>
                              </a:lnTo>
                              <a:lnTo>
                                <a:pt x="103" y="65"/>
                              </a:lnTo>
                              <a:lnTo>
                                <a:pt x="103" y="65"/>
                              </a:lnTo>
                              <a:lnTo>
                                <a:pt x="103" y="64"/>
                              </a:lnTo>
                              <a:lnTo>
                                <a:pt x="101" y="37"/>
                              </a:lnTo>
                              <a:lnTo>
                                <a:pt x="76" y="37"/>
                              </a:lnTo>
                              <a:lnTo>
                                <a:pt x="75" y="37"/>
                              </a:lnTo>
                              <a:lnTo>
                                <a:pt x="74" y="36"/>
                              </a:lnTo>
                              <a:lnTo>
                                <a:pt x="63" y="4"/>
                              </a:lnTo>
                              <a:lnTo>
                                <a:pt x="63" y="4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rgbClr val="F2F2F2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77" name="Freeform 188">
                          <a:extLst>
                            <a:ext uri="{FF2B5EF4-FFF2-40B4-BE49-F238E27FC236}">
                              <a16:creationId xmlns:a16="http://schemas.microsoft.com/office/drawing/2014/main" id="{F63FD2FB-2A8A-4728-B1C6-F45ECD9040DB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911108" y="1682677"/>
                          <a:ext cx="182632" cy="171346"/>
                        </a:xfrm>
                        <a:custGeom>
                          <a:avLst/>
                          <a:gdLst>
                            <a:gd name="T0" fmla="*/ 57 w 178"/>
                            <a:gd name="T1" fmla="*/ 0 h 167"/>
                            <a:gd name="T2" fmla="*/ 38 w 178"/>
                            <a:gd name="T3" fmla="*/ 14 h 167"/>
                            <a:gd name="T4" fmla="*/ 0 w 178"/>
                            <a:gd name="T5" fmla="*/ 48 h 167"/>
                            <a:gd name="T6" fmla="*/ 11 w 178"/>
                            <a:gd name="T7" fmla="*/ 78 h 167"/>
                            <a:gd name="T8" fmla="*/ 36 w 178"/>
                            <a:gd name="T9" fmla="*/ 78 h 167"/>
                            <a:gd name="T10" fmla="*/ 38 w 178"/>
                            <a:gd name="T11" fmla="*/ 78 h 167"/>
                            <a:gd name="T12" fmla="*/ 38 w 178"/>
                            <a:gd name="T13" fmla="*/ 80 h 167"/>
                            <a:gd name="T14" fmla="*/ 40 w 178"/>
                            <a:gd name="T15" fmla="*/ 108 h 167"/>
                            <a:gd name="T16" fmla="*/ 54 w 178"/>
                            <a:gd name="T17" fmla="*/ 131 h 167"/>
                            <a:gd name="T18" fmla="*/ 60 w 178"/>
                            <a:gd name="T19" fmla="*/ 125 h 167"/>
                            <a:gd name="T20" fmla="*/ 61 w 178"/>
                            <a:gd name="T21" fmla="*/ 124 h 167"/>
                            <a:gd name="T22" fmla="*/ 62 w 178"/>
                            <a:gd name="T23" fmla="*/ 124 h 167"/>
                            <a:gd name="T24" fmla="*/ 88 w 178"/>
                            <a:gd name="T25" fmla="*/ 129 h 167"/>
                            <a:gd name="T26" fmla="*/ 89 w 178"/>
                            <a:gd name="T27" fmla="*/ 129 h 167"/>
                            <a:gd name="T28" fmla="*/ 89 w 178"/>
                            <a:gd name="T29" fmla="*/ 130 h 167"/>
                            <a:gd name="T30" fmla="*/ 99 w 178"/>
                            <a:gd name="T31" fmla="*/ 152 h 167"/>
                            <a:gd name="T32" fmla="*/ 113 w 178"/>
                            <a:gd name="T33" fmla="*/ 153 h 167"/>
                            <a:gd name="T34" fmla="*/ 113 w 178"/>
                            <a:gd name="T35" fmla="*/ 152 h 167"/>
                            <a:gd name="T36" fmla="*/ 115 w 178"/>
                            <a:gd name="T37" fmla="*/ 153 h 167"/>
                            <a:gd name="T38" fmla="*/ 154 w 178"/>
                            <a:gd name="T39" fmla="*/ 167 h 167"/>
                            <a:gd name="T40" fmla="*/ 159 w 178"/>
                            <a:gd name="T41" fmla="*/ 160 h 167"/>
                            <a:gd name="T42" fmla="*/ 163 w 178"/>
                            <a:gd name="T43" fmla="*/ 137 h 167"/>
                            <a:gd name="T44" fmla="*/ 163 w 178"/>
                            <a:gd name="T45" fmla="*/ 137 h 167"/>
                            <a:gd name="T46" fmla="*/ 164 w 178"/>
                            <a:gd name="T47" fmla="*/ 137 h 167"/>
                            <a:gd name="T48" fmla="*/ 169 w 178"/>
                            <a:gd name="T49" fmla="*/ 131 h 167"/>
                            <a:gd name="T50" fmla="*/ 177 w 178"/>
                            <a:gd name="T51" fmla="*/ 117 h 167"/>
                            <a:gd name="T52" fmla="*/ 178 w 178"/>
                            <a:gd name="T53" fmla="*/ 108 h 167"/>
                            <a:gd name="T54" fmla="*/ 167 w 178"/>
                            <a:gd name="T55" fmla="*/ 101 h 167"/>
                            <a:gd name="T56" fmla="*/ 166 w 178"/>
                            <a:gd name="T57" fmla="*/ 101 h 167"/>
                            <a:gd name="T58" fmla="*/ 166 w 178"/>
                            <a:gd name="T59" fmla="*/ 100 h 167"/>
                            <a:gd name="T60" fmla="*/ 164 w 178"/>
                            <a:gd name="T61" fmla="*/ 88 h 167"/>
                            <a:gd name="T62" fmla="*/ 158 w 178"/>
                            <a:gd name="T63" fmla="*/ 84 h 167"/>
                            <a:gd name="T64" fmla="*/ 154 w 178"/>
                            <a:gd name="T65" fmla="*/ 90 h 167"/>
                            <a:gd name="T66" fmla="*/ 154 w 178"/>
                            <a:gd name="T67" fmla="*/ 91 h 167"/>
                            <a:gd name="T68" fmla="*/ 153 w 178"/>
                            <a:gd name="T69" fmla="*/ 91 h 167"/>
                            <a:gd name="T70" fmla="*/ 126 w 178"/>
                            <a:gd name="T71" fmla="*/ 92 h 167"/>
                            <a:gd name="T72" fmla="*/ 123 w 178"/>
                            <a:gd name="T73" fmla="*/ 100 h 167"/>
                            <a:gd name="T74" fmla="*/ 123 w 178"/>
                            <a:gd name="T75" fmla="*/ 101 h 167"/>
                            <a:gd name="T76" fmla="*/ 121 w 178"/>
                            <a:gd name="T77" fmla="*/ 101 h 167"/>
                            <a:gd name="T78" fmla="*/ 107 w 178"/>
                            <a:gd name="T79" fmla="*/ 98 h 167"/>
                            <a:gd name="T80" fmla="*/ 106 w 178"/>
                            <a:gd name="T81" fmla="*/ 98 h 167"/>
                            <a:gd name="T82" fmla="*/ 106 w 178"/>
                            <a:gd name="T83" fmla="*/ 98 h 167"/>
                            <a:gd name="T84" fmla="*/ 92 w 178"/>
                            <a:gd name="T85" fmla="*/ 71 h 167"/>
                            <a:gd name="T86" fmla="*/ 92 w 178"/>
                            <a:gd name="T87" fmla="*/ 71 h 167"/>
                            <a:gd name="T88" fmla="*/ 92 w 178"/>
                            <a:gd name="T89" fmla="*/ 70 h 167"/>
                            <a:gd name="T90" fmla="*/ 88 w 178"/>
                            <a:gd name="T91" fmla="*/ 31 h 167"/>
                            <a:gd name="T92" fmla="*/ 57 w 178"/>
                            <a:gd name="T93" fmla="*/ 0 h 167"/>
                            <a:gd name="T94" fmla="*/ 57 w 178"/>
                            <a:gd name="T95" fmla="*/ 0 h 16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</a:cxnLst>
                          <a:rect l="0" t="0" r="r" b="b"/>
                          <a:pathLst>
                            <a:path w="178" h="167">
                              <a:moveTo>
                                <a:pt x="57" y="0"/>
                              </a:moveTo>
                              <a:lnTo>
                                <a:pt x="38" y="14"/>
                              </a:lnTo>
                              <a:lnTo>
                                <a:pt x="0" y="48"/>
                              </a:lnTo>
                              <a:lnTo>
                                <a:pt x="11" y="78"/>
                              </a:lnTo>
                              <a:lnTo>
                                <a:pt x="36" y="78"/>
                              </a:lnTo>
                              <a:lnTo>
                                <a:pt x="38" y="78"/>
                              </a:lnTo>
                              <a:lnTo>
                                <a:pt x="38" y="80"/>
                              </a:lnTo>
                              <a:lnTo>
                                <a:pt x="40" y="108"/>
                              </a:lnTo>
                              <a:lnTo>
                                <a:pt x="54" y="131"/>
                              </a:lnTo>
                              <a:lnTo>
                                <a:pt x="60" y="125"/>
                              </a:lnTo>
                              <a:lnTo>
                                <a:pt x="61" y="124"/>
                              </a:lnTo>
                              <a:lnTo>
                                <a:pt x="62" y="124"/>
                              </a:lnTo>
                              <a:lnTo>
                                <a:pt x="88" y="129"/>
                              </a:lnTo>
                              <a:lnTo>
                                <a:pt x="89" y="129"/>
                              </a:lnTo>
                              <a:lnTo>
                                <a:pt x="89" y="130"/>
                              </a:lnTo>
                              <a:lnTo>
                                <a:pt x="99" y="152"/>
                              </a:lnTo>
                              <a:lnTo>
                                <a:pt x="113" y="153"/>
                              </a:lnTo>
                              <a:lnTo>
                                <a:pt x="113" y="152"/>
                              </a:lnTo>
                              <a:lnTo>
                                <a:pt x="115" y="153"/>
                              </a:lnTo>
                              <a:lnTo>
                                <a:pt x="154" y="167"/>
                              </a:lnTo>
                              <a:lnTo>
                                <a:pt x="159" y="160"/>
                              </a:lnTo>
                              <a:lnTo>
                                <a:pt x="163" y="137"/>
                              </a:lnTo>
                              <a:lnTo>
                                <a:pt x="163" y="137"/>
                              </a:lnTo>
                              <a:lnTo>
                                <a:pt x="164" y="137"/>
                              </a:lnTo>
                              <a:lnTo>
                                <a:pt x="169" y="131"/>
                              </a:lnTo>
                              <a:lnTo>
                                <a:pt x="177" y="117"/>
                              </a:lnTo>
                              <a:lnTo>
                                <a:pt x="178" y="108"/>
                              </a:lnTo>
                              <a:lnTo>
                                <a:pt x="167" y="101"/>
                              </a:lnTo>
                              <a:lnTo>
                                <a:pt x="166" y="101"/>
                              </a:lnTo>
                              <a:lnTo>
                                <a:pt x="166" y="100"/>
                              </a:lnTo>
                              <a:lnTo>
                                <a:pt x="164" y="88"/>
                              </a:lnTo>
                              <a:lnTo>
                                <a:pt x="158" y="84"/>
                              </a:lnTo>
                              <a:lnTo>
                                <a:pt x="154" y="90"/>
                              </a:lnTo>
                              <a:lnTo>
                                <a:pt x="154" y="91"/>
                              </a:lnTo>
                              <a:lnTo>
                                <a:pt x="153" y="91"/>
                              </a:lnTo>
                              <a:lnTo>
                                <a:pt x="126" y="92"/>
                              </a:lnTo>
                              <a:lnTo>
                                <a:pt x="123" y="100"/>
                              </a:lnTo>
                              <a:lnTo>
                                <a:pt x="123" y="101"/>
                              </a:lnTo>
                              <a:lnTo>
                                <a:pt x="121" y="101"/>
                              </a:lnTo>
                              <a:lnTo>
                                <a:pt x="107" y="98"/>
                              </a:lnTo>
                              <a:lnTo>
                                <a:pt x="106" y="98"/>
                              </a:lnTo>
                              <a:lnTo>
                                <a:pt x="106" y="98"/>
                              </a:lnTo>
                              <a:lnTo>
                                <a:pt x="92" y="71"/>
                              </a:lnTo>
                              <a:lnTo>
                                <a:pt x="92" y="71"/>
                              </a:lnTo>
                              <a:lnTo>
                                <a:pt x="92" y="70"/>
                              </a:lnTo>
                              <a:lnTo>
                                <a:pt x="88" y="31"/>
                              </a:lnTo>
                              <a:lnTo>
                                <a:pt x="57" y="0"/>
                              </a:lnTo>
                              <a:lnTo>
                                <a:pt x="57" y="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78" name="Freeform 189">
                          <a:extLst>
                            <a:ext uri="{FF2B5EF4-FFF2-40B4-BE49-F238E27FC236}">
                              <a16:creationId xmlns:a16="http://schemas.microsoft.com/office/drawing/2014/main" id="{0BF92DFE-9DCF-4C77-93F8-58C228FC4351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088610" y="1736031"/>
                          <a:ext cx="122097" cy="123123"/>
                        </a:xfrm>
                        <a:custGeom>
                          <a:avLst/>
                          <a:gdLst>
                            <a:gd name="T0" fmla="*/ 8 w 119"/>
                            <a:gd name="T1" fmla="*/ 56 h 120"/>
                            <a:gd name="T2" fmla="*/ 8 w 119"/>
                            <a:gd name="T3" fmla="*/ 66 h 120"/>
                            <a:gd name="T4" fmla="*/ 8 w 119"/>
                            <a:gd name="T5" fmla="*/ 66 h 120"/>
                            <a:gd name="T6" fmla="*/ 8 w 119"/>
                            <a:gd name="T7" fmla="*/ 66 h 120"/>
                            <a:gd name="T8" fmla="*/ 0 w 119"/>
                            <a:gd name="T9" fmla="*/ 80 h 120"/>
                            <a:gd name="T10" fmla="*/ 25 w 119"/>
                            <a:gd name="T11" fmla="*/ 110 h 120"/>
                            <a:gd name="T12" fmla="*/ 26 w 119"/>
                            <a:gd name="T13" fmla="*/ 110 h 120"/>
                            <a:gd name="T14" fmla="*/ 26 w 119"/>
                            <a:gd name="T15" fmla="*/ 111 h 120"/>
                            <a:gd name="T16" fmla="*/ 30 w 119"/>
                            <a:gd name="T17" fmla="*/ 120 h 120"/>
                            <a:gd name="T18" fmla="*/ 49 w 119"/>
                            <a:gd name="T19" fmla="*/ 114 h 120"/>
                            <a:gd name="T20" fmla="*/ 49 w 119"/>
                            <a:gd name="T21" fmla="*/ 114 h 120"/>
                            <a:gd name="T22" fmla="*/ 49 w 119"/>
                            <a:gd name="T23" fmla="*/ 114 h 120"/>
                            <a:gd name="T24" fmla="*/ 74 w 119"/>
                            <a:gd name="T25" fmla="*/ 111 h 120"/>
                            <a:gd name="T26" fmla="*/ 77 w 119"/>
                            <a:gd name="T27" fmla="*/ 91 h 120"/>
                            <a:gd name="T28" fmla="*/ 77 w 119"/>
                            <a:gd name="T29" fmla="*/ 90 h 120"/>
                            <a:gd name="T30" fmla="*/ 78 w 119"/>
                            <a:gd name="T31" fmla="*/ 90 h 120"/>
                            <a:gd name="T32" fmla="*/ 90 w 119"/>
                            <a:gd name="T33" fmla="*/ 83 h 120"/>
                            <a:gd name="T34" fmla="*/ 91 w 119"/>
                            <a:gd name="T35" fmla="*/ 83 h 120"/>
                            <a:gd name="T36" fmla="*/ 91 w 119"/>
                            <a:gd name="T37" fmla="*/ 83 h 120"/>
                            <a:gd name="T38" fmla="*/ 117 w 119"/>
                            <a:gd name="T39" fmla="*/ 76 h 120"/>
                            <a:gd name="T40" fmla="*/ 119 w 119"/>
                            <a:gd name="T41" fmla="*/ 55 h 120"/>
                            <a:gd name="T42" fmla="*/ 113 w 119"/>
                            <a:gd name="T43" fmla="*/ 16 h 120"/>
                            <a:gd name="T44" fmla="*/ 63 w 119"/>
                            <a:gd name="T45" fmla="*/ 0 h 120"/>
                            <a:gd name="T46" fmla="*/ 35 w 119"/>
                            <a:gd name="T47" fmla="*/ 8 h 120"/>
                            <a:gd name="T48" fmla="*/ 32 w 119"/>
                            <a:gd name="T49" fmla="*/ 37 h 120"/>
                            <a:gd name="T50" fmla="*/ 32 w 119"/>
                            <a:gd name="T51" fmla="*/ 38 h 120"/>
                            <a:gd name="T52" fmla="*/ 31 w 119"/>
                            <a:gd name="T53" fmla="*/ 39 h 120"/>
                            <a:gd name="T54" fmla="*/ 8 w 119"/>
                            <a:gd name="T55" fmla="*/ 56 h 120"/>
                            <a:gd name="T56" fmla="*/ 8 w 119"/>
                            <a:gd name="T57" fmla="*/ 56 h 12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</a:cxnLst>
                          <a:rect l="0" t="0" r="r" b="b"/>
                          <a:pathLst>
                            <a:path w="119" h="120">
                              <a:moveTo>
                                <a:pt x="8" y="56"/>
                              </a:moveTo>
                              <a:lnTo>
                                <a:pt x="8" y="66"/>
                              </a:lnTo>
                              <a:lnTo>
                                <a:pt x="8" y="66"/>
                              </a:lnTo>
                              <a:lnTo>
                                <a:pt x="8" y="66"/>
                              </a:lnTo>
                              <a:lnTo>
                                <a:pt x="0" y="80"/>
                              </a:lnTo>
                              <a:lnTo>
                                <a:pt x="25" y="110"/>
                              </a:lnTo>
                              <a:lnTo>
                                <a:pt x="26" y="110"/>
                              </a:lnTo>
                              <a:lnTo>
                                <a:pt x="26" y="111"/>
                              </a:lnTo>
                              <a:lnTo>
                                <a:pt x="30" y="120"/>
                              </a:lnTo>
                              <a:lnTo>
                                <a:pt x="49" y="114"/>
                              </a:lnTo>
                              <a:lnTo>
                                <a:pt x="49" y="114"/>
                              </a:lnTo>
                              <a:lnTo>
                                <a:pt x="49" y="114"/>
                              </a:lnTo>
                              <a:lnTo>
                                <a:pt x="74" y="111"/>
                              </a:lnTo>
                              <a:lnTo>
                                <a:pt x="77" y="91"/>
                              </a:lnTo>
                              <a:lnTo>
                                <a:pt x="77" y="90"/>
                              </a:lnTo>
                              <a:lnTo>
                                <a:pt x="78" y="90"/>
                              </a:lnTo>
                              <a:lnTo>
                                <a:pt x="90" y="83"/>
                              </a:lnTo>
                              <a:lnTo>
                                <a:pt x="91" y="83"/>
                              </a:lnTo>
                              <a:lnTo>
                                <a:pt x="91" y="83"/>
                              </a:lnTo>
                              <a:lnTo>
                                <a:pt x="117" y="76"/>
                              </a:lnTo>
                              <a:lnTo>
                                <a:pt x="119" y="55"/>
                              </a:lnTo>
                              <a:lnTo>
                                <a:pt x="113" y="16"/>
                              </a:lnTo>
                              <a:lnTo>
                                <a:pt x="63" y="0"/>
                              </a:lnTo>
                              <a:lnTo>
                                <a:pt x="35" y="8"/>
                              </a:lnTo>
                              <a:lnTo>
                                <a:pt x="32" y="37"/>
                              </a:lnTo>
                              <a:lnTo>
                                <a:pt x="32" y="38"/>
                              </a:lnTo>
                              <a:lnTo>
                                <a:pt x="31" y="39"/>
                              </a:lnTo>
                              <a:lnTo>
                                <a:pt x="8" y="56"/>
                              </a:lnTo>
                              <a:lnTo>
                                <a:pt x="8" y="56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79" name="Freeform 190">
                          <a:extLst>
                            <a:ext uri="{FF2B5EF4-FFF2-40B4-BE49-F238E27FC236}">
                              <a16:creationId xmlns:a16="http://schemas.microsoft.com/office/drawing/2014/main" id="{E6325A48-75D6-4022-9549-0C1E284B9C42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959331" y="1581101"/>
                          <a:ext cx="346796" cy="208283"/>
                        </a:xfrm>
                        <a:custGeom>
                          <a:avLst/>
                          <a:gdLst>
                            <a:gd name="T0" fmla="*/ 7 w 338"/>
                            <a:gd name="T1" fmla="*/ 83 h 203"/>
                            <a:gd name="T2" fmla="*/ 12 w 338"/>
                            <a:gd name="T3" fmla="*/ 96 h 203"/>
                            <a:gd name="T4" fmla="*/ 44 w 338"/>
                            <a:gd name="T5" fmla="*/ 129 h 203"/>
                            <a:gd name="T6" fmla="*/ 48 w 338"/>
                            <a:gd name="T7" fmla="*/ 168 h 203"/>
                            <a:gd name="T8" fmla="*/ 73 w 338"/>
                            <a:gd name="T9" fmla="*/ 196 h 203"/>
                            <a:gd name="T10" fmla="*/ 77 w 338"/>
                            <a:gd name="T11" fmla="*/ 188 h 203"/>
                            <a:gd name="T12" fmla="*/ 104 w 338"/>
                            <a:gd name="T13" fmla="*/ 187 h 203"/>
                            <a:gd name="T14" fmla="*/ 109 w 338"/>
                            <a:gd name="T15" fmla="*/ 178 h 203"/>
                            <a:gd name="T16" fmla="*/ 120 w 338"/>
                            <a:gd name="T17" fmla="*/ 185 h 203"/>
                            <a:gd name="T18" fmla="*/ 121 w 338"/>
                            <a:gd name="T19" fmla="*/ 186 h 203"/>
                            <a:gd name="T20" fmla="*/ 132 w 338"/>
                            <a:gd name="T21" fmla="*/ 203 h 203"/>
                            <a:gd name="T22" fmla="*/ 157 w 338"/>
                            <a:gd name="T23" fmla="*/ 157 h 203"/>
                            <a:gd name="T24" fmla="*/ 159 w 338"/>
                            <a:gd name="T25" fmla="*/ 156 h 203"/>
                            <a:gd name="T26" fmla="*/ 189 w 338"/>
                            <a:gd name="T27" fmla="*/ 105 h 203"/>
                            <a:gd name="T28" fmla="*/ 190 w 338"/>
                            <a:gd name="T29" fmla="*/ 103 h 203"/>
                            <a:gd name="T30" fmla="*/ 230 w 338"/>
                            <a:gd name="T31" fmla="*/ 91 h 203"/>
                            <a:gd name="T32" fmla="*/ 232 w 338"/>
                            <a:gd name="T33" fmla="*/ 91 h 203"/>
                            <a:gd name="T34" fmla="*/ 282 w 338"/>
                            <a:gd name="T35" fmla="*/ 78 h 203"/>
                            <a:gd name="T36" fmla="*/ 285 w 338"/>
                            <a:gd name="T37" fmla="*/ 77 h 203"/>
                            <a:gd name="T38" fmla="*/ 329 w 338"/>
                            <a:gd name="T39" fmla="*/ 88 h 203"/>
                            <a:gd name="T40" fmla="*/ 322 w 338"/>
                            <a:gd name="T41" fmla="*/ 59 h 203"/>
                            <a:gd name="T42" fmla="*/ 272 w 338"/>
                            <a:gd name="T43" fmla="*/ 18 h 203"/>
                            <a:gd name="T44" fmla="*/ 271 w 338"/>
                            <a:gd name="T45" fmla="*/ 17 h 203"/>
                            <a:gd name="T46" fmla="*/ 246 w 338"/>
                            <a:gd name="T47" fmla="*/ 0 h 203"/>
                            <a:gd name="T48" fmla="*/ 237 w 338"/>
                            <a:gd name="T49" fmla="*/ 6 h 203"/>
                            <a:gd name="T50" fmla="*/ 169 w 338"/>
                            <a:gd name="T51" fmla="*/ 5 h 203"/>
                            <a:gd name="T52" fmla="*/ 153 w 338"/>
                            <a:gd name="T53" fmla="*/ 15 h 203"/>
                            <a:gd name="T54" fmla="*/ 143 w 338"/>
                            <a:gd name="T55" fmla="*/ 5 h 203"/>
                            <a:gd name="T56" fmla="*/ 114 w 338"/>
                            <a:gd name="T57" fmla="*/ 19 h 203"/>
                            <a:gd name="T58" fmla="*/ 112 w 338"/>
                            <a:gd name="T59" fmla="*/ 20 h 203"/>
                            <a:gd name="T60" fmla="*/ 61 w 338"/>
                            <a:gd name="T61" fmla="*/ 46 h 203"/>
                            <a:gd name="T62" fmla="*/ 60 w 338"/>
                            <a:gd name="T63" fmla="*/ 46 h 203"/>
                            <a:gd name="T64" fmla="*/ 0 w 338"/>
                            <a:gd name="T65" fmla="*/ 63 h 20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338" h="203">
                              <a:moveTo>
                                <a:pt x="0" y="63"/>
                              </a:moveTo>
                              <a:lnTo>
                                <a:pt x="7" y="83"/>
                              </a:lnTo>
                              <a:lnTo>
                                <a:pt x="7" y="83"/>
                              </a:lnTo>
                              <a:lnTo>
                                <a:pt x="12" y="96"/>
                              </a:lnTo>
                              <a:lnTo>
                                <a:pt x="44" y="128"/>
                              </a:lnTo>
                              <a:lnTo>
                                <a:pt x="44" y="129"/>
                              </a:lnTo>
                              <a:lnTo>
                                <a:pt x="44" y="129"/>
                              </a:lnTo>
                              <a:lnTo>
                                <a:pt x="48" y="168"/>
                              </a:lnTo>
                              <a:lnTo>
                                <a:pt x="62" y="194"/>
                              </a:lnTo>
                              <a:lnTo>
                                <a:pt x="73" y="196"/>
                              </a:lnTo>
                              <a:lnTo>
                                <a:pt x="76" y="189"/>
                              </a:lnTo>
                              <a:lnTo>
                                <a:pt x="77" y="188"/>
                              </a:lnTo>
                              <a:lnTo>
                                <a:pt x="77" y="188"/>
                              </a:lnTo>
                              <a:lnTo>
                                <a:pt x="104" y="187"/>
                              </a:lnTo>
                              <a:lnTo>
                                <a:pt x="108" y="180"/>
                              </a:lnTo>
                              <a:lnTo>
                                <a:pt x="109" y="178"/>
                              </a:lnTo>
                              <a:lnTo>
                                <a:pt x="111" y="179"/>
                              </a:lnTo>
                              <a:lnTo>
                                <a:pt x="120" y="185"/>
                              </a:lnTo>
                              <a:lnTo>
                                <a:pt x="121" y="185"/>
                              </a:lnTo>
                              <a:lnTo>
                                <a:pt x="121" y="186"/>
                              </a:lnTo>
                              <a:lnTo>
                                <a:pt x="122" y="197"/>
                              </a:lnTo>
                              <a:lnTo>
                                <a:pt x="132" y="203"/>
                              </a:lnTo>
                              <a:lnTo>
                                <a:pt x="155" y="187"/>
                              </a:lnTo>
                              <a:lnTo>
                                <a:pt x="157" y="157"/>
                              </a:lnTo>
                              <a:lnTo>
                                <a:pt x="157" y="157"/>
                              </a:lnTo>
                              <a:lnTo>
                                <a:pt x="159" y="156"/>
                              </a:lnTo>
                              <a:lnTo>
                                <a:pt x="187" y="148"/>
                              </a:lnTo>
                              <a:lnTo>
                                <a:pt x="189" y="105"/>
                              </a:lnTo>
                              <a:lnTo>
                                <a:pt x="189" y="103"/>
                              </a:lnTo>
                              <a:lnTo>
                                <a:pt x="190" y="103"/>
                              </a:lnTo>
                              <a:lnTo>
                                <a:pt x="216" y="102"/>
                              </a:lnTo>
                              <a:lnTo>
                                <a:pt x="230" y="91"/>
                              </a:lnTo>
                              <a:lnTo>
                                <a:pt x="231" y="90"/>
                              </a:lnTo>
                              <a:lnTo>
                                <a:pt x="232" y="91"/>
                              </a:lnTo>
                              <a:lnTo>
                                <a:pt x="260" y="108"/>
                              </a:lnTo>
                              <a:lnTo>
                                <a:pt x="282" y="78"/>
                              </a:lnTo>
                              <a:lnTo>
                                <a:pt x="284" y="76"/>
                              </a:lnTo>
                              <a:lnTo>
                                <a:pt x="285" y="77"/>
                              </a:lnTo>
                              <a:lnTo>
                                <a:pt x="311" y="96"/>
                              </a:lnTo>
                              <a:lnTo>
                                <a:pt x="329" y="88"/>
                              </a:lnTo>
                              <a:lnTo>
                                <a:pt x="338" y="79"/>
                              </a:lnTo>
                              <a:lnTo>
                                <a:pt x="322" y="59"/>
                              </a:lnTo>
                              <a:lnTo>
                                <a:pt x="290" y="26"/>
                              </a:lnTo>
                              <a:lnTo>
                                <a:pt x="272" y="18"/>
                              </a:lnTo>
                              <a:lnTo>
                                <a:pt x="271" y="18"/>
                              </a:lnTo>
                              <a:lnTo>
                                <a:pt x="271" y="17"/>
                              </a:lnTo>
                              <a:lnTo>
                                <a:pt x="265" y="0"/>
                              </a:lnTo>
                              <a:lnTo>
                                <a:pt x="246" y="0"/>
                              </a:lnTo>
                              <a:lnTo>
                                <a:pt x="238" y="5"/>
                              </a:lnTo>
                              <a:lnTo>
                                <a:pt x="237" y="6"/>
                              </a:lnTo>
                              <a:lnTo>
                                <a:pt x="237" y="6"/>
                              </a:lnTo>
                              <a:lnTo>
                                <a:pt x="169" y="5"/>
                              </a:lnTo>
                              <a:lnTo>
                                <a:pt x="154" y="14"/>
                              </a:lnTo>
                              <a:lnTo>
                                <a:pt x="153" y="15"/>
                              </a:lnTo>
                              <a:lnTo>
                                <a:pt x="151" y="14"/>
                              </a:lnTo>
                              <a:lnTo>
                                <a:pt x="143" y="5"/>
                              </a:lnTo>
                              <a:lnTo>
                                <a:pt x="122" y="7"/>
                              </a:lnTo>
                              <a:lnTo>
                                <a:pt x="114" y="19"/>
                              </a:lnTo>
                              <a:lnTo>
                                <a:pt x="113" y="20"/>
                              </a:lnTo>
                              <a:lnTo>
                                <a:pt x="112" y="20"/>
                              </a:lnTo>
                              <a:lnTo>
                                <a:pt x="99" y="23"/>
                              </a:lnTo>
                              <a:lnTo>
                                <a:pt x="61" y="46"/>
                              </a:lnTo>
                              <a:lnTo>
                                <a:pt x="60" y="46"/>
                              </a:lnTo>
                              <a:lnTo>
                                <a:pt x="60" y="46"/>
                              </a:lnTo>
                              <a:lnTo>
                                <a:pt x="26" y="47"/>
                              </a:lnTo>
                              <a:lnTo>
                                <a:pt x="0" y="63"/>
                              </a:lnTo>
                              <a:lnTo>
                                <a:pt x="0" y="63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80" name="Freeform 191">
                          <a:extLst>
                            <a:ext uri="{FF2B5EF4-FFF2-40B4-BE49-F238E27FC236}">
                              <a16:creationId xmlns:a16="http://schemas.microsoft.com/office/drawing/2014/main" id="{80255CAC-59C1-4F6D-AADF-242D70D55C41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155301" y="1678573"/>
                          <a:ext cx="171346" cy="148774"/>
                        </a:xfrm>
                        <a:custGeom>
                          <a:avLst/>
                          <a:gdLst>
                            <a:gd name="T0" fmla="*/ 68 w 167"/>
                            <a:gd name="T1" fmla="*/ 17 h 145"/>
                            <a:gd name="T2" fmla="*/ 40 w 167"/>
                            <a:gd name="T3" fmla="*/ 0 h 145"/>
                            <a:gd name="T4" fmla="*/ 27 w 167"/>
                            <a:gd name="T5" fmla="*/ 10 h 145"/>
                            <a:gd name="T6" fmla="*/ 27 w 167"/>
                            <a:gd name="T7" fmla="*/ 11 h 145"/>
                            <a:gd name="T8" fmla="*/ 26 w 167"/>
                            <a:gd name="T9" fmla="*/ 11 h 145"/>
                            <a:gd name="T10" fmla="*/ 1 w 167"/>
                            <a:gd name="T11" fmla="*/ 12 h 145"/>
                            <a:gd name="T12" fmla="*/ 0 w 167"/>
                            <a:gd name="T13" fmla="*/ 53 h 145"/>
                            <a:gd name="T14" fmla="*/ 49 w 167"/>
                            <a:gd name="T15" fmla="*/ 69 h 145"/>
                            <a:gd name="T16" fmla="*/ 51 w 167"/>
                            <a:gd name="T17" fmla="*/ 69 h 145"/>
                            <a:gd name="T18" fmla="*/ 51 w 167"/>
                            <a:gd name="T19" fmla="*/ 70 h 145"/>
                            <a:gd name="T20" fmla="*/ 58 w 167"/>
                            <a:gd name="T21" fmla="*/ 110 h 145"/>
                            <a:gd name="T22" fmla="*/ 58 w 167"/>
                            <a:gd name="T23" fmla="*/ 110 h 145"/>
                            <a:gd name="T24" fmla="*/ 58 w 167"/>
                            <a:gd name="T25" fmla="*/ 111 h 145"/>
                            <a:gd name="T26" fmla="*/ 56 w 167"/>
                            <a:gd name="T27" fmla="*/ 131 h 145"/>
                            <a:gd name="T28" fmla="*/ 69 w 167"/>
                            <a:gd name="T29" fmla="*/ 126 h 145"/>
                            <a:gd name="T30" fmla="*/ 69 w 167"/>
                            <a:gd name="T31" fmla="*/ 125 h 145"/>
                            <a:gd name="T32" fmla="*/ 69 w 167"/>
                            <a:gd name="T33" fmla="*/ 125 h 145"/>
                            <a:gd name="T34" fmla="*/ 111 w 167"/>
                            <a:gd name="T35" fmla="*/ 120 h 145"/>
                            <a:gd name="T36" fmla="*/ 112 w 167"/>
                            <a:gd name="T37" fmla="*/ 120 h 145"/>
                            <a:gd name="T38" fmla="*/ 112 w 167"/>
                            <a:gd name="T39" fmla="*/ 120 h 145"/>
                            <a:gd name="T40" fmla="*/ 141 w 167"/>
                            <a:gd name="T41" fmla="*/ 129 h 145"/>
                            <a:gd name="T42" fmla="*/ 142 w 167"/>
                            <a:gd name="T43" fmla="*/ 129 h 145"/>
                            <a:gd name="T44" fmla="*/ 142 w 167"/>
                            <a:gd name="T45" fmla="*/ 130 h 145"/>
                            <a:gd name="T46" fmla="*/ 152 w 167"/>
                            <a:gd name="T47" fmla="*/ 145 h 145"/>
                            <a:gd name="T48" fmla="*/ 167 w 167"/>
                            <a:gd name="T49" fmla="*/ 131 h 145"/>
                            <a:gd name="T50" fmla="*/ 165 w 167"/>
                            <a:gd name="T51" fmla="*/ 98 h 145"/>
                            <a:gd name="T52" fmla="*/ 159 w 167"/>
                            <a:gd name="T53" fmla="*/ 82 h 145"/>
                            <a:gd name="T54" fmla="*/ 138 w 167"/>
                            <a:gd name="T55" fmla="*/ 60 h 145"/>
                            <a:gd name="T56" fmla="*/ 87 w 167"/>
                            <a:gd name="T57" fmla="*/ 51 h 145"/>
                            <a:gd name="T58" fmla="*/ 86 w 167"/>
                            <a:gd name="T59" fmla="*/ 51 h 145"/>
                            <a:gd name="T60" fmla="*/ 86 w 167"/>
                            <a:gd name="T61" fmla="*/ 50 h 145"/>
                            <a:gd name="T62" fmla="*/ 74 w 167"/>
                            <a:gd name="T63" fmla="*/ 40 h 145"/>
                            <a:gd name="T64" fmla="*/ 73 w 167"/>
                            <a:gd name="T65" fmla="*/ 40 h 145"/>
                            <a:gd name="T66" fmla="*/ 73 w 167"/>
                            <a:gd name="T67" fmla="*/ 39 h 145"/>
                            <a:gd name="T68" fmla="*/ 68 w 167"/>
                            <a:gd name="T69" fmla="*/ 17 h 145"/>
                            <a:gd name="T70" fmla="*/ 68 w 167"/>
                            <a:gd name="T71" fmla="*/ 17 h 14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</a:cxnLst>
                          <a:rect l="0" t="0" r="r" b="b"/>
                          <a:pathLst>
                            <a:path w="167" h="145">
                              <a:moveTo>
                                <a:pt x="68" y="17"/>
                              </a:moveTo>
                              <a:lnTo>
                                <a:pt x="40" y="0"/>
                              </a:lnTo>
                              <a:lnTo>
                                <a:pt x="27" y="10"/>
                              </a:lnTo>
                              <a:lnTo>
                                <a:pt x="27" y="11"/>
                              </a:lnTo>
                              <a:lnTo>
                                <a:pt x="26" y="11"/>
                              </a:lnTo>
                              <a:lnTo>
                                <a:pt x="1" y="12"/>
                              </a:lnTo>
                              <a:lnTo>
                                <a:pt x="0" y="53"/>
                              </a:lnTo>
                              <a:lnTo>
                                <a:pt x="49" y="69"/>
                              </a:lnTo>
                              <a:lnTo>
                                <a:pt x="51" y="69"/>
                              </a:lnTo>
                              <a:lnTo>
                                <a:pt x="51" y="70"/>
                              </a:lnTo>
                              <a:lnTo>
                                <a:pt x="58" y="110"/>
                              </a:lnTo>
                              <a:lnTo>
                                <a:pt x="58" y="110"/>
                              </a:lnTo>
                              <a:lnTo>
                                <a:pt x="58" y="111"/>
                              </a:lnTo>
                              <a:lnTo>
                                <a:pt x="56" y="131"/>
                              </a:lnTo>
                              <a:lnTo>
                                <a:pt x="69" y="126"/>
                              </a:lnTo>
                              <a:lnTo>
                                <a:pt x="69" y="125"/>
                              </a:lnTo>
                              <a:lnTo>
                                <a:pt x="69" y="125"/>
                              </a:lnTo>
                              <a:lnTo>
                                <a:pt x="111" y="120"/>
                              </a:lnTo>
                              <a:lnTo>
                                <a:pt x="112" y="120"/>
                              </a:lnTo>
                              <a:lnTo>
                                <a:pt x="112" y="120"/>
                              </a:lnTo>
                              <a:lnTo>
                                <a:pt x="141" y="129"/>
                              </a:lnTo>
                              <a:lnTo>
                                <a:pt x="142" y="129"/>
                              </a:lnTo>
                              <a:lnTo>
                                <a:pt x="142" y="130"/>
                              </a:lnTo>
                              <a:lnTo>
                                <a:pt x="152" y="145"/>
                              </a:lnTo>
                              <a:lnTo>
                                <a:pt x="167" y="131"/>
                              </a:lnTo>
                              <a:lnTo>
                                <a:pt x="165" y="98"/>
                              </a:lnTo>
                              <a:lnTo>
                                <a:pt x="159" y="82"/>
                              </a:lnTo>
                              <a:lnTo>
                                <a:pt x="138" y="60"/>
                              </a:lnTo>
                              <a:lnTo>
                                <a:pt x="87" y="51"/>
                              </a:lnTo>
                              <a:lnTo>
                                <a:pt x="86" y="51"/>
                              </a:lnTo>
                              <a:lnTo>
                                <a:pt x="86" y="50"/>
                              </a:lnTo>
                              <a:lnTo>
                                <a:pt x="74" y="40"/>
                              </a:lnTo>
                              <a:lnTo>
                                <a:pt x="73" y="40"/>
                              </a:lnTo>
                              <a:lnTo>
                                <a:pt x="73" y="39"/>
                              </a:lnTo>
                              <a:lnTo>
                                <a:pt x="68" y="17"/>
                              </a:lnTo>
                              <a:lnTo>
                                <a:pt x="68" y="17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81" name="Freeform 192">
                          <a:extLst>
                            <a:ext uri="{FF2B5EF4-FFF2-40B4-BE49-F238E27FC236}">
                              <a16:creationId xmlns:a16="http://schemas.microsoft.com/office/drawing/2014/main" id="{8C1F6220-E6A6-4D56-A276-7DAA38D9B2A7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120417" y="1804774"/>
                          <a:ext cx="298573" cy="278052"/>
                        </a:xfrm>
                        <a:custGeom>
                          <a:avLst/>
                          <a:gdLst>
                            <a:gd name="T0" fmla="*/ 186 w 291"/>
                            <a:gd name="T1" fmla="*/ 26 h 271"/>
                            <a:gd name="T2" fmla="*/ 183 w 291"/>
                            <a:gd name="T3" fmla="*/ 26 h 271"/>
                            <a:gd name="T4" fmla="*/ 145 w 291"/>
                            <a:gd name="T5" fmla="*/ 0 h 271"/>
                            <a:gd name="T6" fmla="*/ 89 w 291"/>
                            <a:gd name="T7" fmla="*/ 12 h 271"/>
                            <a:gd name="T8" fmla="*/ 88 w 291"/>
                            <a:gd name="T9" fmla="*/ 12 h 271"/>
                            <a:gd name="T10" fmla="*/ 49 w 291"/>
                            <a:gd name="T11" fmla="*/ 26 h 271"/>
                            <a:gd name="T12" fmla="*/ 46 w 291"/>
                            <a:gd name="T13" fmla="*/ 47 h 271"/>
                            <a:gd name="T14" fmla="*/ 19 w 291"/>
                            <a:gd name="T15" fmla="*/ 51 h 271"/>
                            <a:gd name="T16" fmla="*/ 3 w 291"/>
                            <a:gd name="T17" fmla="*/ 64 h 271"/>
                            <a:gd name="T18" fmla="*/ 26 w 291"/>
                            <a:gd name="T19" fmla="*/ 65 h 271"/>
                            <a:gd name="T20" fmla="*/ 45 w 291"/>
                            <a:gd name="T21" fmla="*/ 92 h 271"/>
                            <a:gd name="T22" fmla="*/ 79 w 291"/>
                            <a:gd name="T23" fmla="*/ 94 h 271"/>
                            <a:gd name="T24" fmla="*/ 81 w 291"/>
                            <a:gd name="T25" fmla="*/ 115 h 271"/>
                            <a:gd name="T26" fmla="*/ 81 w 291"/>
                            <a:gd name="T27" fmla="*/ 116 h 271"/>
                            <a:gd name="T28" fmla="*/ 89 w 291"/>
                            <a:gd name="T29" fmla="*/ 141 h 271"/>
                            <a:gd name="T30" fmla="*/ 90 w 291"/>
                            <a:gd name="T31" fmla="*/ 143 h 271"/>
                            <a:gd name="T32" fmla="*/ 115 w 291"/>
                            <a:gd name="T33" fmla="*/ 166 h 271"/>
                            <a:gd name="T34" fmla="*/ 126 w 291"/>
                            <a:gd name="T35" fmla="*/ 159 h 271"/>
                            <a:gd name="T36" fmla="*/ 137 w 291"/>
                            <a:gd name="T37" fmla="*/ 169 h 271"/>
                            <a:gd name="T38" fmla="*/ 138 w 291"/>
                            <a:gd name="T39" fmla="*/ 169 h 271"/>
                            <a:gd name="T40" fmla="*/ 160 w 291"/>
                            <a:gd name="T41" fmla="*/ 201 h 271"/>
                            <a:gd name="T42" fmla="*/ 158 w 291"/>
                            <a:gd name="T43" fmla="*/ 207 h 271"/>
                            <a:gd name="T44" fmla="*/ 176 w 291"/>
                            <a:gd name="T45" fmla="*/ 226 h 271"/>
                            <a:gd name="T46" fmla="*/ 170 w 291"/>
                            <a:gd name="T47" fmla="*/ 249 h 271"/>
                            <a:gd name="T48" fmla="*/ 185 w 291"/>
                            <a:gd name="T49" fmla="*/ 271 h 271"/>
                            <a:gd name="T50" fmla="*/ 191 w 291"/>
                            <a:gd name="T51" fmla="*/ 257 h 271"/>
                            <a:gd name="T52" fmla="*/ 200 w 291"/>
                            <a:gd name="T53" fmla="*/ 238 h 271"/>
                            <a:gd name="T54" fmla="*/ 215 w 291"/>
                            <a:gd name="T55" fmla="*/ 239 h 271"/>
                            <a:gd name="T56" fmla="*/ 216 w 291"/>
                            <a:gd name="T57" fmla="*/ 239 h 271"/>
                            <a:gd name="T58" fmla="*/ 239 w 291"/>
                            <a:gd name="T59" fmla="*/ 244 h 271"/>
                            <a:gd name="T60" fmla="*/ 222 w 291"/>
                            <a:gd name="T61" fmla="*/ 211 h 271"/>
                            <a:gd name="T62" fmla="*/ 222 w 291"/>
                            <a:gd name="T63" fmla="*/ 210 h 271"/>
                            <a:gd name="T64" fmla="*/ 225 w 291"/>
                            <a:gd name="T65" fmla="*/ 188 h 271"/>
                            <a:gd name="T66" fmla="*/ 260 w 291"/>
                            <a:gd name="T67" fmla="*/ 192 h 271"/>
                            <a:gd name="T68" fmla="*/ 291 w 291"/>
                            <a:gd name="T69" fmla="*/ 161 h 271"/>
                            <a:gd name="T70" fmla="*/ 281 w 291"/>
                            <a:gd name="T71" fmla="*/ 159 h 271"/>
                            <a:gd name="T72" fmla="*/ 274 w 291"/>
                            <a:gd name="T73" fmla="*/ 151 h 271"/>
                            <a:gd name="T74" fmla="*/ 275 w 291"/>
                            <a:gd name="T75" fmla="*/ 148 h 271"/>
                            <a:gd name="T76" fmla="*/ 290 w 291"/>
                            <a:gd name="T77" fmla="*/ 133 h 271"/>
                            <a:gd name="T78" fmla="*/ 276 w 291"/>
                            <a:gd name="T79" fmla="*/ 131 h 271"/>
                            <a:gd name="T80" fmla="*/ 274 w 291"/>
                            <a:gd name="T81" fmla="*/ 122 h 271"/>
                            <a:gd name="T82" fmla="*/ 274 w 291"/>
                            <a:gd name="T83" fmla="*/ 121 h 271"/>
                            <a:gd name="T84" fmla="*/ 276 w 291"/>
                            <a:gd name="T85" fmla="*/ 104 h 271"/>
                            <a:gd name="T86" fmla="*/ 252 w 291"/>
                            <a:gd name="T87" fmla="*/ 118 h 271"/>
                            <a:gd name="T88" fmla="*/ 222 w 291"/>
                            <a:gd name="T89" fmla="*/ 112 h 271"/>
                            <a:gd name="T90" fmla="*/ 221 w 291"/>
                            <a:gd name="T91" fmla="*/ 111 h 271"/>
                            <a:gd name="T92" fmla="*/ 209 w 291"/>
                            <a:gd name="T93" fmla="*/ 91 h 271"/>
                            <a:gd name="T94" fmla="*/ 201 w 291"/>
                            <a:gd name="T95" fmla="*/ 67 h 271"/>
                            <a:gd name="T96" fmla="*/ 201 w 291"/>
                            <a:gd name="T97" fmla="*/ 67 h 271"/>
                            <a:gd name="T98" fmla="*/ 201 w 291"/>
                            <a:gd name="T99" fmla="*/ 13 h 271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</a:cxnLst>
                          <a:rect l="0" t="0" r="r" b="b"/>
                          <a:pathLst>
                            <a:path w="291" h="271">
                              <a:moveTo>
                                <a:pt x="201" y="13"/>
                              </a:moveTo>
                              <a:lnTo>
                                <a:pt x="186" y="26"/>
                              </a:lnTo>
                              <a:lnTo>
                                <a:pt x="185" y="28"/>
                              </a:lnTo>
                              <a:lnTo>
                                <a:pt x="183" y="26"/>
                              </a:lnTo>
                              <a:lnTo>
                                <a:pt x="173" y="9"/>
                              </a:lnTo>
                              <a:lnTo>
                                <a:pt x="145" y="0"/>
                              </a:lnTo>
                              <a:lnTo>
                                <a:pt x="104" y="6"/>
                              </a:lnTo>
                              <a:lnTo>
                                <a:pt x="89" y="12"/>
                              </a:lnTo>
                              <a:lnTo>
                                <a:pt x="89" y="12"/>
                              </a:lnTo>
                              <a:lnTo>
                                <a:pt x="88" y="12"/>
                              </a:lnTo>
                              <a:lnTo>
                                <a:pt x="61" y="19"/>
                              </a:lnTo>
                              <a:lnTo>
                                <a:pt x="49" y="26"/>
                              </a:lnTo>
                              <a:lnTo>
                                <a:pt x="46" y="46"/>
                              </a:lnTo>
                              <a:lnTo>
                                <a:pt x="46" y="47"/>
                              </a:lnTo>
                              <a:lnTo>
                                <a:pt x="45" y="48"/>
                              </a:lnTo>
                              <a:lnTo>
                                <a:pt x="19" y="51"/>
                              </a:lnTo>
                              <a:lnTo>
                                <a:pt x="0" y="56"/>
                              </a:lnTo>
                              <a:lnTo>
                                <a:pt x="3" y="64"/>
                              </a:lnTo>
                              <a:lnTo>
                                <a:pt x="25" y="65"/>
                              </a:lnTo>
                              <a:lnTo>
                                <a:pt x="26" y="65"/>
                              </a:lnTo>
                              <a:lnTo>
                                <a:pt x="27" y="66"/>
                              </a:lnTo>
                              <a:lnTo>
                                <a:pt x="45" y="92"/>
                              </a:lnTo>
                              <a:lnTo>
                                <a:pt x="78" y="93"/>
                              </a:lnTo>
                              <a:lnTo>
                                <a:pt x="79" y="94"/>
                              </a:lnTo>
                              <a:lnTo>
                                <a:pt x="79" y="95"/>
                              </a:lnTo>
                              <a:lnTo>
                                <a:pt x="81" y="115"/>
                              </a:lnTo>
                              <a:lnTo>
                                <a:pt x="81" y="115"/>
                              </a:lnTo>
                              <a:lnTo>
                                <a:pt x="81" y="116"/>
                              </a:lnTo>
                              <a:lnTo>
                                <a:pt x="74" y="123"/>
                              </a:lnTo>
                              <a:lnTo>
                                <a:pt x="89" y="141"/>
                              </a:lnTo>
                              <a:lnTo>
                                <a:pt x="89" y="141"/>
                              </a:lnTo>
                              <a:lnTo>
                                <a:pt x="90" y="143"/>
                              </a:lnTo>
                              <a:lnTo>
                                <a:pt x="107" y="168"/>
                              </a:lnTo>
                              <a:lnTo>
                                <a:pt x="115" y="166"/>
                              </a:lnTo>
                              <a:lnTo>
                                <a:pt x="125" y="160"/>
                              </a:lnTo>
                              <a:lnTo>
                                <a:pt x="126" y="159"/>
                              </a:lnTo>
                              <a:lnTo>
                                <a:pt x="127" y="160"/>
                              </a:lnTo>
                              <a:lnTo>
                                <a:pt x="137" y="169"/>
                              </a:lnTo>
                              <a:lnTo>
                                <a:pt x="137" y="169"/>
                              </a:lnTo>
                              <a:lnTo>
                                <a:pt x="138" y="169"/>
                              </a:lnTo>
                              <a:lnTo>
                                <a:pt x="159" y="200"/>
                              </a:lnTo>
                              <a:lnTo>
                                <a:pt x="160" y="201"/>
                              </a:lnTo>
                              <a:lnTo>
                                <a:pt x="160" y="202"/>
                              </a:lnTo>
                              <a:lnTo>
                                <a:pt x="158" y="207"/>
                              </a:lnTo>
                              <a:lnTo>
                                <a:pt x="175" y="225"/>
                              </a:lnTo>
                              <a:lnTo>
                                <a:pt x="176" y="226"/>
                              </a:lnTo>
                              <a:lnTo>
                                <a:pt x="175" y="227"/>
                              </a:lnTo>
                              <a:lnTo>
                                <a:pt x="170" y="249"/>
                              </a:lnTo>
                              <a:lnTo>
                                <a:pt x="181" y="271"/>
                              </a:lnTo>
                              <a:lnTo>
                                <a:pt x="185" y="271"/>
                              </a:lnTo>
                              <a:lnTo>
                                <a:pt x="191" y="257"/>
                              </a:lnTo>
                              <a:lnTo>
                                <a:pt x="191" y="257"/>
                              </a:lnTo>
                              <a:lnTo>
                                <a:pt x="200" y="239"/>
                              </a:lnTo>
                              <a:lnTo>
                                <a:pt x="200" y="238"/>
                              </a:lnTo>
                              <a:lnTo>
                                <a:pt x="201" y="238"/>
                              </a:lnTo>
                              <a:lnTo>
                                <a:pt x="215" y="239"/>
                              </a:lnTo>
                              <a:lnTo>
                                <a:pt x="216" y="239"/>
                              </a:lnTo>
                              <a:lnTo>
                                <a:pt x="216" y="239"/>
                              </a:lnTo>
                              <a:lnTo>
                                <a:pt x="234" y="250"/>
                              </a:lnTo>
                              <a:lnTo>
                                <a:pt x="239" y="244"/>
                              </a:lnTo>
                              <a:lnTo>
                                <a:pt x="235" y="224"/>
                              </a:lnTo>
                              <a:lnTo>
                                <a:pt x="222" y="211"/>
                              </a:lnTo>
                              <a:lnTo>
                                <a:pt x="222" y="210"/>
                              </a:lnTo>
                              <a:lnTo>
                                <a:pt x="222" y="210"/>
                              </a:lnTo>
                              <a:lnTo>
                                <a:pt x="225" y="190"/>
                              </a:lnTo>
                              <a:lnTo>
                                <a:pt x="225" y="188"/>
                              </a:lnTo>
                              <a:lnTo>
                                <a:pt x="227" y="188"/>
                              </a:lnTo>
                              <a:lnTo>
                                <a:pt x="260" y="192"/>
                              </a:lnTo>
                              <a:lnTo>
                                <a:pt x="288" y="183"/>
                              </a:lnTo>
                              <a:lnTo>
                                <a:pt x="291" y="161"/>
                              </a:lnTo>
                              <a:lnTo>
                                <a:pt x="282" y="159"/>
                              </a:lnTo>
                              <a:lnTo>
                                <a:pt x="281" y="159"/>
                              </a:lnTo>
                              <a:lnTo>
                                <a:pt x="280" y="159"/>
                              </a:lnTo>
                              <a:lnTo>
                                <a:pt x="274" y="151"/>
                              </a:lnTo>
                              <a:lnTo>
                                <a:pt x="273" y="150"/>
                              </a:lnTo>
                              <a:lnTo>
                                <a:pt x="275" y="148"/>
                              </a:lnTo>
                              <a:lnTo>
                                <a:pt x="289" y="138"/>
                              </a:lnTo>
                              <a:lnTo>
                                <a:pt x="290" y="133"/>
                              </a:lnTo>
                              <a:lnTo>
                                <a:pt x="277" y="131"/>
                              </a:lnTo>
                              <a:lnTo>
                                <a:pt x="276" y="131"/>
                              </a:lnTo>
                              <a:lnTo>
                                <a:pt x="275" y="130"/>
                              </a:lnTo>
                              <a:lnTo>
                                <a:pt x="274" y="122"/>
                              </a:lnTo>
                              <a:lnTo>
                                <a:pt x="274" y="122"/>
                              </a:lnTo>
                              <a:lnTo>
                                <a:pt x="274" y="121"/>
                              </a:lnTo>
                              <a:lnTo>
                                <a:pt x="281" y="108"/>
                              </a:lnTo>
                              <a:lnTo>
                                <a:pt x="276" y="104"/>
                              </a:lnTo>
                              <a:lnTo>
                                <a:pt x="252" y="117"/>
                              </a:lnTo>
                              <a:lnTo>
                                <a:pt x="252" y="118"/>
                              </a:lnTo>
                              <a:lnTo>
                                <a:pt x="251" y="118"/>
                              </a:lnTo>
                              <a:lnTo>
                                <a:pt x="222" y="112"/>
                              </a:lnTo>
                              <a:lnTo>
                                <a:pt x="221" y="112"/>
                              </a:lnTo>
                              <a:lnTo>
                                <a:pt x="221" y="111"/>
                              </a:lnTo>
                              <a:lnTo>
                                <a:pt x="209" y="92"/>
                              </a:lnTo>
                              <a:lnTo>
                                <a:pt x="209" y="91"/>
                              </a:lnTo>
                              <a:lnTo>
                                <a:pt x="209" y="91"/>
                              </a:lnTo>
                              <a:lnTo>
                                <a:pt x="201" y="67"/>
                              </a:lnTo>
                              <a:lnTo>
                                <a:pt x="201" y="67"/>
                              </a:lnTo>
                              <a:lnTo>
                                <a:pt x="201" y="67"/>
                              </a:lnTo>
                              <a:lnTo>
                                <a:pt x="201" y="13"/>
                              </a:lnTo>
                              <a:lnTo>
                                <a:pt x="201" y="13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82" name="Freeform 193">
                          <a:extLst>
                            <a:ext uri="{FF2B5EF4-FFF2-40B4-BE49-F238E27FC236}">
                              <a16:creationId xmlns:a16="http://schemas.microsoft.com/office/drawing/2014/main" id="{897C6D69-B392-4D51-BBB9-0578A90539C6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334856" y="1758603"/>
                          <a:ext cx="204179" cy="207257"/>
                        </a:xfrm>
                        <a:custGeom>
                          <a:avLst/>
                          <a:gdLst>
                            <a:gd name="T0" fmla="*/ 0 w 199"/>
                            <a:gd name="T1" fmla="*/ 124 h 202"/>
                            <a:gd name="T2" fmla="*/ 3 w 199"/>
                            <a:gd name="T3" fmla="*/ 135 h 202"/>
                            <a:gd name="T4" fmla="*/ 15 w 199"/>
                            <a:gd name="T5" fmla="*/ 153 h 202"/>
                            <a:gd name="T6" fmla="*/ 42 w 199"/>
                            <a:gd name="T7" fmla="*/ 159 h 202"/>
                            <a:gd name="T8" fmla="*/ 67 w 199"/>
                            <a:gd name="T9" fmla="*/ 146 h 202"/>
                            <a:gd name="T10" fmla="*/ 68 w 199"/>
                            <a:gd name="T11" fmla="*/ 145 h 202"/>
                            <a:gd name="T12" fmla="*/ 69 w 199"/>
                            <a:gd name="T13" fmla="*/ 146 h 202"/>
                            <a:gd name="T14" fmla="*/ 76 w 199"/>
                            <a:gd name="T15" fmla="*/ 151 h 202"/>
                            <a:gd name="T16" fmla="*/ 77 w 199"/>
                            <a:gd name="T17" fmla="*/ 152 h 202"/>
                            <a:gd name="T18" fmla="*/ 76 w 199"/>
                            <a:gd name="T19" fmla="*/ 153 h 202"/>
                            <a:gd name="T20" fmla="*/ 69 w 199"/>
                            <a:gd name="T21" fmla="*/ 167 h 202"/>
                            <a:gd name="T22" fmla="*/ 70 w 199"/>
                            <a:gd name="T23" fmla="*/ 173 h 202"/>
                            <a:gd name="T24" fmla="*/ 83 w 199"/>
                            <a:gd name="T25" fmla="*/ 175 h 202"/>
                            <a:gd name="T26" fmla="*/ 85 w 199"/>
                            <a:gd name="T27" fmla="*/ 175 h 202"/>
                            <a:gd name="T28" fmla="*/ 85 w 199"/>
                            <a:gd name="T29" fmla="*/ 177 h 202"/>
                            <a:gd name="T30" fmla="*/ 83 w 199"/>
                            <a:gd name="T31" fmla="*/ 184 h 202"/>
                            <a:gd name="T32" fmla="*/ 83 w 199"/>
                            <a:gd name="T33" fmla="*/ 185 h 202"/>
                            <a:gd name="T34" fmla="*/ 83 w 199"/>
                            <a:gd name="T35" fmla="*/ 186 h 202"/>
                            <a:gd name="T36" fmla="*/ 69 w 199"/>
                            <a:gd name="T37" fmla="*/ 195 h 202"/>
                            <a:gd name="T38" fmla="*/ 74 w 199"/>
                            <a:gd name="T39" fmla="*/ 201 h 202"/>
                            <a:gd name="T40" fmla="*/ 85 w 199"/>
                            <a:gd name="T41" fmla="*/ 202 h 202"/>
                            <a:gd name="T42" fmla="*/ 101 w 199"/>
                            <a:gd name="T43" fmla="*/ 202 h 202"/>
                            <a:gd name="T44" fmla="*/ 119 w 199"/>
                            <a:gd name="T45" fmla="*/ 186 h 202"/>
                            <a:gd name="T46" fmla="*/ 120 w 199"/>
                            <a:gd name="T47" fmla="*/ 147 h 202"/>
                            <a:gd name="T48" fmla="*/ 120 w 199"/>
                            <a:gd name="T49" fmla="*/ 145 h 202"/>
                            <a:gd name="T50" fmla="*/ 121 w 199"/>
                            <a:gd name="T51" fmla="*/ 145 h 202"/>
                            <a:gd name="T52" fmla="*/ 137 w 199"/>
                            <a:gd name="T53" fmla="*/ 147 h 202"/>
                            <a:gd name="T54" fmla="*/ 154 w 199"/>
                            <a:gd name="T55" fmla="*/ 128 h 202"/>
                            <a:gd name="T56" fmla="*/ 164 w 199"/>
                            <a:gd name="T57" fmla="*/ 102 h 202"/>
                            <a:gd name="T58" fmla="*/ 164 w 199"/>
                            <a:gd name="T59" fmla="*/ 101 h 202"/>
                            <a:gd name="T60" fmla="*/ 165 w 199"/>
                            <a:gd name="T61" fmla="*/ 101 h 202"/>
                            <a:gd name="T62" fmla="*/ 180 w 199"/>
                            <a:gd name="T63" fmla="*/ 84 h 202"/>
                            <a:gd name="T64" fmla="*/ 199 w 199"/>
                            <a:gd name="T65" fmla="*/ 37 h 202"/>
                            <a:gd name="T66" fmla="*/ 189 w 199"/>
                            <a:gd name="T67" fmla="*/ 29 h 202"/>
                            <a:gd name="T68" fmla="*/ 189 w 199"/>
                            <a:gd name="T69" fmla="*/ 29 h 202"/>
                            <a:gd name="T70" fmla="*/ 189 w 199"/>
                            <a:gd name="T71" fmla="*/ 29 h 202"/>
                            <a:gd name="T72" fmla="*/ 178 w 199"/>
                            <a:gd name="T73" fmla="*/ 17 h 202"/>
                            <a:gd name="T74" fmla="*/ 164 w 199"/>
                            <a:gd name="T75" fmla="*/ 19 h 202"/>
                            <a:gd name="T76" fmla="*/ 163 w 199"/>
                            <a:gd name="T77" fmla="*/ 19 h 202"/>
                            <a:gd name="T78" fmla="*/ 162 w 199"/>
                            <a:gd name="T79" fmla="*/ 19 h 202"/>
                            <a:gd name="T80" fmla="*/ 143 w 199"/>
                            <a:gd name="T81" fmla="*/ 1 h 202"/>
                            <a:gd name="T82" fmla="*/ 113 w 199"/>
                            <a:gd name="T83" fmla="*/ 0 h 202"/>
                            <a:gd name="T84" fmla="*/ 113 w 199"/>
                            <a:gd name="T85" fmla="*/ 10 h 202"/>
                            <a:gd name="T86" fmla="*/ 113 w 199"/>
                            <a:gd name="T87" fmla="*/ 10 h 202"/>
                            <a:gd name="T88" fmla="*/ 111 w 199"/>
                            <a:gd name="T89" fmla="*/ 24 h 202"/>
                            <a:gd name="T90" fmla="*/ 111 w 199"/>
                            <a:gd name="T91" fmla="*/ 25 h 202"/>
                            <a:gd name="T92" fmla="*/ 110 w 199"/>
                            <a:gd name="T93" fmla="*/ 26 h 202"/>
                            <a:gd name="T94" fmla="*/ 89 w 199"/>
                            <a:gd name="T95" fmla="*/ 44 h 202"/>
                            <a:gd name="T96" fmla="*/ 88 w 199"/>
                            <a:gd name="T97" fmla="*/ 44 h 202"/>
                            <a:gd name="T98" fmla="*/ 87 w 199"/>
                            <a:gd name="T99" fmla="*/ 44 h 202"/>
                            <a:gd name="T100" fmla="*/ 70 w 199"/>
                            <a:gd name="T101" fmla="*/ 36 h 202"/>
                            <a:gd name="T102" fmla="*/ 57 w 199"/>
                            <a:gd name="T103" fmla="*/ 35 h 202"/>
                            <a:gd name="T104" fmla="*/ 44 w 199"/>
                            <a:gd name="T105" fmla="*/ 83 h 202"/>
                            <a:gd name="T106" fmla="*/ 43 w 199"/>
                            <a:gd name="T107" fmla="*/ 85 h 202"/>
                            <a:gd name="T108" fmla="*/ 42 w 199"/>
                            <a:gd name="T109" fmla="*/ 85 h 202"/>
                            <a:gd name="T110" fmla="*/ 13 w 199"/>
                            <a:gd name="T111" fmla="*/ 89 h 202"/>
                            <a:gd name="T112" fmla="*/ 0 w 199"/>
                            <a:gd name="T113" fmla="*/ 124 h 202"/>
                            <a:gd name="T114" fmla="*/ 0 w 199"/>
                            <a:gd name="T115" fmla="*/ 124 h 20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</a:cxnLst>
                          <a:rect l="0" t="0" r="r" b="b"/>
                          <a:pathLst>
                            <a:path w="199" h="202">
                              <a:moveTo>
                                <a:pt x="0" y="124"/>
                              </a:moveTo>
                              <a:lnTo>
                                <a:pt x="3" y="135"/>
                              </a:lnTo>
                              <a:lnTo>
                                <a:pt x="15" y="153"/>
                              </a:lnTo>
                              <a:lnTo>
                                <a:pt x="42" y="159"/>
                              </a:lnTo>
                              <a:lnTo>
                                <a:pt x="67" y="146"/>
                              </a:lnTo>
                              <a:lnTo>
                                <a:pt x="68" y="145"/>
                              </a:lnTo>
                              <a:lnTo>
                                <a:pt x="69" y="146"/>
                              </a:lnTo>
                              <a:lnTo>
                                <a:pt x="76" y="151"/>
                              </a:lnTo>
                              <a:lnTo>
                                <a:pt x="77" y="152"/>
                              </a:lnTo>
                              <a:lnTo>
                                <a:pt x="76" y="153"/>
                              </a:lnTo>
                              <a:lnTo>
                                <a:pt x="69" y="167"/>
                              </a:lnTo>
                              <a:lnTo>
                                <a:pt x="70" y="173"/>
                              </a:lnTo>
                              <a:lnTo>
                                <a:pt x="83" y="175"/>
                              </a:lnTo>
                              <a:lnTo>
                                <a:pt x="85" y="175"/>
                              </a:lnTo>
                              <a:lnTo>
                                <a:pt x="85" y="177"/>
                              </a:lnTo>
                              <a:lnTo>
                                <a:pt x="83" y="184"/>
                              </a:lnTo>
                              <a:lnTo>
                                <a:pt x="83" y="185"/>
                              </a:lnTo>
                              <a:lnTo>
                                <a:pt x="83" y="186"/>
                              </a:lnTo>
                              <a:lnTo>
                                <a:pt x="69" y="195"/>
                              </a:lnTo>
                              <a:lnTo>
                                <a:pt x="74" y="201"/>
                              </a:lnTo>
                              <a:lnTo>
                                <a:pt x="85" y="202"/>
                              </a:lnTo>
                              <a:lnTo>
                                <a:pt x="101" y="202"/>
                              </a:lnTo>
                              <a:lnTo>
                                <a:pt x="119" y="186"/>
                              </a:lnTo>
                              <a:lnTo>
                                <a:pt x="120" y="147"/>
                              </a:lnTo>
                              <a:lnTo>
                                <a:pt x="120" y="145"/>
                              </a:lnTo>
                              <a:lnTo>
                                <a:pt x="121" y="145"/>
                              </a:lnTo>
                              <a:lnTo>
                                <a:pt x="137" y="147"/>
                              </a:lnTo>
                              <a:lnTo>
                                <a:pt x="154" y="128"/>
                              </a:lnTo>
                              <a:lnTo>
                                <a:pt x="164" y="102"/>
                              </a:lnTo>
                              <a:lnTo>
                                <a:pt x="164" y="101"/>
                              </a:lnTo>
                              <a:lnTo>
                                <a:pt x="165" y="101"/>
                              </a:lnTo>
                              <a:lnTo>
                                <a:pt x="180" y="84"/>
                              </a:lnTo>
                              <a:lnTo>
                                <a:pt x="199" y="37"/>
                              </a:lnTo>
                              <a:lnTo>
                                <a:pt x="189" y="29"/>
                              </a:lnTo>
                              <a:lnTo>
                                <a:pt x="189" y="29"/>
                              </a:lnTo>
                              <a:lnTo>
                                <a:pt x="189" y="29"/>
                              </a:lnTo>
                              <a:lnTo>
                                <a:pt x="178" y="17"/>
                              </a:lnTo>
                              <a:lnTo>
                                <a:pt x="164" y="19"/>
                              </a:lnTo>
                              <a:lnTo>
                                <a:pt x="163" y="19"/>
                              </a:lnTo>
                              <a:lnTo>
                                <a:pt x="162" y="19"/>
                              </a:lnTo>
                              <a:lnTo>
                                <a:pt x="143" y="1"/>
                              </a:lnTo>
                              <a:lnTo>
                                <a:pt x="113" y="0"/>
                              </a:lnTo>
                              <a:lnTo>
                                <a:pt x="113" y="10"/>
                              </a:lnTo>
                              <a:lnTo>
                                <a:pt x="113" y="10"/>
                              </a:lnTo>
                              <a:lnTo>
                                <a:pt x="111" y="24"/>
                              </a:lnTo>
                              <a:lnTo>
                                <a:pt x="111" y="25"/>
                              </a:lnTo>
                              <a:lnTo>
                                <a:pt x="110" y="26"/>
                              </a:lnTo>
                              <a:lnTo>
                                <a:pt x="89" y="44"/>
                              </a:lnTo>
                              <a:lnTo>
                                <a:pt x="88" y="44"/>
                              </a:lnTo>
                              <a:lnTo>
                                <a:pt x="87" y="44"/>
                              </a:lnTo>
                              <a:lnTo>
                                <a:pt x="70" y="36"/>
                              </a:lnTo>
                              <a:lnTo>
                                <a:pt x="57" y="35"/>
                              </a:lnTo>
                              <a:lnTo>
                                <a:pt x="44" y="83"/>
                              </a:lnTo>
                              <a:lnTo>
                                <a:pt x="43" y="85"/>
                              </a:lnTo>
                              <a:lnTo>
                                <a:pt x="42" y="85"/>
                              </a:lnTo>
                              <a:lnTo>
                                <a:pt x="13" y="89"/>
                              </a:lnTo>
                              <a:lnTo>
                                <a:pt x="0" y="124"/>
                              </a:lnTo>
                              <a:lnTo>
                                <a:pt x="0" y="124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83" name="Freeform 194">
                          <a:extLst>
                            <a:ext uri="{FF2B5EF4-FFF2-40B4-BE49-F238E27FC236}">
                              <a16:creationId xmlns:a16="http://schemas.microsoft.com/office/drawing/2014/main" id="{1DC8A7E2-72F0-45F3-946D-038290E0C68C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306127" y="1952521"/>
                          <a:ext cx="322171" cy="426825"/>
                        </a:xfrm>
                        <a:custGeom>
                          <a:avLst/>
                          <a:gdLst>
                            <a:gd name="T0" fmla="*/ 131 w 314"/>
                            <a:gd name="T1" fmla="*/ 17 h 416"/>
                            <a:gd name="T2" fmla="*/ 110 w 314"/>
                            <a:gd name="T3" fmla="*/ 42 h 416"/>
                            <a:gd name="T4" fmla="*/ 80 w 314"/>
                            <a:gd name="T5" fmla="*/ 51 h 416"/>
                            <a:gd name="T6" fmla="*/ 45 w 314"/>
                            <a:gd name="T7" fmla="*/ 65 h 416"/>
                            <a:gd name="T8" fmla="*/ 58 w 314"/>
                            <a:gd name="T9" fmla="*/ 79 h 416"/>
                            <a:gd name="T10" fmla="*/ 61 w 314"/>
                            <a:gd name="T11" fmla="*/ 101 h 416"/>
                            <a:gd name="T12" fmla="*/ 53 w 314"/>
                            <a:gd name="T13" fmla="*/ 110 h 416"/>
                            <a:gd name="T14" fmla="*/ 14 w 314"/>
                            <a:gd name="T15" fmla="*/ 115 h 416"/>
                            <a:gd name="T16" fmla="*/ 6 w 314"/>
                            <a:gd name="T17" fmla="*/ 131 h 416"/>
                            <a:gd name="T18" fmla="*/ 0 w 314"/>
                            <a:gd name="T19" fmla="*/ 183 h 416"/>
                            <a:gd name="T20" fmla="*/ 12 w 314"/>
                            <a:gd name="T21" fmla="*/ 199 h 416"/>
                            <a:gd name="T22" fmla="*/ 20 w 314"/>
                            <a:gd name="T23" fmla="*/ 251 h 416"/>
                            <a:gd name="T24" fmla="*/ 19 w 314"/>
                            <a:gd name="T25" fmla="*/ 272 h 416"/>
                            <a:gd name="T26" fmla="*/ 12 w 314"/>
                            <a:gd name="T27" fmla="*/ 300 h 416"/>
                            <a:gd name="T28" fmla="*/ 21 w 314"/>
                            <a:gd name="T29" fmla="*/ 294 h 416"/>
                            <a:gd name="T30" fmla="*/ 46 w 314"/>
                            <a:gd name="T31" fmla="*/ 295 h 416"/>
                            <a:gd name="T32" fmla="*/ 43 w 314"/>
                            <a:gd name="T33" fmla="*/ 325 h 416"/>
                            <a:gd name="T34" fmla="*/ 38 w 314"/>
                            <a:gd name="T35" fmla="*/ 348 h 416"/>
                            <a:gd name="T36" fmla="*/ 22 w 314"/>
                            <a:gd name="T37" fmla="*/ 367 h 416"/>
                            <a:gd name="T38" fmla="*/ 70 w 314"/>
                            <a:gd name="T39" fmla="*/ 391 h 416"/>
                            <a:gd name="T40" fmla="*/ 114 w 314"/>
                            <a:gd name="T41" fmla="*/ 416 h 416"/>
                            <a:gd name="T42" fmla="*/ 124 w 314"/>
                            <a:gd name="T43" fmla="*/ 392 h 416"/>
                            <a:gd name="T44" fmla="*/ 148 w 314"/>
                            <a:gd name="T45" fmla="*/ 354 h 416"/>
                            <a:gd name="T46" fmla="*/ 173 w 314"/>
                            <a:gd name="T47" fmla="*/ 347 h 416"/>
                            <a:gd name="T48" fmla="*/ 175 w 314"/>
                            <a:gd name="T49" fmla="*/ 327 h 416"/>
                            <a:gd name="T50" fmla="*/ 196 w 314"/>
                            <a:gd name="T51" fmla="*/ 293 h 416"/>
                            <a:gd name="T52" fmla="*/ 230 w 314"/>
                            <a:gd name="T53" fmla="*/ 274 h 416"/>
                            <a:gd name="T54" fmla="*/ 261 w 314"/>
                            <a:gd name="T55" fmla="*/ 262 h 416"/>
                            <a:gd name="T56" fmla="*/ 278 w 314"/>
                            <a:gd name="T57" fmla="*/ 255 h 416"/>
                            <a:gd name="T58" fmla="*/ 267 w 314"/>
                            <a:gd name="T59" fmla="*/ 238 h 416"/>
                            <a:gd name="T60" fmla="*/ 254 w 314"/>
                            <a:gd name="T61" fmla="*/ 245 h 416"/>
                            <a:gd name="T62" fmla="*/ 201 w 314"/>
                            <a:gd name="T63" fmla="*/ 228 h 416"/>
                            <a:gd name="T64" fmla="*/ 188 w 314"/>
                            <a:gd name="T65" fmla="*/ 217 h 416"/>
                            <a:gd name="T66" fmla="*/ 174 w 314"/>
                            <a:gd name="T67" fmla="*/ 184 h 416"/>
                            <a:gd name="T68" fmla="*/ 181 w 314"/>
                            <a:gd name="T69" fmla="*/ 165 h 416"/>
                            <a:gd name="T70" fmla="*/ 207 w 314"/>
                            <a:gd name="T71" fmla="*/ 150 h 416"/>
                            <a:gd name="T72" fmla="*/ 222 w 314"/>
                            <a:gd name="T73" fmla="*/ 152 h 416"/>
                            <a:gd name="T74" fmla="*/ 233 w 314"/>
                            <a:gd name="T75" fmla="*/ 167 h 416"/>
                            <a:gd name="T76" fmla="*/ 257 w 314"/>
                            <a:gd name="T77" fmla="*/ 193 h 416"/>
                            <a:gd name="T78" fmla="*/ 270 w 314"/>
                            <a:gd name="T79" fmla="*/ 194 h 416"/>
                            <a:gd name="T80" fmla="*/ 279 w 314"/>
                            <a:gd name="T81" fmla="*/ 200 h 416"/>
                            <a:gd name="T82" fmla="*/ 298 w 314"/>
                            <a:gd name="T83" fmla="*/ 219 h 416"/>
                            <a:gd name="T84" fmla="*/ 301 w 314"/>
                            <a:gd name="T85" fmla="*/ 186 h 416"/>
                            <a:gd name="T86" fmla="*/ 299 w 314"/>
                            <a:gd name="T87" fmla="*/ 173 h 416"/>
                            <a:gd name="T88" fmla="*/ 311 w 314"/>
                            <a:gd name="T89" fmla="*/ 150 h 416"/>
                            <a:gd name="T90" fmla="*/ 304 w 314"/>
                            <a:gd name="T91" fmla="*/ 130 h 416"/>
                            <a:gd name="T92" fmla="*/ 269 w 314"/>
                            <a:gd name="T93" fmla="*/ 115 h 416"/>
                            <a:gd name="T94" fmla="*/ 254 w 314"/>
                            <a:gd name="T95" fmla="*/ 103 h 416"/>
                            <a:gd name="T96" fmla="*/ 235 w 314"/>
                            <a:gd name="T97" fmla="*/ 90 h 416"/>
                            <a:gd name="T98" fmla="*/ 227 w 314"/>
                            <a:gd name="T99" fmla="*/ 81 h 416"/>
                            <a:gd name="T100" fmla="*/ 224 w 314"/>
                            <a:gd name="T101" fmla="*/ 65 h 416"/>
                            <a:gd name="T102" fmla="*/ 207 w 314"/>
                            <a:gd name="T103" fmla="*/ 52 h 416"/>
                            <a:gd name="T104" fmla="*/ 203 w 314"/>
                            <a:gd name="T105" fmla="*/ 30 h 416"/>
                            <a:gd name="T106" fmla="*/ 165 w 314"/>
                            <a:gd name="T107" fmla="*/ 27 h 416"/>
                            <a:gd name="T108" fmla="*/ 149 w 314"/>
                            <a:gd name="T109" fmla="*/ 0 h 41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</a:cxnLst>
                          <a:rect l="0" t="0" r="r" b="b"/>
                          <a:pathLst>
                            <a:path w="314" h="416">
                              <a:moveTo>
                                <a:pt x="149" y="0"/>
                              </a:moveTo>
                              <a:lnTo>
                                <a:pt x="132" y="17"/>
                              </a:lnTo>
                              <a:lnTo>
                                <a:pt x="131" y="17"/>
                              </a:lnTo>
                              <a:lnTo>
                                <a:pt x="114" y="17"/>
                              </a:lnTo>
                              <a:lnTo>
                                <a:pt x="110" y="41"/>
                              </a:lnTo>
                              <a:lnTo>
                                <a:pt x="110" y="42"/>
                              </a:lnTo>
                              <a:lnTo>
                                <a:pt x="109" y="42"/>
                              </a:lnTo>
                              <a:lnTo>
                                <a:pt x="80" y="51"/>
                              </a:lnTo>
                              <a:lnTo>
                                <a:pt x="80" y="51"/>
                              </a:lnTo>
                              <a:lnTo>
                                <a:pt x="79" y="51"/>
                              </a:lnTo>
                              <a:lnTo>
                                <a:pt x="47" y="48"/>
                              </a:lnTo>
                              <a:lnTo>
                                <a:pt x="45" y="65"/>
                              </a:lnTo>
                              <a:lnTo>
                                <a:pt x="57" y="78"/>
                              </a:lnTo>
                              <a:lnTo>
                                <a:pt x="58" y="78"/>
                              </a:lnTo>
                              <a:lnTo>
                                <a:pt x="58" y="79"/>
                              </a:lnTo>
                              <a:lnTo>
                                <a:pt x="61" y="100"/>
                              </a:lnTo>
                              <a:lnTo>
                                <a:pt x="61" y="101"/>
                              </a:lnTo>
                              <a:lnTo>
                                <a:pt x="61" y="101"/>
                              </a:lnTo>
                              <a:lnTo>
                                <a:pt x="55" y="110"/>
                              </a:lnTo>
                              <a:lnTo>
                                <a:pt x="54" y="111"/>
                              </a:lnTo>
                              <a:lnTo>
                                <a:pt x="53" y="110"/>
                              </a:lnTo>
                              <a:lnTo>
                                <a:pt x="34" y="98"/>
                              </a:lnTo>
                              <a:lnTo>
                                <a:pt x="21" y="98"/>
                              </a:lnTo>
                              <a:lnTo>
                                <a:pt x="14" y="115"/>
                              </a:lnTo>
                              <a:lnTo>
                                <a:pt x="14" y="115"/>
                              </a:lnTo>
                              <a:lnTo>
                                <a:pt x="7" y="130"/>
                              </a:lnTo>
                              <a:lnTo>
                                <a:pt x="6" y="131"/>
                              </a:lnTo>
                              <a:lnTo>
                                <a:pt x="5" y="131"/>
                              </a:lnTo>
                              <a:lnTo>
                                <a:pt x="0" y="131"/>
                              </a:lnTo>
                              <a:lnTo>
                                <a:pt x="0" y="183"/>
                              </a:lnTo>
                              <a:lnTo>
                                <a:pt x="11" y="199"/>
                              </a:lnTo>
                              <a:lnTo>
                                <a:pt x="12" y="199"/>
                              </a:lnTo>
                              <a:lnTo>
                                <a:pt x="12" y="199"/>
                              </a:lnTo>
                              <a:lnTo>
                                <a:pt x="10" y="240"/>
                              </a:lnTo>
                              <a:lnTo>
                                <a:pt x="20" y="250"/>
                              </a:lnTo>
                              <a:lnTo>
                                <a:pt x="20" y="251"/>
                              </a:lnTo>
                              <a:lnTo>
                                <a:pt x="20" y="252"/>
                              </a:lnTo>
                              <a:lnTo>
                                <a:pt x="19" y="270"/>
                              </a:lnTo>
                              <a:lnTo>
                                <a:pt x="19" y="272"/>
                              </a:lnTo>
                              <a:lnTo>
                                <a:pt x="18" y="272"/>
                              </a:lnTo>
                              <a:lnTo>
                                <a:pt x="9" y="276"/>
                              </a:lnTo>
                              <a:lnTo>
                                <a:pt x="12" y="300"/>
                              </a:lnTo>
                              <a:lnTo>
                                <a:pt x="20" y="295"/>
                              </a:lnTo>
                              <a:lnTo>
                                <a:pt x="20" y="294"/>
                              </a:lnTo>
                              <a:lnTo>
                                <a:pt x="21" y="294"/>
                              </a:lnTo>
                              <a:lnTo>
                                <a:pt x="44" y="293"/>
                              </a:lnTo>
                              <a:lnTo>
                                <a:pt x="46" y="293"/>
                              </a:lnTo>
                              <a:lnTo>
                                <a:pt x="46" y="295"/>
                              </a:lnTo>
                              <a:lnTo>
                                <a:pt x="44" y="323"/>
                              </a:lnTo>
                              <a:lnTo>
                                <a:pt x="44" y="324"/>
                              </a:lnTo>
                              <a:lnTo>
                                <a:pt x="43" y="325"/>
                              </a:lnTo>
                              <a:lnTo>
                                <a:pt x="28" y="329"/>
                              </a:lnTo>
                              <a:lnTo>
                                <a:pt x="28" y="337"/>
                              </a:lnTo>
                              <a:lnTo>
                                <a:pt x="38" y="348"/>
                              </a:lnTo>
                              <a:lnTo>
                                <a:pt x="40" y="349"/>
                              </a:lnTo>
                              <a:lnTo>
                                <a:pt x="38" y="351"/>
                              </a:lnTo>
                              <a:lnTo>
                                <a:pt x="22" y="367"/>
                              </a:lnTo>
                              <a:lnTo>
                                <a:pt x="30" y="382"/>
                              </a:lnTo>
                              <a:lnTo>
                                <a:pt x="69" y="391"/>
                              </a:lnTo>
                              <a:lnTo>
                                <a:pt x="70" y="391"/>
                              </a:lnTo>
                              <a:lnTo>
                                <a:pt x="70" y="392"/>
                              </a:lnTo>
                              <a:lnTo>
                                <a:pt x="92" y="413"/>
                              </a:lnTo>
                              <a:lnTo>
                                <a:pt x="114" y="416"/>
                              </a:lnTo>
                              <a:lnTo>
                                <a:pt x="123" y="394"/>
                              </a:lnTo>
                              <a:lnTo>
                                <a:pt x="123" y="393"/>
                              </a:lnTo>
                              <a:lnTo>
                                <a:pt x="124" y="392"/>
                              </a:lnTo>
                              <a:lnTo>
                                <a:pt x="143" y="387"/>
                              </a:lnTo>
                              <a:lnTo>
                                <a:pt x="145" y="371"/>
                              </a:lnTo>
                              <a:lnTo>
                                <a:pt x="148" y="354"/>
                              </a:lnTo>
                              <a:lnTo>
                                <a:pt x="148" y="352"/>
                              </a:lnTo>
                              <a:lnTo>
                                <a:pt x="149" y="352"/>
                              </a:lnTo>
                              <a:lnTo>
                                <a:pt x="173" y="347"/>
                              </a:lnTo>
                              <a:lnTo>
                                <a:pt x="175" y="328"/>
                              </a:lnTo>
                              <a:lnTo>
                                <a:pt x="175" y="327"/>
                              </a:lnTo>
                              <a:lnTo>
                                <a:pt x="175" y="327"/>
                              </a:lnTo>
                              <a:lnTo>
                                <a:pt x="195" y="293"/>
                              </a:lnTo>
                              <a:lnTo>
                                <a:pt x="195" y="293"/>
                              </a:lnTo>
                              <a:lnTo>
                                <a:pt x="196" y="293"/>
                              </a:lnTo>
                              <a:lnTo>
                                <a:pt x="228" y="274"/>
                              </a:lnTo>
                              <a:lnTo>
                                <a:pt x="229" y="274"/>
                              </a:lnTo>
                              <a:lnTo>
                                <a:pt x="230" y="274"/>
                              </a:lnTo>
                              <a:lnTo>
                                <a:pt x="247" y="283"/>
                              </a:lnTo>
                              <a:lnTo>
                                <a:pt x="255" y="283"/>
                              </a:lnTo>
                              <a:lnTo>
                                <a:pt x="261" y="262"/>
                              </a:lnTo>
                              <a:lnTo>
                                <a:pt x="261" y="261"/>
                              </a:lnTo>
                              <a:lnTo>
                                <a:pt x="262" y="261"/>
                              </a:lnTo>
                              <a:lnTo>
                                <a:pt x="278" y="255"/>
                              </a:lnTo>
                              <a:lnTo>
                                <a:pt x="287" y="248"/>
                              </a:lnTo>
                              <a:lnTo>
                                <a:pt x="275" y="235"/>
                              </a:lnTo>
                              <a:lnTo>
                                <a:pt x="267" y="238"/>
                              </a:lnTo>
                              <a:lnTo>
                                <a:pt x="255" y="245"/>
                              </a:lnTo>
                              <a:lnTo>
                                <a:pt x="254" y="245"/>
                              </a:lnTo>
                              <a:lnTo>
                                <a:pt x="254" y="245"/>
                              </a:lnTo>
                              <a:lnTo>
                                <a:pt x="201" y="228"/>
                              </a:lnTo>
                              <a:lnTo>
                                <a:pt x="201" y="228"/>
                              </a:lnTo>
                              <a:lnTo>
                                <a:pt x="201" y="228"/>
                              </a:lnTo>
                              <a:lnTo>
                                <a:pt x="188" y="218"/>
                              </a:lnTo>
                              <a:lnTo>
                                <a:pt x="188" y="217"/>
                              </a:lnTo>
                              <a:lnTo>
                                <a:pt x="188" y="217"/>
                              </a:lnTo>
                              <a:lnTo>
                                <a:pt x="174" y="186"/>
                              </a:lnTo>
                              <a:lnTo>
                                <a:pt x="174" y="185"/>
                              </a:lnTo>
                              <a:lnTo>
                                <a:pt x="174" y="184"/>
                              </a:lnTo>
                              <a:lnTo>
                                <a:pt x="180" y="166"/>
                              </a:lnTo>
                              <a:lnTo>
                                <a:pt x="181" y="165"/>
                              </a:lnTo>
                              <a:lnTo>
                                <a:pt x="181" y="165"/>
                              </a:lnTo>
                              <a:lnTo>
                                <a:pt x="206" y="150"/>
                              </a:lnTo>
                              <a:lnTo>
                                <a:pt x="207" y="150"/>
                              </a:lnTo>
                              <a:lnTo>
                                <a:pt x="207" y="150"/>
                              </a:lnTo>
                              <a:lnTo>
                                <a:pt x="221" y="151"/>
                              </a:lnTo>
                              <a:lnTo>
                                <a:pt x="222" y="151"/>
                              </a:lnTo>
                              <a:lnTo>
                                <a:pt x="222" y="152"/>
                              </a:lnTo>
                              <a:lnTo>
                                <a:pt x="233" y="166"/>
                              </a:lnTo>
                              <a:lnTo>
                                <a:pt x="233" y="167"/>
                              </a:lnTo>
                              <a:lnTo>
                                <a:pt x="233" y="167"/>
                              </a:lnTo>
                              <a:lnTo>
                                <a:pt x="234" y="191"/>
                              </a:lnTo>
                              <a:lnTo>
                                <a:pt x="244" y="199"/>
                              </a:lnTo>
                              <a:lnTo>
                                <a:pt x="257" y="193"/>
                              </a:lnTo>
                              <a:lnTo>
                                <a:pt x="257" y="193"/>
                              </a:lnTo>
                              <a:lnTo>
                                <a:pt x="258" y="193"/>
                              </a:lnTo>
                              <a:lnTo>
                                <a:pt x="270" y="194"/>
                              </a:lnTo>
                              <a:lnTo>
                                <a:pt x="271" y="194"/>
                              </a:lnTo>
                              <a:lnTo>
                                <a:pt x="271" y="194"/>
                              </a:lnTo>
                              <a:lnTo>
                                <a:pt x="279" y="200"/>
                              </a:lnTo>
                              <a:lnTo>
                                <a:pt x="279" y="200"/>
                              </a:lnTo>
                              <a:lnTo>
                                <a:pt x="279" y="200"/>
                              </a:lnTo>
                              <a:lnTo>
                                <a:pt x="298" y="219"/>
                              </a:lnTo>
                              <a:lnTo>
                                <a:pt x="306" y="214"/>
                              </a:lnTo>
                              <a:lnTo>
                                <a:pt x="312" y="201"/>
                              </a:lnTo>
                              <a:lnTo>
                                <a:pt x="301" y="186"/>
                              </a:lnTo>
                              <a:lnTo>
                                <a:pt x="301" y="186"/>
                              </a:lnTo>
                              <a:lnTo>
                                <a:pt x="301" y="185"/>
                              </a:lnTo>
                              <a:lnTo>
                                <a:pt x="299" y="173"/>
                              </a:lnTo>
                              <a:lnTo>
                                <a:pt x="299" y="173"/>
                              </a:lnTo>
                              <a:lnTo>
                                <a:pt x="299" y="172"/>
                              </a:lnTo>
                              <a:lnTo>
                                <a:pt x="311" y="150"/>
                              </a:lnTo>
                              <a:lnTo>
                                <a:pt x="314" y="132"/>
                              </a:lnTo>
                              <a:lnTo>
                                <a:pt x="304" y="130"/>
                              </a:lnTo>
                              <a:lnTo>
                                <a:pt x="304" y="130"/>
                              </a:lnTo>
                              <a:lnTo>
                                <a:pt x="304" y="130"/>
                              </a:lnTo>
                              <a:lnTo>
                                <a:pt x="270" y="115"/>
                              </a:lnTo>
                              <a:lnTo>
                                <a:pt x="269" y="115"/>
                              </a:lnTo>
                              <a:lnTo>
                                <a:pt x="269" y="115"/>
                              </a:lnTo>
                              <a:lnTo>
                                <a:pt x="255" y="104"/>
                              </a:lnTo>
                              <a:lnTo>
                                <a:pt x="254" y="103"/>
                              </a:lnTo>
                              <a:lnTo>
                                <a:pt x="254" y="103"/>
                              </a:lnTo>
                              <a:lnTo>
                                <a:pt x="249" y="86"/>
                              </a:lnTo>
                              <a:lnTo>
                                <a:pt x="235" y="90"/>
                              </a:lnTo>
                              <a:lnTo>
                                <a:pt x="234" y="91"/>
                              </a:lnTo>
                              <a:lnTo>
                                <a:pt x="233" y="89"/>
                              </a:lnTo>
                              <a:lnTo>
                                <a:pt x="227" y="81"/>
                              </a:lnTo>
                              <a:lnTo>
                                <a:pt x="227" y="81"/>
                              </a:lnTo>
                              <a:lnTo>
                                <a:pt x="227" y="80"/>
                              </a:lnTo>
                              <a:lnTo>
                                <a:pt x="224" y="65"/>
                              </a:lnTo>
                              <a:lnTo>
                                <a:pt x="224" y="65"/>
                              </a:lnTo>
                              <a:lnTo>
                                <a:pt x="222" y="56"/>
                              </a:lnTo>
                              <a:lnTo>
                                <a:pt x="207" y="52"/>
                              </a:lnTo>
                              <a:lnTo>
                                <a:pt x="205" y="52"/>
                              </a:lnTo>
                              <a:lnTo>
                                <a:pt x="205" y="51"/>
                              </a:lnTo>
                              <a:lnTo>
                                <a:pt x="203" y="30"/>
                              </a:lnTo>
                              <a:lnTo>
                                <a:pt x="167" y="28"/>
                              </a:lnTo>
                              <a:lnTo>
                                <a:pt x="165" y="28"/>
                              </a:lnTo>
                              <a:lnTo>
                                <a:pt x="165" y="27"/>
                              </a:lnTo>
                              <a:lnTo>
                                <a:pt x="165" y="0"/>
                              </a:lnTo>
                              <a:lnTo>
                                <a:pt x="149" y="0"/>
                              </a:lnTo>
                              <a:lnTo>
                                <a:pt x="149" y="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84" name="Freeform 195">
                          <a:extLst>
                            <a:ext uri="{FF2B5EF4-FFF2-40B4-BE49-F238E27FC236}">
                              <a16:creationId xmlns:a16="http://schemas.microsoft.com/office/drawing/2014/main" id="{24664487-965C-4E90-A6EB-C37E376EC684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229175" y="1463109"/>
                          <a:ext cx="378603" cy="416565"/>
                        </a:xfrm>
                        <a:custGeom>
                          <a:avLst/>
                          <a:gdLst>
                            <a:gd name="T0" fmla="*/ 312 w 369"/>
                            <a:gd name="T1" fmla="*/ 176 h 406"/>
                            <a:gd name="T2" fmla="*/ 311 w 369"/>
                            <a:gd name="T3" fmla="*/ 176 h 406"/>
                            <a:gd name="T4" fmla="*/ 218 w 369"/>
                            <a:gd name="T5" fmla="*/ 175 h 406"/>
                            <a:gd name="T6" fmla="*/ 216 w 369"/>
                            <a:gd name="T7" fmla="*/ 176 h 406"/>
                            <a:gd name="T8" fmla="*/ 204 w 369"/>
                            <a:gd name="T9" fmla="*/ 166 h 406"/>
                            <a:gd name="T10" fmla="*/ 204 w 369"/>
                            <a:gd name="T11" fmla="*/ 124 h 406"/>
                            <a:gd name="T12" fmla="*/ 198 w 369"/>
                            <a:gd name="T13" fmla="*/ 110 h 406"/>
                            <a:gd name="T14" fmla="*/ 254 w 369"/>
                            <a:gd name="T15" fmla="*/ 46 h 406"/>
                            <a:gd name="T16" fmla="*/ 236 w 369"/>
                            <a:gd name="T17" fmla="*/ 0 h 406"/>
                            <a:gd name="T18" fmla="*/ 183 w 369"/>
                            <a:gd name="T19" fmla="*/ 24 h 406"/>
                            <a:gd name="T20" fmla="*/ 181 w 369"/>
                            <a:gd name="T21" fmla="*/ 25 h 406"/>
                            <a:gd name="T22" fmla="*/ 149 w 369"/>
                            <a:gd name="T23" fmla="*/ 33 h 406"/>
                            <a:gd name="T24" fmla="*/ 171 w 369"/>
                            <a:gd name="T25" fmla="*/ 53 h 406"/>
                            <a:gd name="T26" fmla="*/ 145 w 369"/>
                            <a:gd name="T27" fmla="*/ 80 h 406"/>
                            <a:gd name="T28" fmla="*/ 133 w 369"/>
                            <a:gd name="T29" fmla="*/ 93 h 406"/>
                            <a:gd name="T30" fmla="*/ 132 w 369"/>
                            <a:gd name="T31" fmla="*/ 133 h 406"/>
                            <a:gd name="T32" fmla="*/ 70 w 369"/>
                            <a:gd name="T33" fmla="*/ 132 h 406"/>
                            <a:gd name="T34" fmla="*/ 61 w 369"/>
                            <a:gd name="T35" fmla="*/ 171 h 406"/>
                            <a:gd name="T36" fmla="*/ 62 w 369"/>
                            <a:gd name="T37" fmla="*/ 171 h 406"/>
                            <a:gd name="T38" fmla="*/ 79 w 369"/>
                            <a:gd name="T39" fmla="*/ 194 h 406"/>
                            <a:gd name="T40" fmla="*/ 69 w 369"/>
                            <a:gd name="T41" fmla="*/ 206 h 406"/>
                            <a:gd name="T42" fmla="*/ 68 w 369"/>
                            <a:gd name="T43" fmla="*/ 206 h 406"/>
                            <a:gd name="T44" fmla="*/ 48 w 369"/>
                            <a:gd name="T45" fmla="*/ 215 h 406"/>
                            <a:gd name="T46" fmla="*/ 21 w 369"/>
                            <a:gd name="T47" fmla="*/ 196 h 406"/>
                            <a:gd name="T48" fmla="*/ 5 w 369"/>
                            <a:gd name="T49" fmla="*/ 248 h 406"/>
                            <a:gd name="T50" fmla="*/ 68 w 369"/>
                            <a:gd name="T51" fmla="*/ 266 h 406"/>
                            <a:gd name="T52" fmla="*/ 69 w 369"/>
                            <a:gd name="T53" fmla="*/ 267 h 406"/>
                            <a:gd name="T54" fmla="*/ 90 w 369"/>
                            <a:gd name="T55" fmla="*/ 290 h 406"/>
                            <a:gd name="T56" fmla="*/ 97 w 369"/>
                            <a:gd name="T57" fmla="*/ 307 h 406"/>
                            <a:gd name="T58" fmla="*/ 97 w 369"/>
                            <a:gd name="T59" fmla="*/ 308 h 406"/>
                            <a:gd name="T60" fmla="*/ 98 w 369"/>
                            <a:gd name="T61" fmla="*/ 342 h 406"/>
                            <a:gd name="T62" fmla="*/ 99 w 369"/>
                            <a:gd name="T63" fmla="*/ 400 h 406"/>
                            <a:gd name="T64" fmla="*/ 113 w 369"/>
                            <a:gd name="T65" fmla="*/ 375 h 406"/>
                            <a:gd name="T66" fmla="*/ 115 w 369"/>
                            <a:gd name="T67" fmla="*/ 374 h 406"/>
                            <a:gd name="T68" fmla="*/ 157 w 369"/>
                            <a:gd name="T69" fmla="*/ 321 h 406"/>
                            <a:gd name="T70" fmla="*/ 159 w 369"/>
                            <a:gd name="T71" fmla="*/ 319 h 406"/>
                            <a:gd name="T72" fmla="*/ 174 w 369"/>
                            <a:gd name="T73" fmla="*/ 320 h 406"/>
                            <a:gd name="T74" fmla="*/ 191 w 369"/>
                            <a:gd name="T75" fmla="*/ 328 h 406"/>
                            <a:gd name="T76" fmla="*/ 212 w 369"/>
                            <a:gd name="T77" fmla="*/ 298 h 406"/>
                            <a:gd name="T78" fmla="*/ 213 w 369"/>
                            <a:gd name="T79" fmla="*/ 284 h 406"/>
                            <a:gd name="T80" fmla="*/ 247 w 369"/>
                            <a:gd name="T81" fmla="*/ 285 h 406"/>
                            <a:gd name="T82" fmla="*/ 248 w 369"/>
                            <a:gd name="T83" fmla="*/ 286 h 406"/>
                            <a:gd name="T84" fmla="*/ 282 w 369"/>
                            <a:gd name="T85" fmla="*/ 301 h 406"/>
                            <a:gd name="T86" fmla="*/ 283 w 369"/>
                            <a:gd name="T87" fmla="*/ 302 h 406"/>
                            <a:gd name="T88" fmla="*/ 303 w 369"/>
                            <a:gd name="T89" fmla="*/ 322 h 406"/>
                            <a:gd name="T90" fmla="*/ 331 w 369"/>
                            <a:gd name="T91" fmla="*/ 288 h 406"/>
                            <a:gd name="T92" fmla="*/ 317 w 369"/>
                            <a:gd name="T93" fmla="*/ 276 h 406"/>
                            <a:gd name="T94" fmla="*/ 317 w 369"/>
                            <a:gd name="T95" fmla="*/ 256 h 406"/>
                            <a:gd name="T96" fmla="*/ 317 w 369"/>
                            <a:gd name="T97" fmla="*/ 254 h 406"/>
                            <a:gd name="T98" fmla="*/ 367 w 369"/>
                            <a:gd name="T99" fmla="*/ 205 h 406"/>
                            <a:gd name="T100" fmla="*/ 337 w 369"/>
                            <a:gd name="T101" fmla="*/ 165 h 40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</a:cxnLst>
                          <a:rect l="0" t="0" r="r" b="b"/>
                          <a:pathLst>
                            <a:path w="369" h="406">
                              <a:moveTo>
                                <a:pt x="337" y="165"/>
                              </a:moveTo>
                              <a:lnTo>
                                <a:pt x="312" y="176"/>
                              </a:lnTo>
                              <a:lnTo>
                                <a:pt x="312" y="176"/>
                              </a:lnTo>
                              <a:lnTo>
                                <a:pt x="311" y="176"/>
                              </a:lnTo>
                              <a:lnTo>
                                <a:pt x="242" y="149"/>
                              </a:lnTo>
                              <a:lnTo>
                                <a:pt x="218" y="175"/>
                              </a:lnTo>
                              <a:lnTo>
                                <a:pt x="217" y="177"/>
                              </a:lnTo>
                              <a:lnTo>
                                <a:pt x="216" y="176"/>
                              </a:lnTo>
                              <a:lnTo>
                                <a:pt x="205" y="167"/>
                              </a:lnTo>
                              <a:lnTo>
                                <a:pt x="204" y="166"/>
                              </a:lnTo>
                              <a:lnTo>
                                <a:pt x="204" y="165"/>
                              </a:lnTo>
                              <a:lnTo>
                                <a:pt x="204" y="124"/>
                              </a:lnTo>
                              <a:lnTo>
                                <a:pt x="199" y="110"/>
                              </a:lnTo>
                              <a:lnTo>
                                <a:pt x="198" y="110"/>
                              </a:lnTo>
                              <a:lnTo>
                                <a:pt x="199" y="109"/>
                              </a:lnTo>
                              <a:lnTo>
                                <a:pt x="254" y="46"/>
                              </a:lnTo>
                              <a:lnTo>
                                <a:pt x="252" y="20"/>
                              </a:lnTo>
                              <a:lnTo>
                                <a:pt x="236" y="0"/>
                              </a:lnTo>
                              <a:lnTo>
                                <a:pt x="214" y="4"/>
                              </a:lnTo>
                              <a:lnTo>
                                <a:pt x="183" y="24"/>
                              </a:lnTo>
                              <a:lnTo>
                                <a:pt x="182" y="25"/>
                              </a:lnTo>
                              <a:lnTo>
                                <a:pt x="181" y="25"/>
                              </a:lnTo>
                              <a:lnTo>
                                <a:pt x="154" y="23"/>
                              </a:lnTo>
                              <a:lnTo>
                                <a:pt x="149" y="33"/>
                              </a:lnTo>
                              <a:lnTo>
                                <a:pt x="169" y="52"/>
                              </a:lnTo>
                              <a:lnTo>
                                <a:pt x="171" y="53"/>
                              </a:lnTo>
                              <a:lnTo>
                                <a:pt x="169" y="55"/>
                              </a:lnTo>
                              <a:lnTo>
                                <a:pt x="145" y="80"/>
                              </a:lnTo>
                              <a:lnTo>
                                <a:pt x="145" y="80"/>
                              </a:lnTo>
                              <a:lnTo>
                                <a:pt x="133" y="93"/>
                              </a:lnTo>
                              <a:lnTo>
                                <a:pt x="132" y="131"/>
                              </a:lnTo>
                              <a:lnTo>
                                <a:pt x="132" y="133"/>
                              </a:lnTo>
                              <a:lnTo>
                                <a:pt x="130" y="133"/>
                              </a:lnTo>
                              <a:lnTo>
                                <a:pt x="70" y="132"/>
                              </a:lnTo>
                              <a:lnTo>
                                <a:pt x="47" y="156"/>
                              </a:lnTo>
                              <a:lnTo>
                                <a:pt x="61" y="171"/>
                              </a:lnTo>
                              <a:lnTo>
                                <a:pt x="61" y="171"/>
                              </a:lnTo>
                              <a:lnTo>
                                <a:pt x="62" y="171"/>
                              </a:lnTo>
                              <a:lnTo>
                                <a:pt x="78" y="193"/>
                              </a:lnTo>
                              <a:lnTo>
                                <a:pt x="79" y="194"/>
                              </a:lnTo>
                              <a:lnTo>
                                <a:pt x="78" y="195"/>
                              </a:lnTo>
                              <a:lnTo>
                                <a:pt x="69" y="206"/>
                              </a:lnTo>
                              <a:lnTo>
                                <a:pt x="69" y="206"/>
                              </a:lnTo>
                              <a:lnTo>
                                <a:pt x="68" y="206"/>
                              </a:lnTo>
                              <a:lnTo>
                                <a:pt x="49" y="215"/>
                              </a:lnTo>
                              <a:lnTo>
                                <a:pt x="48" y="215"/>
                              </a:lnTo>
                              <a:lnTo>
                                <a:pt x="47" y="215"/>
                              </a:lnTo>
                              <a:lnTo>
                                <a:pt x="21" y="196"/>
                              </a:lnTo>
                              <a:lnTo>
                                <a:pt x="0" y="226"/>
                              </a:lnTo>
                              <a:lnTo>
                                <a:pt x="5" y="248"/>
                              </a:lnTo>
                              <a:lnTo>
                                <a:pt x="16" y="257"/>
                              </a:lnTo>
                              <a:lnTo>
                                <a:pt x="68" y="266"/>
                              </a:lnTo>
                              <a:lnTo>
                                <a:pt x="69" y="266"/>
                              </a:lnTo>
                              <a:lnTo>
                                <a:pt x="69" y="267"/>
                              </a:lnTo>
                              <a:lnTo>
                                <a:pt x="90" y="290"/>
                              </a:lnTo>
                              <a:lnTo>
                                <a:pt x="90" y="290"/>
                              </a:lnTo>
                              <a:lnTo>
                                <a:pt x="90" y="290"/>
                              </a:lnTo>
                              <a:lnTo>
                                <a:pt x="97" y="307"/>
                              </a:lnTo>
                              <a:lnTo>
                                <a:pt x="97" y="307"/>
                              </a:lnTo>
                              <a:lnTo>
                                <a:pt x="97" y="308"/>
                              </a:lnTo>
                              <a:lnTo>
                                <a:pt x="98" y="341"/>
                              </a:lnTo>
                              <a:lnTo>
                                <a:pt x="98" y="342"/>
                              </a:lnTo>
                              <a:lnTo>
                                <a:pt x="98" y="342"/>
                              </a:lnTo>
                              <a:lnTo>
                                <a:pt x="99" y="400"/>
                              </a:lnTo>
                              <a:lnTo>
                                <a:pt x="101" y="406"/>
                              </a:lnTo>
                              <a:lnTo>
                                <a:pt x="113" y="375"/>
                              </a:lnTo>
                              <a:lnTo>
                                <a:pt x="114" y="374"/>
                              </a:lnTo>
                              <a:lnTo>
                                <a:pt x="115" y="374"/>
                              </a:lnTo>
                              <a:lnTo>
                                <a:pt x="143" y="370"/>
                              </a:lnTo>
                              <a:lnTo>
                                <a:pt x="157" y="321"/>
                              </a:lnTo>
                              <a:lnTo>
                                <a:pt x="157" y="319"/>
                              </a:lnTo>
                              <a:lnTo>
                                <a:pt x="159" y="319"/>
                              </a:lnTo>
                              <a:lnTo>
                                <a:pt x="174" y="320"/>
                              </a:lnTo>
                              <a:lnTo>
                                <a:pt x="174" y="320"/>
                              </a:lnTo>
                              <a:lnTo>
                                <a:pt x="174" y="321"/>
                              </a:lnTo>
                              <a:lnTo>
                                <a:pt x="191" y="328"/>
                              </a:lnTo>
                              <a:lnTo>
                                <a:pt x="210" y="312"/>
                              </a:lnTo>
                              <a:lnTo>
                                <a:pt x="212" y="298"/>
                              </a:lnTo>
                              <a:lnTo>
                                <a:pt x="213" y="286"/>
                              </a:lnTo>
                              <a:lnTo>
                                <a:pt x="213" y="284"/>
                              </a:lnTo>
                              <a:lnTo>
                                <a:pt x="214" y="284"/>
                              </a:lnTo>
                              <a:lnTo>
                                <a:pt x="247" y="285"/>
                              </a:lnTo>
                              <a:lnTo>
                                <a:pt x="248" y="285"/>
                              </a:lnTo>
                              <a:lnTo>
                                <a:pt x="248" y="286"/>
                              </a:lnTo>
                              <a:lnTo>
                                <a:pt x="267" y="303"/>
                              </a:lnTo>
                              <a:lnTo>
                                <a:pt x="282" y="301"/>
                              </a:lnTo>
                              <a:lnTo>
                                <a:pt x="282" y="301"/>
                              </a:lnTo>
                              <a:lnTo>
                                <a:pt x="283" y="302"/>
                              </a:lnTo>
                              <a:lnTo>
                                <a:pt x="295" y="314"/>
                              </a:lnTo>
                              <a:lnTo>
                                <a:pt x="303" y="322"/>
                              </a:lnTo>
                              <a:lnTo>
                                <a:pt x="319" y="304"/>
                              </a:lnTo>
                              <a:lnTo>
                                <a:pt x="331" y="288"/>
                              </a:lnTo>
                              <a:lnTo>
                                <a:pt x="317" y="277"/>
                              </a:lnTo>
                              <a:lnTo>
                                <a:pt x="317" y="276"/>
                              </a:lnTo>
                              <a:lnTo>
                                <a:pt x="317" y="275"/>
                              </a:lnTo>
                              <a:lnTo>
                                <a:pt x="317" y="256"/>
                              </a:lnTo>
                              <a:lnTo>
                                <a:pt x="317" y="255"/>
                              </a:lnTo>
                              <a:lnTo>
                                <a:pt x="317" y="254"/>
                              </a:lnTo>
                              <a:lnTo>
                                <a:pt x="369" y="233"/>
                              </a:lnTo>
                              <a:lnTo>
                                <a:pt x="367" y="205"/>
                              </a:lnTo>
                              <a:lnTo>
                                <a:pt x="337" y="165"/>
                              </a:lnTo>
                              <a:lnTo>
                                <a:pt x="337" y="165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85" name="Freeform 196">
                          <a:extLst>
                            <a:ext uri="{FF2B5EF4-FFF2-40B4-BE49-F238E27FC236}">
                              <a16:creationId xmlns:a16="http://schemas.microsoft.com/office/drawing/2014/main" id="{4EFBB697-62BB-49EF-8569-90F093753235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741532" y="1050648"/>
                          <a:ext cx="21547" cy="19495"/>
                        </a:xfrm>
                        <a:custGeom>
                          <a:avLst/>
                          <a:gdLst>
                            <a:gd name="T0" fmla="*/ 4 w 21"/>
                            <a:gd name="T1" fmla="*/ 17 h 19"/>
                            <a:gd name="T2" fmla="*/ 18 w 21"/>
                            <a:gd name="T3" fmla="*/ 19 h 19"/>
                            <a:gd name="T4" fmla="*/ 21 w 21"/>
                            <a:gd name="T5" fmla="*/ 10 h 19"/>
                            <a:gd name="T6" fmla="*/ 11 w 21"/>
                            <a:gd name="T7" fmla="*/ 0 h 19"/>
                            <a:gd name="T8" fmla="*/ 0 w 21"/>
                            <a:gd name="T9" fmla="*/ 3 h 19"/>
                            <a:gd name="T10" fmla="*/ 4 w 21"/>
                            <a:gd name="T11" fmla="*/ 17 h 19"/>
                            <a:gd name="T12" fmla="*/ 4 w 21"/>
                            <a:gd name="T13" fmla="*/ 17 h 19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21" h="19">
                              <a:moveTo>
                                <a:pt x="4" y="17"/>
                              </a:moveTo>
                              <a:lnTo>
                                <a:pt x="18" y="19"/>
                              </a:lnTo>
                              <a:lnTo>
                                <a:pt x="21" y="10"/>
                              </a:lnTo>
                              <a:lnTo>
                                <a:pt x="11" y="0"/>
                              </a:lnTo>
                              <a:lnTo>
                                <a:pt x="0" y="3"/>
                              </a:lnTo>
                              <a:lnTo>
                                <a:pt x="4" y="17"/>
                              </a:lnTo>
                              <a:lnTo>
                                <a:pt x="4" y="17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86" name="Freeform 197">
                          <a:extLst>
                            <a:ext uri="{FF2B5EF4-FFF2-40B4-BE49-F238E27FC236}">
                              <a16:creationId xmlns:a16="http://schemas.microsoft.com/office/drawing/2014/main" id="{62069369-C4B3-428A-B17D-3B07536E678D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790781" y="1118365"/>
                          <a:ext cx="33859" cy="28729"/>
                        </a:xfrm>
                        <a:custGeom>
                          <a:avLst/>
                          <a:gdLst>
                            <a:gd name="T0" fmla="*/ 0 w 33"/>
                            <a:gd name="T1" fmla="*/ 22 h 28"/>
                            <a:gd name="T2" fmla="*/ 17 w 33"/>
                            <a:gd name="T3" fmla="*/ 28 h 28"/>
                            <a:gd name="T4" fmla="*/ 33 w 33"/>
                            <a:gd name="T5" fmla="*/ 25 h 28"/>
                            <a:gd name="T6" fmla="*/ 26 w 33"/>
                            <a:gd name="T7" fmla="*/ 0 h 28"/>
                            <a:gd name="T8" fmla="*/ 6 w 33"/>
                            <a:gd name="T9" fmla="*/ 12 h 28"/>
                            <a:gd name="T10" fmla="*/ 0 w 33"/>
                            <a:gd name="T11" fmla="*/ 22 h 28"/>
                            <a:gd name="T12" fmla="*/ 0 w 33"/>
                            <a:gd name="T13" fmla="*/ 22 h 2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33" h="28">
                              <a:moveTo>
                                <a:pt x="0" y="22"/>
                              </a:moveTo>
                              <a:lnTo>
                                <a:pt x="17" y="28"/>
                              </a:lnTo>
                              <a:lnTo>
                                <a:pt x="33" y="25"/>
                              </a:lnTo>
                              <a:lnTo>
                                <a:pt x="26" y="0"/>
                              </a:lnTo>
                              <a:lnTo>
                                <a:pt x="6" y="12"/>
                              </a:lnTo>
                              <a:lnTo>
                                <a:pt x="0" y="22"/>
                              </a:lnTo>
                              <a:lnTo>
                                <a:pt x="0" y="22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87" name="Freeform 198">
                          <a:extLst>
                            <a:ext uri="{FF2B5EF4-FFF2-40B4-BE49-F238E27FC236}">
                              <a16:creationId xmlns:a16="http://schemas.microsoft.com/office/drawing/2014/main" id="{54EEEB40-13BF-402C-8B0D-677C5C9F1284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121815" y="980878"/>
                          <a:ext cx="766439" cy="1038335"/>
                        </a:xfrm>
                        <a:custGeom>
                          <a:avLst/>
                          <a:gdLst>
                            <a:gd name="T0" fmla="*/ 661 w 747"/>
                            <a:gd name="T1" fmla="*/ 205 h 1012"/>
                            <a:gd name="T2" fmla="*/ 654 w 747"/>
                            <a:gd name="T3" fmla="*/ 244 h 1012"/>
                            <a:gd name="T4" fmla="*/ 591 w 747"/>
                            <a:gd name="T5" fmla="*/ 185 h 1012"/>
                            <a:gd name="T6" fmla="*/ 610 w 747"/>
                            <a:gd name="T7" fmla="*/ 105 h 1012"/>
                            <a:gd name="T8" fmla="*/ 557 w 747"/>
                            <a:gd name="T9" fmla="*/ 164 h 1012"/>
                            <a:gd name="T10" fmla="*/ 490 w 747"/>
                            <a:gd name="T11" fmla="*/ 348 h 1012"/>
                            <a:gd name="T12" fmla="*/ 583 w 747"/>
                            <a:gd name="T13" fmla="*/ 442 h 1012"/>
                            <a:gd name="T14" fmla="*/ 562 w 747"/>
                            <a:gd name="T15" fmla="*/ 539 h 1012"/>
                            <a:gd name="T16" fmla="*/ 531 w 747"/>
                            <a:gd name="T17" fmla="*/ 517 h 1012"/>
                            <a:gd name="T18" fmla="*/ 500 w 747"/>
                            <a:gd name="T19" fmla="*/ 414 h 1012"/>
                            <a:gd name="T20" fmla="*/ 426 w 747"/>
                            <a:gd name="T21" fmla="*/ 543 h 1012"/>
                            <a:gd name="T22" fmla="*/ 265 w 747"/>
                            <a:gd name="T23" fmla="*/ 530 h 1012"/>
                            <a:gd name="T24" fmla="*/ 359 w 747"/>
                            <a:gd name="T25" fmla="*/ 518 h 1012"/>
                            <a:gd name="T26" fmla="*/ 442 w 747"/>
                            <a:gd name="T27" fmla="*/ 375 h 1012"/>
                            <a:gd name="T28" fmla="*/ 502 w 747"/>
                            <a:gd name="T29" fmla="*/ 175 h 1012"/>
                            <a:gd name="T30" fmla="*/ 519 w 747"/>
                            <a:gd name="T31" fmla="*/ 44 h 1012"/>
                            <a:gd name="T32" fmla="*/ 514 w 747"/>
                            <a:gd name="T33" fmla="*/ 0 h 1012"/>
                            <a:gd name="T34" fmla="*/ 499 w 747"/>
                            <a:gd name="T35" fmla="*/ 36 h 1012"/>
                            <a:gd name="T36" fmla="*/ 406 w 747"/>
                            <a:gd name="T37" fmla="*/ 131 h 1012"/>
                            <a:gd name="T38" fmla="*/ 364 w 747"/>
                            <a:gd name="T39" fmla="*/ 191 h 1012"/>
                            <a:gd name="T40" fmla="*/ 307 w 747"/>
                            <a:gd name="T41" fmla="*/ 258 h 1012"/>
                            <a:gd name="T42" fmla="*/ 331 w 747"/>
                            <a:gd name="T43" fmla="*/ 333 h 1012"/>
                            <a:gd name="T44" fmla="*/ 294 w 747"/>
                            <a:gd name="T45" fmla="*/ 363 h 1012"/>
                            <a:gd name="T46" fmla="*/ 223 w 747"/>
                            <a:gd name="T47" fmla="*/ 277 h 1012"/>
                            <a:gd name="T48" fmla="*/ 236 w 747"/>
                            <a:gd name="T49" fmla="*/ 302 h 1012"/>
                            <a:gd name="T50" fmla="*/ 220 w 747"/>
                            <a:gd name="T51" fmla="*/ 385 h 1012"/>
                            <a:gd name="T52" fmla="*/ 202 w 747"/>
                            <a:gd name="T53" fmla="*/ 413 h 1012"/>
                            <a:gd name="T54" fmla="*/ 157 w 747"/>
                            <a:gd name="T55" fmla="*/ 443 h 1012"/>
                            <a:gd name="T56" fmla="*/ 87 w 747"/>
                            <a:gd name="T57" fmla="*/ 447 h 1012"/>
                            <a:gd name="T58" fmla="*/ 52 w 747"/>
                            <a:gd name="T59" fmla="*/ 475 h 1012"/>
                            <a:gd name="T60" fmla="*/ 27 w 747"/>
                            <a:gd name="T61" fmla="*/ 534 h 1012"/>
                            <a:gd name="T62" fmla="*/ 18 w 747"/>
                            <a:gd name="T63" fmla="*/ 608 h 1012"/>
                            <a:gd name="T64" fmla="*/ 84 w 747"/>
                            <a:gd name="T65" fmla="*/ 614 h 1012"/>
                            <a:gd name="T66" fmla="*/ 116 w 747"/>
                            <a:gd name="T67" fmla="*/ 639 h 1012"/>
                            <a:gd name="T68" fmla="*/ 203 w 747"/>
                            <a:gd name="T69" fmla="*/ 685 h 1012"/>
                            <a:gd name="T70" fmla="*/ 227 w 747"/>
                            <a:gd name="T71" fmla="*/ 715 h 1012"/>
                            <a:gd name="T72" fmla="*/ 230 w 747"/>
                            <a:gd name="T73" fmla="*/ 764 h 1012"/>
                            <a:gd name="T74" fmla="*/ 243 w 747"/>
                            <a:gd name="T75" fmla="*/ 782 h 1012"/>
                            <a:gd name="T76" fmla="*/ 292 w 747"/>
                            <a:gd name="T77" fmla="*/ 813 h 1012"/>
                            <a:gd name="T78" fmla="*/ 400 w 747"/>
                            <a:gd name="T79" fmla="*/ 882 h 1012"/>
                            <a:gd name="T80" fmla="*/ 424 w 747"/>
                            <a:gd name="T81" fmla="*/ 920 h 1012"/>
                            <a:gd name="T82" fmla="*/ 540 w 747"/>
                            <a:gd name="T83" fmla="*/ 924 h 1012"/>
                            <a:gd name="T84" fmla="*/ 573 w 747"/>
                            <a:gd name="T85" fmla="*/ 953 h 1012"/>
                            <a:gd name="T86" fmla="*/ 606 w 747"/>
                            <a:gd name="T87" fmla="*/ 953 h 1012"/>
                            <a:gd name="T88" fmla="*/ 642 w 747"/>
                            <a:gd name="T89" fmla="*/ 989 h 1012"/>
                            <a:gd name="T90" fmla="*/ 713 w 747"/>
                            <a:gd name="T91" fmla="*/ 952 h 1012"/>
                            <a:gd name="T92" fmla="*/ 716 w 747"/>
                            <a:gd name="T93" fmla="*/ 912 h 1012"/>
                            <a:gd name="T94" fmla="*/ 706 w 747"/>
                            <a:gd name="T95" fmla="*/ 808 h 1012"/>
                            <a:gd name="T96" fmla="*/ 714 w 747"/>
                            <a:gd name="T97" fmla="*/ 756 h 1012"/>
                            <a:gd name="T98" fmla="*/ 690 w 747"/>
                            <a:gd name="T99" fmla="*/ 723 h 1012"/>
                            <a:gd name="T100" fmla="*/ 667 w 747"/>
                            <a:gd name="T101" fmla="*/ 613 h 1012"/>
                            <a:gd name="T102" fmla="*/ 668 w 747"/>
                            <a:gd name="T103" fmla="*/ 549 h 1012"/>
                            <a:gd name="T104" fmla="*/ 707 w 747"/>
                            <a:gd name="T105" fmla="*/ 536 h 1012"/>
                            <a:gd name="T106" fmla="*/ 675 w 747"/>
                            <a:gd name="T107" fmla="*/ 437 h 1012"/>
                            <a:gd name="T108" fmla="*/ 637 w 747"/>
                            <a:gd name="T109" fmla="*/ 388 h 1012"/>
                            <a:gd name="T110" fmla="*/ 644 w 747"/>
                            <a:gd name="T111" fmla="*/ 357 h 1012"/>
                            <a:gd name="T112" fmla="*/ 700 w 747"/>
                            <a:gd name="T113" fmla="*/ 331 h 1012"/>
                            <a:gd name="T114" fmla="*/ 682 w 747"/>
                            <a:gd name="T115" fmla="*/ 259 h 1012"/>
                            <a:gd name="T116" fmla="*/ 688 w 747"/>
                            <a:gd name="T117" fmla="*/ 225 h 1012"/>
                            <a:gd name="T118" fmla="*/ 691 w 747"/>
                            <a:gd name="T119" fmla="*/ 173 h 1012"/>
                            <a:gd name="T120" fmla="*/ 691 w 747"/>
                            <a:gd name="T121" fmla="*/ 169 h 101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  <a:cxn ang="0">
                              <a:pos x="T116" y="T117"/>
                            </a:cxn>
                            <a:cxn ang="0">
                              <a:pos x="T118" y="T119"/>
                            </a:cxn>
                            <a:cxn ang="0">
                              <a:pos x="T120" y="T121"/>
                            </a:cxn>
                          </a:cxnLst>
                          <a:rect l="0" t="0" r="r" b="b"/>
                          <a:pathLst>
                            <a:path w="747" h="1012">
                              <a:moveTo>
                                <a:pt x="691" y="169"/>
                              </a:moveTo>
                              <a:lnTo>
                                <a:pt x="671" y="170"/>
                              </a:lnTo>
                              <a:lnTo>
                                <a:pt x="661" y="205"/>
                              </a:lnTo>
                              <a:lnTo>
                                <a:pt x="628" y="176"/>
                              </a:lnTo>
                              <a:lnTo>
                                <a:pt x="620" y="206"/>
                              </a:lnTo>
                              <a:lnTo>
                                <a:pt x="654" y="244"/>
                              </a:lnTo>
                              <a:lnTo>
                                <a:pt x="656" y="276"/>
                              </a:lnTo>
                              <a:lnTo>
                                <a:pt x="593" y="220"/>
                              </a:lnTo>
                              <a:lnTo>
                                <a:pt x="591" y="185"/>
                              </a:lnTo>
                              <a:lnTo>
                                <a:pt x="617" y="152"/>
                              </a:lnTo>
                              <a:lnTo>
                                <a:pt x="621" y="100"/>
                              </a:lnTo>
                              <a:lnTo>
                                <a:pt x="610" y="105"/>
                              </a:lnTo>
                              <a:lnTo>
                                <a:pt x="598" y="140"/>
                              </a:lnTo>
                              <a:lnTo>
                                <a:pt x="578" y="158"/>
                              </a:lnTo>
                              <a:lnTo>
                                <a:pt x="557" y="164"/>
                              </a:lnTo>
                              <a:lnTo>
                                <a:pt x="537" y="193"/>
                              </a:lnTo>
                              <a:lnTo>
                                <a:pt x="538" y="271"/>
                              </a:lnTo>
                              <a:lnTo>
                                <a:pt x="490" y="348"/>
                              </a:lnTo>
                              <a:lnTo>
                                <a:pt x="493" y="394"/>
                              </a:lnTo>
                              <a:lnTo>
                                <a:pt x="542" y="394"/>
                              </a:lnTo>
                              <a:lnTo>
                                <a:pt x="583" y="442"/>
                              </a:lnTo>
                              <a:lnTo>
                                <a:pt x="583" y="489"/>
                              </a:lnTo>
                              <a:lnTo>
                                <a:pt x="554" y="523"/>
                              </a:lnTo>
                              <a:lnTo>
                                <a:pt x="562" y="539"/>
                              </a:lnTo>
                              <a:lnTo>
                                <a:pt x="585" y="552"/>
                              </a:lnTo>
                              <a:lnTo>
                                <a:pt x="542" y="562"/>
                              </a:lnTo>
                              <a:lnTo>
                                <a:pt x="531" y="517"/>
                              </a:lnTo>
                              <a:lnTo>
                                <a:pt x="562" y="462"/>
                              </a:lnTo>
                              <a:lnTo>
                                <a:pt x="548" y="421"/>
                              </a:lnTo>
                              <a:lnTo>
                                <a:pt x="500" y="414"/>
                              </a:lnTo>
                              <a:lnTo>
                                <a:pt x="473" y="439"/>
                              </a:lnTo>
                              <a:lnTo>
                                <a:pt x="470" y="497"/>
                              </a:lnTo>
                              <a:lnTo>
                                <a:pt x="426" y="543"/>
                              </a:lnTo>
                              <a:lnTo>
                                <a:pt x="385" y="558"/>
                              </a:lnTo>
                              <a:lnTo>
                                <a:pt x="358" y="587"/>
                              </a:lnTo>
                              <a:lnTo>
                                <a:pt x="265" y="530"/>
                              </a:lnTo>
                              <a:lnTo>
                                <a:pt x="265" y="502"/>
                              </a:lnTo>
                              <a:lnTo>
                                <a:pt x="327" y="531"/>
                              </a:lnTo>
                              <a:lnTo>
                                <a:pt x="359" y="518"/>
                              </a:lnTo>
                              <a:lnTo>
                                <a:pt x="412" y="485"/>
                              </a:lnTo>
                              <a:lnTo>
                                <a:pt x="448" y="414"/>
                              </a:lnTo>
                              <a:lnTo>
                                <a:pt x="442" y="375"/>
                              </a:lnTo>
                              <a:lnTo>
                                <a:pt x="502" y="232"/>
                              </a:lnTo>
                              <a:lnTo>
                                <a:pt x="509" y="207"/>
                              </a:lnTo>
                              <a:lnTo>
                                <a:pt x="502" y="175"/>
                              </a:lnTo>
                              <a:lnTo>
                                <a:pt x="541" y="137"/>
                              </a:lnTo>
                              <a:lnTo>
                                <a:pt x="549" y="85"/>
                              </a:lnTo>
                              <a:lnTo>
                                <a:pt x="519" y="44"/>
                              </a:lnTo>
                              <a:lnTo>
                                <a:pt x="550" y="40"/>
                              </a:lnTo>
                              <a:lnTo>
                                <a:pt x="546" y="2"/>
                              </a:lnTo>
                              <a:lnTo>
                                <a:pt x="514" y="0"/>
                              </a:lnTo>
                              <a:lnTo>
                                <a:pt x="512" y="28"/>
                              </a:lnTo>
                              <a:lnTo>
                                <a:pt x="519" y="44"/>
                              </a:lnTo>
                              <a:lnTo>
                                <a:pt x="499" y="36"/>
                              </a:lnTo>
                              <a:lnTo>
                                <a:pt x="469" y="59"/>
                              </a:lnTo>
                              <a:lnTo>
                                <a:pt x="434" y="105"/>
                              </a:lnTo>
                              <a:lnTo>
                                <a:pt x="406" y="131"/>
                              </a:lnTo>
                              <a:lnTo>
                                <a:pt x="364" y="141"/>
                              </a:lnTo>
                              <a:lnTo>
                                <a:pt x="343" y="162"/>
                              </a:lnTo>
                              <a:lnTo>
                                <a:pt x="364" y="191"/>
                              </a:lnTo>
                              <a:lnTo>
                                <a:pt x="341" y="233"/>
                              </a:lnTo>
                              <a:lnTo>
                                <a:pt x="308" y="243"/>
                              </a:lnTo>
                              <a:lnTo>
                                <a:pt x="307" y="258"/>
                              </a:lnTo>
                              <a:lnTo>
                                <a:pt x="336" y="287"/>
                              </a:lnTo>
                              <a:lnTo>
                                <a:pt x="326" y="315"/>
                              </a:lnTo>
                              <a:lnTo>
                                <a:pt x="331" y="333"/>
                              </a:lnTo>
                              <a:lnTo>
                                <a:pt x="342" y="349"/>
                              </a:lnTo>
                              <a:lnTo>
                                <a:pt x="305" y="382"/>
                              </a:lnTo>
                              <a:lnTo>
                                <a:pt x="294" y="363"/>
                              </a:lnTo>
                              <a:lnTo>
                                <a:pt x="284" y="321"/>
                              </a:lnTo>
                              <a:lnTo>
                                <a:pt x="245" y="259"/>
                              </a:lnTo>
                              <a:lnTo>
                                <a:pt x="223" y="277"/>
                              </a:lnTo>
                              <a:lnTo>
                                <a:pt x="236" y="300"/>
                              </a:lnTo>
                              <a:lnTo>
                                <a:pt x="236" y="301"/>
                              </a:lnTo>
                              <a:lnTo>
                                <a:pt x="236" y="302"/>
                              </a:lnTo>
                              <a:lnTo>
                                <a:pt x="209" y="350"/>
                              </a:lnTo>
                              <a:lnTo>
                                <a:pt x="219" y="385"/>
                              </a:lnTo>
                              <a:lnTo>
                                <a:pt x="220" y="385"/>
                              </a:lnTo>
                              <a:lnTo>
                                <a:pt x="219" y="386"/>
                              </a:lnTo>
                              <a:lnTo>
                                <a:pt x="202" y="412"/>
                              </a:lnTo>
                              <a:lnTo>
                                <a:pt x="202" y="413"/>
                              </a:lnTo>
                              <a:lnTo>
                                <a:pt x="201" y="413"/>
                              </a:lnTo>
                              <a:lnTo>
                                <a:pt x="174" y="422"/>
                              </a:lnTo>
                              <a:lnTo>
                                <a:pt x="157" y="443"/>
                              </a:lnTo>
                              <a:lnTo>
                                <a:pt x="156" y="443"/>
                              </a:lnTo>
                              <a:lnTo>
                                <a:pt x="155" y="443"/>
                              </a:lnTo>
                              <a:lnTo>
                                <a:pt x="87" y="447"/>
                              </a:lnTo>
                              <a:lnTo>
                                <a:pt x="53" y="475"/>
                              </a:lnTo>
                              <a:lnTo>
                                <a:pt x="52" y="475"/>
                              </a:lnTo>
                              <a:lnTo>
                                <a:pt x="52" y="475"/>
                              </a:lnTo>
                              <a:lnTo>
                                <a:pt x="29" y="476"/>
                              </a:lnTo>
                              <a:lnTo>
                                <a:pt x="27" y="534"/>
                              </a:lnTo>
                              <a:lnTo>
                                <a:pt x="27" y="534"/>
                              </a:lnTo>
                              <a:lnTo>
                                <a:pt x="27" y="535"/>
                              </a:lnTo>
                              <a:lnTo>
                                <a:pt x="0" y="572"/>
                              </a:lnTo>
                              <a:lnTo>
                                <a:pt x="18" y="608"/>
                              </a:lnTo>
                              <a:lnTo>
                                <a:pt x="83" y="613"/>
                              </a:lnTo>
                              <a:lnTo>
                                <a:pt x="83" y="613"/>
                              </a:lnTo>
                              <a:lnTo>
                                <a:pt x="84" y="614"/>
                              </a:lnTo>
                              <a:lnTo>
                                <a:pt x="115" y="638"/>
                              </a:lnTo>
                              <a:lnTo>
                                <a:pt x="116" y="639"/>
                              </a:lnTo>
                              <a:lnTo>
                                <a:pt x="116" y="639"/>
                              </a:lnTo>
                              <a:lnTo>
                                <a:pt x="117" y="671"/>
                              </a:lnTo>
                              <a:lnTo>
                                <a:pt x="128" y="681"/>
                              </a:lnTo>
                              <a:lnTo>
                                <a:pt x="203" y="685"/>
                              </a:lnTo>
                              <a:lnTo>
                                <a:pt x="204" y="685"/>
                              </a:lnTo>
                              <a:lnTo>
                                <a:pt x="204" y="686"/>
                              </a:lnTo>
                              <a:lnTo>
                                <a:pt x="227" y="715"/>
                              </a:lnTo>
                              <a:lnTo>
                                <a:pt x="228" y="715"/>
                              </a:lnTo>
                              <a:lnTo>
                                <a:pt x="228" y="716"/>
                              </a:lnTo>
                              <a:lnTo>
                                <a:pt x="230" y="764"/>
                              </a:lnTo>
                              <a:lnTo>
                                <a:pt x="243" y="780"/>
                              </a:lnTo>
                              <a:lnTo>
                                <a:pt x="243" y="781"/>
                              </a:lnTo>
                              <a:lnTo>
                                <a:pt x="243" y="782"/>
                              </a:lnTo>
                              <a:lnTo>
                                <a:pt x="242" y="813"/>
                              </a:lnTo>
                              <a:lnTo>
                                <a:pt x="292" y="813"/>
                              </a:lnTo>
                              <a:lnTo>
                                <a:pt x="292" y="813"/>
                              </a:lnTo>
                              <a:lnTo>
                                <a:pt x="293" y="813"/>
                              </a:lnTo>
                              <a:lnTo>
                                <a:pt x="338" y="855"/>
                              </a:lnTo>
                              <a:lnTo>
                                <a:pt x="400" y="882"/>
                              </a:lnTo>
                              <a:lnTo>
                                <a:pt x="401" y="882"/>
                              </a:lnTo>
                              <a:lnTo>
                                <a:pt x="401" y="882"/>
                              </a:lnTo>
                              <a:lnTo>
                                <a:pt x="424" y="920"/>
                              </a:lnTo>
                              <a:lnTo>
                                <a:pt x="465" y="945"/>
                              </a:lnTo>
                              <a:lnTo>
                                <a:pt x="506" y="949"/>
                              </a:lnTo>
                              <a:lnTo>
                                <a:pt x="540" y="924"/>
                              </a:lnTo>
                              <a:lnTo>
                                <a:pt x="541" y="923"/>
                              </a:lnTo>
                              <a:lnTo>
                                <a:pt x="542" y="925"/>
                              </a:lnTo>
                              <a:lnTo>
                                <a:pt x="573" y="953"/>
                              </a:lnTo>
                              <a:lnTo>
                                <a:pt x="604" y="952"/>
                              </a:lnTo>
                              <a:lnTo>
                                <a:pt x="605" y="952"/>
                              </a:lnTo>
                              <a:lnTo>
                                <a:pt x="606" y="953"/>
                              </a:lnTo>
                              <a:lnTo>
                                <a:pt x="630" y="988"/>
                              </a:lnTo>
                              <a:lnTo>
                                <a:pt x="642" y="989"/>
                              </a:lnTo>
                              <a:lnTo>
                                <a:pt x="642" y="989"/>
                              </a:lnTo>
                              <a:lnTo>
                                <a:pt x="643" y="989"/>
                              </a:lnTo>
                              <a:lnTo>
                                <a:pt x="665" y="1012"/>
                              </a:lnTo>
                              <a:lnTo>
                                <a:pt x="713" y="952"/>
                              </a:lnTo>
                              <a:lnTo>
                                <a:pt x="715" y="914"/>
                              </a:lnTo>
                              <a:lnTo>
                                <a:pt x="716" y="913"/>
                              </a:lnTo>
                              <a:lnTo>
                                <a:pt x="716" y="912"/>
                              </a:lnTo>
                              <a:lnTo>
                                <a:pt x="747" y="870"/>
                              </a:lnTo>
                              <a:lnTo>
                                <a:pt x="741" y="835"/>
                              </a:lnTo>
                              <a:lnTo>
                                <a:pt x="706" y="808"/>
                              </a:lnTo>
                              <a:lnTo>
                                <a:pt x="705" y="807"/>
                              </a:lnTo>
                              <a:lnTo>
                                <a:pt x="705" y="806"/>
                              </a:lnTo>
                              <a:lnTo>
                                <a:pt x="714" y="756"/>
                              </a:lnTo>
                              <a:lnTo>
                                <a:pt x="690" y="724"/>
                              </a:lnTo>
                              <a:lnTo>
                                <a:pt x="690" y="723"/>
                              </a:lnTo>
                              <a:lnTo>
                                <a:pt x="690" y="723"/>
                              </a:lnTo>
                              <a:lnTo>
                                <a:pt x="698" y="653"/>
                              </a:lnTo>
                              <a:lnTo>
                                <a:pt x="668" y="614"/>
                              </a:lnTo>
                              <a:lnTo>
                                <a:pt x="667" y="613"/>
                              </a:lnTo>
                              <a:lnTo>
                                <a:pt x="668" y="612"/>
                              </a:lnTo>
                              <a:lnTo>
                                <a:pt x="679" y="577"/>
                              </a:lnTo>
                              <a:lnTo>
                                <a:pt x="668" y="549"/>
                              </a:lnTo>
                              <a:lnTo>
                                <a:pt x="667" y="547"/>
                              </a:lnTo>
                              <a:lnTo>
                                <a:pt x="669" y="546"/>
                              </a:lnTo>
                              <a:lnTo>
                                <a:pt x="707" y="536"/>
                              </a:lnTo>
                              <a:lnTo>
                                <a:pt x="723" y="495"/>
                              </a:lnTo>
                              <a:lnTo>
                                <a:pt x="715" y="447"/>
                              </a:lnTo>
                              <a:lnTo>
                                <a:pt x="675" y="437"/>
                              </a:lnTo>
                              <a:lnTo>
                                <a:pt x="674" y="437"/>
                              </a:lnTo>
                              <a:lnTo>
                                <a:pt x="674" y="436"/>
                              </a:lnTo>
                              <a:lnTo>
                                <a:pt x="637" y="388"/>
                              </a:lnTo>
                              <a:lnTo>
                                <a:pt x="636" y="387"/>
                              </a:lnTo>
                              <a:lnTo>
                                <a:pt x="637" y="386"/>
                              </a:lnTo>
                              <a:lnTo>
                                <a:pt x="644" y="357"/>
                              </a:lnTo>
                              <a:lnTo>
                                <a:pt x="644" y="356"/>
                              </a:lnTo>
                              <a:lnTo>
                                <a:pt x="645" y="356"/>
                              </a:lnTo>
                              <a:lnTo>
                                <a:pt x="700" y="331"/>
                              </a:lnTo>
                              <a:lnTo>
                                <a:pt x="705" y="309"/>
                              </a:lnTo>
                              <a:lnTo>
                                <a:pt x="682" y="260"/>
                              </a:lnTo>
                              <a:lnTo>
                                <a:pt x="682" y="259"/>
                              </a:lnTo>
                              <a:lnTo>
                                <a:pt x="682" y="259"/>
                              </a:lnTo>
                              <a:lnTo>
                                <a:pt x="688" y="226"/>
                              </a:lnTo>
                              <a:lnTo>
                                <a:pt x="688" y="225"/>
                              </a:lnTo>
                              <a:lnTo>
                                <a:pt x="689" y="225"/>
                              </a:lnTo>
                              <a:lnTo>
                                <a:pt x="714" y="221"/>
                              </a:lnTo>
                              <a:lnTo>
                                <a:pt x="691" y="173"/>
                              </a:lnTo>
                              <a:lnTo>
                                <a:pt x="691" y="173"/>
                              </a:lnTo>
                              <a:lnTo>
                                <a:pt x="691" y="172"/>
                              </a:lnTo>
                              <a:lnTo>
                                <a:pt x="691" y="169"/>
                              </a:lnTo>
                              <a:lnTo>
                                <a:pt x="691" y="169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88" name="Freeform 199">
                          <a:extLst>
                            <a:ext uri="{FF2B5EF4-FFF2-40B4-BE49-F238E27FC236}">
                              <a16:creationId xmlns:a16="http://schemas.microsoft.com/office/drawing/2014/main" id="{D1EDF42C-983B-414A-B912-E67B3D324F6D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883777" y="2027421"/>
                          <a:ext cx="470945" cy="374499"/>
                        </a:xfrm>
                        <a:custGeom>
                          <a:avLst/>
                          <a:gdLst>
                            <a:gd name="T0" fmla="*/ 127 w 459"/>
                            <a:gd name="T1" fmla="*/ 324 h 365"/>
                            <a:gd name="T2" fmla="*/ 168 w 459"/>
                            <a:gd name="T3" fmla="*/ 365 h 365"/>
                            <a:gd name="T4" fmla="*/ 175 w 459"/>
                            <a:gd name="T5" fmla="*/ 348 h 365"/>
                            <a:gd name="T6" fmla="*/ 176 w 459"/>
                            <a:gd name="T7" fmla="*/ 348 h 365"/>
                            <a:gd name="T8" fmla="*/ 213 w 459"/>
                            <a:gd name="T9" fmla="*/ 294 h 365"/>
                            <a:gd name="T10" fmla="*/ 213 w 459"/>
                            <a:gd name="T11" fmla="*/ 293 h 365"/>
                            <a:gd name="T12" fmla="*/ 234 w 459"/>
                            <a:gd name="T13" fmla="*/ 271 h 365"/>
                            <a:gd name="T14" fmla="*/ 259 w 459"/>
                            <a:gd name="T15" fmla="*/ 276 h 365"/>
                            <a:gd name="T16" fmla="*/ 270 w 459"/>
                            <a:gd name="T17" fmla="*/ 249 h 365"/>
                            <a:gd name="T18" fmla="*/ 242 w 459"/>
                            <a:gd name="T19" fmla="*/ 223 h 365"/>
                            <a:gd name="T20" fmla="*/ 241 w 459"/>
                            <a:gd name="T21" fmla="*/ 221 h 365"/>
                            <a:gd name="T22" fmla="*/ 237 w 459"/>
                            <a:gd name="T23" fmla="*/ 209 h 365"/>
                            <a:gd name="T24" fmla="*/ 248 w 459"/>
                            <a:gd name="T25" fmla="*/ 196 h 365"/>
                            <a:gd name="T26" fmla="*/ 251 w 459"/>
                            <a:gd name="T27" fmla="*/ 165 h 365"/>
                            <a:gd name="T28" fmla="*/ 286 w 459"/>
                            <a:gd name="T29" fmla="*/ 131 h 365"/>
                            <a:gd name="T30" fmla="*/ 289 w 459"/>
                            <a:gd name="T31" fmla="*/ 131 h 365"/>
                            <a:gd name="T32" fmla="*/ 310 w 459"/>
                            <a:gd name="T33" fmla="*/ 152 h 365"/>
                            <a:gd name="T34" fmla="*/ 298 w 459"/>
                            <a:gd name="T35" fmla="*/ 168 h 365"/>
                            <a:gd name="T36" fmla="*/ 312 w 459"/>
                            <a:gd name="T37" fmla="*/ 171 h 365"/>
                            <a:gd name="T38" fmla="*/ 348 w 459"/>
                            <a:gd name="T39" fmla="*/ 196 h 365"/>
                            <a:gd name="T40" fmla="*/ 375 w 459"/>
                            <a:gd name="T41" fmla="*/ 192 h 365"/>
                            <a:gd name="T42" fmla="*/ 401 w 459"/>
                            <a:gd name="T43" fmla="*/ 207 h 365"/>
                            <a:gd name="T44" fmla="*/ 459 w 459"/>
                            <a:gd name="T45" fmla="*/ 185 h 365"/>
                            <a:gd name="T46" fmla="*/ 399 w 459"/>
                            <a:gd name="T47" fmla="*/ 140 h 365"/>
                            <a:gd name="T48" fmla="*/ 370 w 459"/>
                            <a:gd name="T49" fmla="*/ 83 h 365"/>
                            <a:gd name="T50" fmla="*/ 349 w 459"/>
                            <a:gd name="T51" fmla="*/ 35 h 365"/>
                            <a:gd name="T52" fmla="*/ 332 w 459"/>
                            <a:gd name="T53" fmla="*/ 32 h 365"/>
                            <a:gd name="T54" fmla="*/ 297 w 459"/>
                            <a:gd name="T55" fmla="*/ 17 h 365"/>
                            <a:gd name="T56" fmla="*/ 297 w 459"/>
                            <a:gd name="T57" fmla="*/ 17 h 365"/>
                            <a:gd name="T58" fmla="*/ 274 w 459"/>
                            <a:gd name="T59" fmla="*/ 14 h 365"/>
                            <a:gd name="T60" fmla="*/ 272 w 459"/>
                            <a:gd name="T61" fmla="*/ 15 h 365"/>
                            <a:gd name="T62" fmla="*/ 238 w 459"/>
                            <a:gd name="T63" fmla="*/ 22 h 365"/>
                            <a:gd name="T64" fmla="*/ 237 w 459"/>
                            <a:gd name="T65" fmla="*/ 22 h 365"/>
                            <a:gd name="T66" fmla="*/ 219 w 459"/>
                            <a:gd name="T67" fmla="*/ 32 h 365"/>
                            <a:gd name="T68" fmla="*/ 205 w 459"/>
                            <a:gd name="T69" fmla="*/ 28 h 365"/>
                            <a:gd name="T70" fmla="*/ 196 w 459"/>
                            <a:gd name="T71" fmla="*/ 36 h 365"/>
                            <a:gd name="T72" fmla="*/ 178 w 459"/>
                            <a:gd name="T73" fmla="*/ 36 h 365"/>
                            <a:gd name="T74" fmla="*/ 177 w 459"/>
                            <a:gd name="T75" fmla="*/ 36 h 365"/>
                            <a:gd name="T76" fmla="*/ 146 w 459"/>
                            <a:gd name="T77" fmla="*/ 44 h 365"/>
                            <a:gd name="T78" fmla="*/ 144 w 459"/>
                            <a:gd name="T79" fmla="*/ 45 h 365"/>
                            <a:gd name="T80" fmla="*/ 93 w 459"/>
                            <a:gd name="T81" fmla="*/ 86 h 365"/>
                            <a:gd name="T82" fmla="*/ 91 w 459"/>
                            <a:gd name="T83" fmla="*/ 87 h 365"/>
                            <a:gd name="T84" fmla="*/ 20 w 459"/>
                            <a:gd name="T85" fmla="*/ 117 h 365"/>
                            <a:gd name="T86" fmla="*/ 21 w 459"/>
                            <a:gd name="T87" fmla="*/ 150 h 365"/>
                            <a:gd name="T88" fmla="*/ 5 w 459"/>
                            <a:gd name="T89" fmla="*/ 154 h 365"/>
                            <a:gd name="T90" fmla="*/ 13 w 459"/>
                            <a:gd name="T91" fmla="*/ 208 h 365"/>
                            <a:gd name="T92" fmla="*/ 13 w 459"/>
                            <a:gd name="T93" fmla="*/ 209 h 365"/>
                            <a:gd name="T94" fmla="*/ 41 w 459"/>
                            <a:gd name="T95" fmla="*/ 235 h 365"/>
                            <a:gd name="T96" fmla="*/ 42 w 459"/>
                            <a:gd name="T97" fmla="*/ 235 h 365"/>
                            <a:gd name="T98" fmla="*/ 64 w 459"/>
                            <a:gd name="T99" fmla="*/ 256 h 365"/>
                            <a:gd name="T100" fmla="*/ 65 w 459"/>
                            <a:gd name="T101" fmla="*/ 277 h 365"/>
                            <a:gd name="T102" fmla="*/ 98 w 459"/>
                            <a:gd name="T103" fmla="*/ 305 h 365"/>
                            <a:gd name="T104" fmla="*/ 100 w 459"/>
                            <a:gd name="T105" fmla="*/ 324 h 365"/>
                            <a:gd name="T106" fmla="*/ 100 w 459"/>
                            <a:gd name="T107" fmla="*/ 324 h 36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</a:cxnLst>
                          <a:rect l="0" t="0" r="r" b="b"/>
                          <a:pathLst>
                            <a:path w="459" h="365">
                              <a:moveTo>
                                <a:pt x="100" y="324"/>
                              </a:moveTo>
                              <a:lnTo>
                                <a:pt x="127" y="324"/>
                              </a:lnTo>
                              <a:lnTo>
                                <a:pt x="150" y="362"/>
                              </a:lnTo>
                              <a:lnTo>
                                <a:pt x="168" y="365"/>
                              </a:lnTo>
                              <a:lnTo>
                                <a:pt x="169" y="365"/>
                              </a:lnTo>
                              <a:lnTo>
                                <a:pt x="175" y="348"/>
                              </a:lnTo>
                              <a:lnTo>
                                <a:pt x="175" y="348"/>
                              </a:lnTo>
                              <a:lnTo>
                                <a:pt x="176" y="348"/>
                              </a:lnTo>
                              <a:lnTo>
                                <a:pt x="208" y="318"/>
                              </a:lnTo>
                              <a:lnTo>
                                <a:pt x="213" y="294"/>
                              </a:lnTo>
                              <a:lnTo>
                                <a:pt x="213" y="294"/>
                              </a:lnTo>
                              <a:lnTo>
                                <a:pt x="213" y="293"/>
                              </a:lnTo>
                              <a:lnTo>
                                <a:pt x="233" y="272"/>
                              </a:lnTo>
                              <a:lnTo>
                                <a:pt x="234" y="271"/>
                              </a:lnTo>
                              <a:lnTo>
                                <a:pt x="235" y="271"/>
                              </a:lnTo>
                              <a:lnTo>
                                <a:pt x="259" y="276"/>
                              </a:lnTo>
                              <a:lnTo>
                                <a:pt x="266" y="266"/>
                              </a:lnTo>
                              <a:lnTo>
                                <a:pt x="270" y="249"/>
                              </a:lnTo>
                              <a:lnTo>
                                <a:pt x="263" y="230"/>
                              </a:lnTo>
                              <a:lnTo>
                                <a:pt x="242" y="223"/>
                              </a:lnTo>
                              <a:lnTo>
                                <a:pt x="241" y="222"/>
                              </a:lnTo>
                              <a:lnTo>
                                <a:pt x="241" y="221"/>
                              </a:lnTo>
                              <a:lnTo>
                                <a:pt x="238" y="210"/>
                              </a:lnTo>
                              <a:lnTo>
                                <a:pt x="237" y="209"/>
                              </a:lnTo>
                              <a:lnTo>
                                <a:pt x="238" y="208"/>
                              </a:lnTo>
                              <a:lnTo>
                                <a:pt x="248" y="196"/>
                              </a:lnTo>
                              <a:lnTo>
                                <a:pt x="251" y="166"/>
                              </a:lnTo>
                              <a:lnTo>
                                <a:pt x="251" y="165"/>
                              </a:lnTo>
                              <a:lnTo>
                                <a:pt x="251" y="165"/>
                              </a:lnTo>
                              <a:lnTo>
                                <a:pt x="286" y="131"/>
                              </a:lnTo>
                              <a:lnTo>
                                <a:pt x="288" y="130"/>
                              </a:lnTo>
                              <a:lnTo>
                                <a:pt x="289" y="131"/>
                              </a:lnTo>
                              <a:lnTo>
                                <a:pt x="309" y="151"/>
                              </a:lnTo>
                              <a:lnTo>
                                <a:pt x="310" y="152"/>
                              </a:lnTo>
                              <a:lnTo>
                                <a:pt x="309" y="153"/>
                              </a:lnTo>
                              <a:lnTo>
                                <a:pt x="298" y="168"/>
                              </a:lnTo>
                              <a:lnTo>
                                <a:pt x="312" y="170"/>
                              </a:lnTo>
                              <a:lnTo>
                                <a:pt x="312" y="171"/>
                              </a:lnTo>
                              <a:lnTo>
                                <a:pt x="312" y="171"/>
                              </a:lnTo>
                              <a:lnTo>
                                <a:pt x="348" y="196"/>
                              </a:lnTo>
                              <a:lnTo>
                                <a:pt x="375" y="192"/>
                              </a:lnTo>
                              <a:lnTo>
                                <a:pt x="375" y="192"/>
                              </a:lnTo>
                              <a:lnTo>
                                <a:pt x="376" y="192"/>
                              </a:lnTo>
                              <a:lnTo>
                                <a:pt x="401" y="207"/>
                              </a:lnTo>
                              <a:lnTo>
                                <a:pt x="426" y="208"/>
                              </a:lnTo>
                              <a:lnTo>
                                <a:pt x="459" y="185"/>
                              </a:lnTo>
                              <a:lnTo>
                                <a:pt x="400" y="140"/>
                              </a:lnTo>
                              <a:lnTo>
                                <a:pt x="399" y="140"/>
                              </a:lnTo>
                              <a:lnTo>
                                <a:pt x="399" y="140"/>
                              </a:lnTo>
                              <a:lnTo>
                                <a:pt x="370" y="83"/>
                              </a:lnTo>
                              <a:lnTo>
                                <a:pt x="370" y="83"/>
                              </a:lnTo>
                              <a:lnTo>
                                <a:pt x="349" y="35"/>
                              </a:lnTo>
                              <a:lnTo>
                                <a:pt x="333" y="32"/>
                              </a:lnTo>
                              <a:lnTo>
                                <a:pt x="332" y="32"/>
                              </a:lnTo>
                              <a:lnTo>
                                <a:pt x="332" y="32"/>
                              </a:lnTo>
                              <a:lnTo>
                                <a:pt x="297" y="17"/>
                              </a:lnTo>
                              <a:lnTo>
                                <a:pt x="297" y="17"/>
                              </a:lnTo>
                              <a:lnTo>
                                <a:pt x="297" y="17"/>
                              </a:lnTo>
                              <a:lnTo>
                                <a:pt x="279" y="0"/>
                              </a:lnTo>
                              <a:lnTo>
                                <a:pt x="274" y="14"/>
                              </a:lnTo>
                              <a:lnTo>
                                <a:pt x="274" y="15"/>
                              </a:lnTo>
                              <a:lnTo>
                                <a:pt x="272" y="15"/>
                              </a:lnTo>
                              <a:lnTo>
                                <a:pt x="245" y="14"/>
                              </a:lnTo>
                              <a:lnTo>
                                <a:pt x="238" y="22"/>
                              </a:lnTo>
                              <a:lnTo>
                                <a:pt x="238" y="22"/>
                              </a:lnTo>
                              <a:lnTo>
                                <a:pt x="237" y="22"/>
                              </a:lnTo>
                              <a:lnTo>
                                <a:pt x="220" y="31"/>
                              </a:lnTo>
                              <a:lnTo>
                                <a:pt x="219" y="32"/>
                              </a:lnTo>
                              <a:lnTo>
                                <a:pt x="219" y="32"/>
                              </a:lnTo>
                              <a:lnTo>
                                <a:pt x="205" y="28"/>
                              </a:lnTo>
                              <a:lnTo>
                                <a:pt x="197" y="35"/>
                              </a:lnTo>
                              <a:lnTo>
                                <a:pt x="196" y="36"/>
                              </a:lnTo>
                              <a:lnTo>
                                <a:pt x="195" y="36"/>
                              </a:lnTo>
                              <a:lnTo>
                                <a:pt x="178" y="36"/>
                              </a:lnTo>
                              <a:lnTo>
                                <a:pt x="177" y="36"/>
                              </a:lnTo>
                              <a:lnTo>
                                <a:pt x="177" y="36"/>
                              </a:lnTo>
                              <a:lnTo>
                                <a:pt x="155" y="26"/>
                              </a:lnTo>
                              <a:lnTo>
                                <a:pt x="146" y="44"/>
                              </a:lnTo>
                              <a:lnTo>
                                <a:pt x="145" y="45"/>
                              </a:lnTo>
                              <a:lnTo>
                                <a:pt x="144" y="45"/>
                              </a:lnTo>
                              <a:lnTo>
                                <a:pt x="113" y="51"/>
                              </a:lnTo>
                              <a:lnTo>
                                <a:pt x="93" y="86"/>
                              </a:lnTo>
                              <a:lnTo>
                                <a:pt x="93" y="87"/>
                              </a:lnTo>
                              <a:lnTo>
                                <a:pt x="91" y="87"/>
                              </a:lnTo>
                              <a:lnTo>
                                <a:pt x="36" y="85"/>
                              </a:lnTo>
                              <a:lnTo>
                                <a:pt x="20" y="117"/>
                              </a:lnTo>
                              <a:lnTo>
                                <a:pt x="21" y="148"/>
                              </a:lnTo>
                              <a:lnTo>
                                <a:pt x="21" y="150"/>
                              </a:lnTo>
                              <a:lnTo>
                                <a:pt x="20" y="150"/>
                              </a:lnTo>
                              <a:lnTo>
                                <a:pt x="5" y="154"/>
                              </a:lnTo>
                              <a:lnTo>
                                <a:pt x="0" y="179"/>
                              </a:lnTo>
                              <a:lnTo>
                                <a:pt x="13" y="208"/>
                              </a:lnTo>
                              <a:lnTo>
                                <a:pt x="13" y="209"/>
                              </a:lnTo>
                              <a:lnTo>
                                <a:pt x="13" y="209"/>
                              </a:lnTo>
                              <a:lnTo>
                                <a:pt x="18" y="228"/>
                              </a:lnTo>
                              <a:lnTo>
                                <a:pt x="41" y="235"/>
                              </a:lnTo>
                              <a:lnTo>
                                <a:pt x="42" y="235"/>
                              </a:lnTo>
                              <a:lnTo>
                                <a:pt x="42" y="235"/>
                              </a:lnTo>
                              <a:lnTo>
                                <a:pt x="64" y="255"/>
                              </a:lnTo>
                              <a:lnTo>
                                <a:pt x="64" y="256"/>
                              </a:lnTo>
                              <a:lnTo>
                                <a:pt x="64" y="256"/>
                              </a:lnTo>
                              <a:lnTo>
                                <a:pt x="65" y="277"/>
                              </a:lnTo>
                              <a:lnTo>
                                <a:pt x="97" y="305"/>
                              </a:lnTo>
                              <a:lnTo>
                                <a:pt x="98" y="305"/>
                              </a:lnTo>
                              <a:lnTo>
                                <a:pt x="98" y="306"/>
                              </a:lnTo>
                              <a:lnTo>
                                <a:pt x="100" y="324"/>
                              </a:lnTo>
                              <a:lnTo>
                                <a:pt x="100" y="324"/>
                              </a:lnTo>
                              <a:lnTo>
                                <a:pt x="100" y="324"/>
                              </a:lnTo>
                              <a:lnTo>
                                <a:pt x="100" y="324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89" name="Freeform 200">
                          <a:extLst>
                            <a:ext uri="{FF2B5EF4-FFF2-40B4-BE49-F238E27FC236}">
                              <a16:creationId xmlns:a16="http://schemas.microsoft.com/office/drawing/2014/main" id="{B64B84C1-C212-42A8-979C-80903902A820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689859" y="2148492"/>
                          <a:ext cx="292417" cy="228803"/>
                        </a:xfrm>
                        <a:custGeom>
                          <a:avLst/>
                          <a:gdLst>
                            <a:gd name="T0" fmla="*/ 25 w 285"/>
                            <a:gd name="T1" fmla="*/ 172 h 223"/>
                            <a:gd name="T2" fmla="*/ 80 w 285"/>
                            <a:gd name="T3" fmla="*/ 185 h 223"/>
                            <a:gd name="T4" fmla="*/ 112 w 285"/>
                            <a:gd name="T5" fmla="*/ 205 h 223"/>
                            <a:gd name="T6" fmla="*/ 131 w 285"/>
                            <a:gd name="T7" fmla="*/ 190 h 223"/>
                            <a:gd name="T8" fmla="*/ 159 w 285"/>
                            <a:gd name="T9" fmla="*/ 205 h 223"/>
                            <a:gd name="T10" fmla="*/ 251 w 285"/>
                            <a:gd name="T11" fmla="*/ 223 h 223"/>
                            <a:gd name="T12" fmla="*/ 285 w 285"/>
                            <a:gd name="T13" fmla="*/ 207 h 223"/>
                            <a:gd name="T14" fmla="*/ 285 w 285"/>
                            <a:gd name="T15" fmla="*/ 206 h 223"/>
                            <a:gd name="T16" fmla="*/ 283 w 285"/>
                            <a:gd name="T17" fmla="*/ 189 h 223"/>
                            <a:gd name="T18" fmla="*/ 251 w 285"/>
                            <a:gd name="T19" fmla="*/ 161 h 223"/>
                            <a:gd name="T20" fmla="*/ 251 w 285"/>
                            <a:gd name="T21" fmla="*/ 161 h 223"/>
                            <a:gd name="T22" fmla="*/ 251 w 285"/>
                            <a:gd name="T23" fmla="*/ 160 h 223"/>
                            <a:gd name="T24" fmla="*/ 250 w 285"/>
                            <a:gd name="T25" fmla="*/ 139 h 223"/>
                            <a:gd name="T26" fmla="*/ 229 w 285"/>
                            <a:gd name="T27" fmla="*/ 121 h 223"/>
                            <a:gd name="T28" fmla="*/ 205 w 285"/>
                            <a:gd name="T29" fmla="*/ 113 h 223"/>
                            <a:gd name="T30" fmla="*/ 204 w 285"/>
                            <a:gd name="T31" fmla="*/ 113 h 223"/>
                            <a:gd name="T32" fmla="*/ 204 w 285"/>
                            <a:gd name="T33" fmla="*/ 112 h 223"/>
                            <a:gd name="T34" fmla="*/ 198 w 285"/>
                            <a:gd name="T35" fmla="*/ 92 h 223"/>
                            <a:gd name="T36" fmla="*/ 185 w 285"/>
                            <a:gd name="T37" fmla="*/ 62 h 223"/>
                            <a:gd name="T38" fmla="*/ 185 w 285"/>
                            <a:gd name="T39" fmla="*/ 62 h 223"/>
                            <a:gd name="T40" fmla="*/ 185 w 285"/>
                            <a:gd name="T41" fmla="*/ 61 h 223"/>
                            <a:gd name="T42" fmla="*/ 190 w 285"/>
                            <a:gd name="T43" fmla="*/ 36 h 223"/>
                            <a:gd name="T44" fmla="*/ 164 w 285"/>
                            <a:gd name="T45" fmla="*/ 23 h 223"/>
                            <a:gd name="T46" fmla="*/ 144 w 285"/>
                            <a:gd name="T47" fmla="*/ 33 h 223"/>
                            <a:gd name="T48" fmla="*/ 143 w 285"/>
                            <a:gd name="T49" fmla="*/ 33 h 223"/>
                            <a:gd name="T50" fmla="*/ 142 w 285"/>
                            <a:gd name="T51" fmla="*/ 33 h 223"/>
                            <a:gd name="T52" fmla="*/ 126 w 285"/>
                            <a:gd name="T53" fmla="*/ 12 h 223"/>
                            <a:gd name="T54" fmla="*/ 92 w 285"/>
                            <a:gd name="T55" fmla="*/ 0 h 223"/>
                            <a:gd name="T56" fmla="*/ 53 w 285"/>
                            <a:gd name="T57" fmla="*/ 12 h 223"/>
                            <a:gd name="T58" fmla="*/ 55 w 285"/>
                            <a:gd name="T59" fmla="*/ 23 h 223"/>
                            <a:gd name="T60" fmla="*/ 55 w 285"/>
                            <a:gd name="T61" fmla="*/ 23 h 223"/>
                            <a:gd name="T62" fmla="*/ 55 w 285"/>
                            <a:gd name="T63" fmla="*/ 23 h 223"/>
                            <a:gd name="T64" fmla="*/ 55 w 285"/>
                            <a:gd name="T65" fmla="*/ 58 h 223"/>
                            <a:gd name="T66" fmla="*/ 55 w 285"/>
                            <a:gd name="T67" fmla="*/ 59 h 223"/>
                            <a:gd name="T68" fmla="*/ 54 w 285"/>
                            <a:gd name="T69" fmla="*/ 60 h 223"/>
                            <a:gd name="T70" fmla="*/ 1 w 285"/>
                            <a:gd name="T71" fmla="*/ 100 h 223"/>
                            <a:gd name="T72" fmla="*/ 0 w 285"/>
                            <a:gd name="T73" fmla="*/ 119 h 223"/>
                            <a:gd name="T74" fmla="*/ 40 w 285"/>
                            <a:gd name="T75" fmla="*/ 142 h 223"/>
                            <a:gd name="T76" fmla="*/ 41 w 285"/>
                            <a:gd name="T77" fmla="*/ 143 h 223"/>
                            <a:gd name="T78" fmla="*/ 40 w 285"/>
                            <a:gd name="T79" fmla="*/ 145 h 223"/>
                            <a:gd name="T80" fmla="*/ 25 w 285"/>
                            <a:gd name="T81" fmla="*/ 172 h 223"/>
                            <a:gd name="T82" fmla="*/ 25 w 285"/>
                            <a:gd name="T83" fmla="*/ 172 h 22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</a:cxnLst>
                          <a:rect l="0" t="0" r="r" b="b"/>
                          <a:pathLst>
                            <a:path w="285" h="223">
                              <a:moveTo>
                                <a:pt x="25" y="172"/>
                              </a:moveTo>
                              <a:lnTo>
                                <a:pt x="80" y="185"/>
                              </a:lnTo>
                              <a:lnTo>
                                <a:pt x="112" y="205"/>
                              </a:lnTo>
                              <a:lnTo>
                                <a:pt x="131" y="190"/>
                              </a:lnTo>
                              <a:lnTo>
                                <a:pt x="159" y="205"/>
                              </a:lnTo>
                              <a:lnTo>
                                <a:pt x="251" y="223"/>
                              </a:lnTo>
                              <a:lnTo>
                                <a:pt x="285" y="207"/>
                              </a:lnTo>
                              <a:lnTo>
                                <a:pt x="285" y="206"/>
                              </a:lnTo>
                              <a:lnTo>
                                <a:pt x="283" y="189"/>
                              </a:lnTo>
                              <a:lnTo>
                                <a:pt x="251" y="161"/>
                              </a:lnTo>
                              <a:lnTo>
                                <a:pt x="251" y="161"/>
                              </a:lnTo>
                              <a:lnTo>
                                <a:pt x="251" y="160"/>
                              </a:lnTo>
                              <a:lnTo>
                                <a:pt x="250" y="139"/>
                              </a:lnTo>
                              <a:lnTo>
                                <a:pt x="229" y="121"/>
                              </a:lnTo>
                              <a:lnTo>
                                <a:pt x="205" y="113"/>
                              </a:lnTo>
                              <a:lnTo>
                                <a:pt x="204" y="113"/>
                              </a:lnTo>
                              <a:lnTo>
                                <a:pt x="204" y="112"/>
                              </a:lnTo>
                              <a:lnTo>
                                <a:pt x="198" y="92"/>
                              </a:lnTo>
                              <a:lnTo>
                                <a:pt x="185" y="62"/>
                              </a:lnTo>
                              <a:lnTo>
                                <a:pt x="185" y="62"/>
                              </a:lnTo>
                              <a:lnTo>
                                <a:pt x="185" y="61"/>
                              </a:lnTo>
                              <a:lnTo>
                                <a:pt x="190" y="36"/>
                              </a:lnTo>
                              <a:lnTo>
                                <a:pt x="164" y="23"/>
                              </a:lnTo>
                              <a:lnTo>
                                <a:pt x="144" y="33"/>
                              </a:lnTo>
                              <a:lnTo>
                                <a:pt x="143" y="33"/>
                              </a:lnTo>
                              <a:lnTo>
                                <a:pt x="142" y="33"/>
                              </a:lnTo>
                              <a:lnTo>
                                <a:pt x="126" y="12"/>
                              </a:lnTo>
                              <a:lnTo>
                                <a:pt x="92" y="0"/>
                              </a:lnTo>
                              <a:lnTo>
                                <a:pt x="53" y="12"/>
                              </a:lnTo>
                              <a:lnTo>
                                <a:pt x="55" y="23"/>
                              </a:lnTo>
                              <a:lnTo>
                                <a:pt x="55" y="23"/>
                              </a:lnTo>
                              <a:lnTo>
                                <a:pt x="55" y="23"/>
                              </a:lnTo>
                              <a:lnTo>
                                <a:pt x="55" y="58"/>
                              </a:lnTo>
                              <a:lnTo>
                                <a:pt x="55" y="59"/>
                              </a:lnTo>
                              <a:lnTo>
                                <a:pt x="54" y="60"/>
                              </a:lnTo>
                              <a:lnTo>
                                <a:pt x="1" y="100"/>
                              </a:lnTo>
                              <a:lnTo>
                                <a:pt x="0" y="119"/>
                              </a:lnTo>
                              <a:lnTo>
                                <a:pt x="40" y="142"/>
                              </a:lnTo>
                              <a:lnTo>
                                <a:pt x="41" y="143"/>
                              </a:lnTo>
                              <a:lnTo>
                                <a:pt x="40" y="145"/>
                              </a:lnTo>
                              <a:lnTo>
                                <a:pt x="25" y="172"/>
                              </a:lnTo>
                              <a:lnTo>
                                <a:pt x="25" y="172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90" name="Freeform 201">
                          <a:extLst>
                            <a:ext uri="{FF2B5EF4-FFF2-40B4-BE49-F238E27FC236}">
                              <a16:creationId xmlns:a16="http://schemas.microsoft.com/office/drawing/2014/main" id="{6A4D0BE3-7714-4751-8230-C85A14FC4085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455926" y="2085904"/>
                          <a:ext cx="287286" cy="338587"/>
                        </a:xfrm>
                        <a:custGeom>
                          <a:avLst/>
                          <a:gdLst>
                            <a:gd name="T0" fmla="*/ 46 w 280"/>
                            <a:gd name="T1" fmla="*/ 315 h 330"/>
                            <a:gd name="T2" fmla="*/ 86 w 280"/>
                            <a:gd name="T3" fmla="*/ 286 h 330"/>
                            <a:gd name="T4" fmla="*/ 123 w 280"/>
                            <a:gd name="T5" fmla="*/ 277 h 330"/>
                            <a:gd name="T6" fmla="*/ 159 w 280"/>
                            <a:gd name="T7" fmla="*/ 282 h 330"/>
                            <a:gd name="T8" fmla="*/ 135 w 280"/>
                            <a:gd name="T9" fmla="*/ 227 h 330"/>
                            <a:gd name="T10" fmla="*/ 170 w 280"/>
                            <a:gd name="T11" fmla="*/ 202 h 330"/>
                            <a:gd name="T12" fmla="*/ 249 w 280"/>
                            <a:gd name="T13" fmla="*/ 233 h 330"/>
                            <a:gd name="T14" fmla="*/ 249 w 280"/>
                            <a:gd name="T15" fmla="*/ 232 h 330"/>
                            <a:gd name="T16" fmla="*/ 264 w 280"/>
                            <a:gd name="T17" fmla="*/ 206 h 330"/>
                            <a:gd name="T18" fmla="*/ 224 w 280"/>
                            <a:gd name="T19" fmla="*/ 182 h 330"/>
                            <a:gd name="T20" fmla="*/ 225 w 280"/>
                            <a:gd name="T21" fmla="*/ 159 h 330"/>
                            <a:gd name="T22" fmla="*/ 226 w 280"/>
                            <a:gd name="T23" fmla="*/ 158 h 330"/>
                            <a:gd name="T24" fmla="*/ 280 w 280"/>
                            <a:gd name="T25" fmla="*/ 84 h 330"/>
                            <a:gd name="T26" fmla="*/ 261 w 280"/>
                            <a:gd name="T27" fmla="*/ 46 h 330"/>
                            <a:gd name="T28" fmla="*/ 253 w 280"/>
                            <a:gd name="T29" fmla="*/ 52 h 330"/>
                            <a:gd name="T30" fmla="*/ 238 w 280"/>
                            <a:gd name="T31" fmla="*/ 48 h 330"/>
                            <a:gd name="T32" fmla="*/ 238 w 280"/>
                            <a:gd name="T33" fmla="*/ 48 h 330"/>
                            <a:gd name="T34" fmla="*/ 171 w 280"/>
                            <a:gd name="T35" fmla="*/ 2 h 330"/>
                            <a:gd name="T36" fmla="*/ 169 w 280"/>
                            <a:gd name="T37" fmla="*/ 21 h 330"/>
                            <a:gd name="T38" fmla="*/ 157 w 280"/>
                            <a:gd name="T39" fmla="*/ 43 h 330"/>
                            <a:gd name="T40" fmla="*/ 170 w 280"/>
                            <a:gd name="T41" fmla="*/ 70 h 330"/>
                            <a:gd name="T42" fmla="*/ 170 w 280"/>
                            <a:gd name="T43" fmla="*/ 72 h 330"/>
                            <a:gd name="T44" fmla="*/ 163 w 280"/>
                            <a:gd name="T45" fmla="*/ 86 h 330"/>
                            <a:gd name="T46" fmla="*/ 152 w 280"/>
                            <a:gd name="T47" fmla="*/ 93 h 330"/>
                            <a:gd name="T48" fmla="*/ 150 w 280"/>
                            <a:gd name="T49" fmla="*/ 92 h 330"/>
                            <a:gd name="T50" fmla="*/ 123 w 280"/>
                            <a:gd name="T51" fmla="*/ 68 h 330"/>
                            <a:gd name="T52" fmla="*/ 99 w 280"/>
                            <a:gd name="T53" fmla="*/ 73 h 330"/>
                            <a:gd name="T54" fmla="*/ 96 w 280"/>
                            <a:gd name="T55" fmla="*/ 73 h 330"/>
                            <a:gd name="T56" fmla="*/ 85 w 280"/>
                            <a:gd name="T57" fmla="*/ 63 h 330"/>
                            <a:gd name="T58" fmla="*/ 84 w 280"/>
                            <a:gd name="T59" fmla="*/ 38 h 330"/>
                            <a:gd name="T60" fmla="*/ 61 w 280"/>
                            <a:gd name="T61" fmla="*/ 24 h 330"/>
                            <a:gd name="T62" fmla="*/ 32 w 280"/>
                            <a:gd name="T63" fmla="*/ 55 h 330"/>
                            <a:gd name="T64" fmla="*/ 56 w 280"/>
                            <a:gd name="T65" fmla="*/ 94 h 330"/>
                            <a:gd name="T66" fmla="*/ 120 w 280"/>
                            <a:gd name="T67" fmla="*/ 105 h 330"/>
                            <a:gd name="T68" fmla="*/ 128 w 280"/>
                            <a:gd name="T69" fmla="*/ 101 h 330"/>
                            <a:gd name="T70" fmla="*/ 130 w 280"/>
                            <a:gd name="T71" fmla="*/ 102 h 330"/>
                            <a:gd name="T72" fmla="*/ 147 w 280"/>
                            <a:gd name="T73" fmla="*/ 118 h 330"/>
                            <a:gd name="T74" fmla="*/ 134 w 280"/>
                            <a:gd name="T75" fmla="*/ 128 h 330"/>
                            <a:gd name="T76" fmla="*/ 134 w 280"/>
                            <a:gd name="T77" fmla="*/ 129 h 330"/>
                            <a:gd name="T78" fmla="*/ 112 w 280"/>
                            <a:gd name="T79" fmla="*/ 155 h 330"/>
                            <a:gd name="T80" fmla="*/ 110 w 280"/>
                            <a:gd name="T81" fmla="*/ 157 h 330"/>
                            <a:gd name="T82" fmla="*/ 100 w 280"/>
                            <a:gd name="T83" fmla="*/ 157 h 330"/>
                            <a:gd name="T84" fmla="*/ 83 w 280"/>
                            <a:gd name="T85" fmla="*/ 148 h 330"/>
                            <a:gd name="T86" fmla="*/ 33 w 280"/>
                            <a:gd name="T87" fmla="*/ 198 h 330"/>
                            <a:gd name="T88" fmla="*/ 30 w 280"/>
                            <a:gd name="T89" fmla="*/ 220 h 330"/>
                            <a:gd name="T90" fmla="*/ 5 w 280"/>
                            <a:gd name="T91" fmla="*/ 226 h 330"/>
                            <a:gd name="T92" fmla="*/ 3 w 280"/>
                            <a:gd name="T93" fmla="*/ 241 h 330"/>
                            <a:gd name="T94" fmla="*/ 39 w 280"/>
                            <a:gd name="T95" fmla="*/ 270 h 330"/>
                            <a:gd name="T96" fmla="*/ 40 w 280"/>
                            <a:gd name="T97" fmla="*/ 271 h 330"/>
                            <a:gd name="T98" fmla="*/ 49 w 280"/>
                            <a:gd name="T99" fmla="*/ 289 h 330"/>
                            <a:gd name="T100" fmla="*/ 44 w 280"/>
                            <a:gd name="T101" fmla="*/ 302 h 330"/>
                            <a:gd name="T102" fmla="*/ 44 w 280"/>
                            <a:gd name="T103" fmla="*/ 303 h 330"/>
                            <a:gd name="T104" fmla="*/ 34 w 280"/>
                            <a:gd name="T105" fmla="*/ 330 h 33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</a:cxnLst>
                          <a:rect l="0" t="0" r="r" b="b"/>
                          <a:pathLst>
                            <a:path w="280" h="330">
                              <a:moveTo>
                                <a:pt x="34" y="330"/>
                              </a:moveTo>
                              <a:lnTo>
                                <a:pt x="46" y="315"/>
                              </a:lnTo>
                              <a:lnTo>
                                <a:pt x="83" y="312"/>
                              </a:lnTo>
                              <a:lnTo>
                                <a:pt x="86" y="286"/>
                              </a:lnTo>
                              <a:lnTo>
                                <a:pt x="104" y="276"/>
                              </a:lnTo>
                              <a:lnTo>
                                <a:pt x="123" y="277"/>
                              </a:lnTo>
                              <a:lnTo>
                                <a:pt x="145" y="295"/>
                              </a:lnTo>
                              <a:lnTo>
                                <a:pt x="159" y="282"/>
                              </a:lnTo>
                              <a:lnTo>
                                <a:pt x="143" y="254"/>
                              </a:lnTo>
                              <a:lnTo>
                                <a:pt x="135" y="227"/>
                              </a:lnTo>
                              <a:lnTo>
                                <a:pt x="153" y="207"/>
                              </a:lnTo>
                              <a:lnTo>
                                <a:pt x="170" y="202"/>
                              </a:lnTo>
                              <a:lnTo>
                                <a:pt x="196" y="229"/>
                              </a:lnTo>
                              <a:lnTo>
                                <a:pt x="249" y="233"/>
                              </a:lnTo>
                              <a:lnTo>
                                <a:pt x="249" y="232"/>
                              </a:lnTo>
                              <a:lnTo>
                                <a:pt x="249" y="232"/>
                              </a:lnTo>
                              <a:lnTo>
                                <a:pt x="249" y="232"/>
                              </a:lnTo>
                              <a:lnTo>
                                <a:pt x="264" y="206"/>
                              </a:lnTo>
                              <a:lnTo>
                                <a:pt x="225" y="182"/>
                              </a:lnTo>
                              <a:lnTo>
                                <a:pt x="224" y="182"/>
                              </a:lnTo>
                              <a:lnTo>
                                <a:pt x="224" y="180"/>
                              </a:lnTo>
                              <a:lnTo>
                                <a:pt x="225" y="159"/>
                              </a:lnTo>
                              <a:lnTo>
                                <a:pt x="225" y="158"/>
                              </a:lnTo>
                              <a:lnTo>
                                <a:pt x="226" y="158"/>
                              </a:lnTo>
                              <a:lnTo>
                                <a:pt x="279" y="118"/>
                              </a:lnTo>
                              <a:lnTo>
                                <a:pt x="280" y="84"/>
                              </a:lnTo>
                              <a:lnTo>
                                <a:pt x="275" y="60"/>
                              </a:lnTo>
                              <a:lnTo>
                                <a:pt x="261" y="46"/>
                              </a:lnTo>
                              <a:lnTo>
                                <a:pt x="253" y="51"/>
                              </a:lnTo>
                              <a:lnTo>
                                <a:pt x="253" y="52"/>
                              </a:lnTo>
                              <a:lnTo>
                                <a:pt x="252" y="51"/>
                              </a:lnTo>
                              <a:lnTo>
                                <a:pt x="238" y="48"/>
                              </a:lnTo>
                              <a:lnTo>
                                <a:pt x="238" y="48"/>
                              </a:lnTo>
                              <a:lnTo>
                                <a:pt x="238" y="48"/>
                              </a:lnTo>
                              <a:lnTo>
                                <a:pt x="181" y="0"/>
                              </a:lnTo>
                              <a:lnTo>
                                <a:pt x="171" y="2"/>
                              </a:lnTo>
                              <a:lnTo>
                                <a:pt x="169" y="21"/>
                              </a:lnTo>
                              <a:lnTo>
                                <a:pt x="169" y="21"/>
                              </a:lnTo>
                              <a:lnTo>
                                <a:pt x="169" y="21"/>
                              </a:lnTo>
                              <a:lnTo>
                                <a:pt x="157" y="43"/>
                              </a:lnTo>
                              <a:lnTo>
                                <a:pt x="158" y="54"/>
                              </a:lnTo>
                              <a:lnTo>
                                <a:pt x="170" y="70"/>
                              </a:lnTo>
                              <a:lnTo>
                                <a:pt x="171" y="71"/>
                              </a:lnTo>
                              <a:lnTo>
                                <a:pt x="170" y="72"/>
                              </a:lnTo>
                              <a:lnTo>
                                <a:pt x="164" y="86"/>
                              </a:lnTo>
                              <a:lnTo>
                                <a:pt x="163" y="86"/>
                              </a:lnTo>
                              <a:lnTo>
                                <a:pt x="163" y="87"/>
                              </a:lnTo>
                              <a:lnTo>
                                <a:pt x="152" y="93"/>
                              </a:lnTo>
                              <a:lnTo>
                                <a:pt x="151" y="93"/>
                              </a:lnTo>
                              <a:lnTo>
                                <a:pt x="150" y="92"/>
                              </a:lnTo>
                              <a:lnTo>
                                <a:pt x="130" y="73"/>
                              </a:lnTo>
                              <a:lnTo>
                                <a:pt x="123" y="68"/>
                              </a:lnTo>
                              <a:lnTo>
                                <a:pt x="112" y="67"/>
                              </a:lnTo>
                              <a:lnTo>
                                <a:pt x="99" y="73"/>
                              </a:lnTo>
                              <a:lnTo>
                                <a:pt x="97" y="74"/>
                              </a:lnTo>
                              <a:lnTo>
                                <a:pt x="96" y="73"/>
                              </a:lnTo>
                              <a:lnTo>
                                <a:pt x="85" y="64"/>
                              </a:lnTo>
                              <a:lnTo>
                                <a:pt x="85" y="63"/>
                              </a:lnTo>
                              <a:lnTo>
                                <a:pt x="85" y="62"/>
                              </a:lnTo>
                              <a:lnTo>
                                <a:pt x="84" y="38"/>
                              </a:lnTo>
                              <a:lnTo>
                                <a:pt x="74" y="25"/>
                              </a:lnTo>
                              <a:lnTo>
                                <a:pt x="61" y="24"/>
                              </a:lnTo>
                              <a:lnTo>
                                <a:pt x="38" y="38"/>
                              </a:lnTo>
                              <a:lnTo>
                                <a:pt x="32" y="55"/>
                              </a:lnTo>
                              <a:lnTo>
                                <a:pt x="45" y="85"/>
                              </a:lnTo>
                              <a:lnTo>
                                <a:pt x="56" y="94"/>
                              </a:lnTo>
                              <a:lnTo>
                                <a:pt x="108" y="111"/>
                              </a:lnTo>
                              <a:lnTo>
                                <a:pt x="120" y="105"/>
                              </a:lnTo>
                              <a:lnTo>
                                <a:pt x="120" y="105"/>
                              </a:lnTo>
                              <a:lnTo>
                                <a:pt x="128" y="101"/>
                              </a:lnTo>
                              <a:lnTo>
                                <a:pt x="129" y="101"/>
                              </a:lnTo>
                              <a:lnTo>
                                <a:pt x="130" y="102"/>
                              </a:lnTo>
                              <a:lnTo>
                                <a:pt x="145" y="117"/>
                              </a:lnTo>
                              <a:lnTo>
                                <a:pt x="147" y="118"/>
                              </a:lnTo>
                              <a:lnTo>
                                <a:pt x="145" y="120"/>
                              </a:lnTo>
                              <a:lnTo>
                                <a:pt x="134" y="128"/>
                              </a:lnTo>
                              <a:lnTo>
                                <a:pt x="134" y="129"/>
                              </a:lnTo>
                              <a:lnTo>
                                <a:pt x="134" y="129"/>
                              </a:lnTo>
                              <a:lnTo>
                                <a:pt x="118" y="134"/>
                              </a:lnTo>
                              <a:lnTo>
                                <a:pt x="112" y="155"/>
                              </a:lnTo>
                              <a:lnTo>
                                <a:pt x="111" y="157"/>
                              </a:lnTo>
                              <a:lnTo>
                                <a:pt x="110" y="157"/>
                              </a:lnTo>
                              <a:lnTo>
                                <a:pt x="100" y="157"/>
                              </a:lnTo>
                              <a:lnTo>
                                <a:pt x="100" y="157"/>
                              </a:lnTo>
                              <a:lnTo>
                                <a:pt x="99" y="157"/>
                              </a:lnTo>
                              <a:lnTo>
                                <a:pt x="83" y="148"/>
                              </a:lnTo>
                              <a:lnTo>
                                <a:pt x="52" y="166"/>
                              </a:lnTo>
                              <a:lnTo>
                                <a:pt x="33" y="198"/>
                              </a:lnTo>
                              <a:lnTo>
                                <a:pt x="30" y="218"/>
                              </a:lnTo>
                              <a:lnTo>
                                <a:pt x="30" y="220"/>
                              </a:lnTo>
                              <a:lnTo>
                                <a:pt x="28" y="220"/>
                              </a:lnTo>
                              <a:lnTo>
                                <a:pt x="5" y="226"/>
                              </a:lnTo>
                              <a:lnTo>
                                <a:pt x="3" y="241"/>
                              </a:lnTo>
                              <a:lnTo>
                                <a:pt x="3" y="241"/>
                              </a:lnTo>
                              <a:lnTo>
                                <a:pt x="0" y="258"/>
                              </a:lnTo>
                              <a:lnTo>
                                <a:pt x="39" y="270"/>
                              </a:lnTo>
                              <a:lnTo>
                                <a:pt x="40" y="270"/>
                              </a:lnTo>
                              <a:lnTo>
                                <a:pt x="40" y="271"/>
                              </a:lnTo>
                              <a:lnTo>
                                <a:pt x="48" y="288"/>
                              </a:lnTo>
                              <a:lnTo>
                                <a:pt x="49" y="289"/>
                              </a:lnTo>
                              <a:lnTo>
                                <a:pt x="48" y="290"/>
                              </a:lnTo>
                              <a:lnTo>
                                <a:pt x="44" y="302"/>
                              </a:lnTo>
                              <a:lnTo>
                                <a:pt x="44" y="302"/>
                              </a:lnTo>
                              <a:lnTo>
                                <a:pt x="44" y="303"/>
                              </a:lnTo>
                              <a:lnTo>
                                <a:pt x="29" y="314"/>
                              </a:lnTo>
                              <a:lnTo>
                                <a:pt x="34" y="330"/>
                              </a:lnTo>
                              <a:lnTo>
                                <a:pt x="34" y="33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91" name="Freeform 202">
                          <a:extLst>
                            <a:ext uri="{FF2B5EF4-FFF2-40B4-BE49-F238E27FC236}">
                              <a16:creationId xmlns:a16="http://schemas.microsoft.com/office/drawing/2014/main" id="{DDB9E4C6-7738-4265-84EF-3D8DF44CA57E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564685" y="1690886"/>
                          <a:ext cx="431956" cy="491465"/>
                        </a:xfrm>
                        <a:custGeom>
                          <a:avLst/>
                          <a:gdLst>
                            <a:gd name="T0" fmla="*/ 313 w 421"/>
                            <a:gd name="T1" fmla="*/ 16 h 479"/>
                            <a:gd name="T2" fmla="*/ 306 w 421"/>
                            <a:gd name="T3" fmla="*/ 32 h 479"/>
                            <a:gd name="T4" fmla="*/ 274 w 421"/>
                            <a:gd name="T5" fmla="*/ 74 h 479"/>
                            <a:gd name="T6" fmla="*/ 274 w 421"/>
                            <a:gd name="T7" fmla="*/ 75 h 479"/>
                            <a:gd name="T8" fmla="*/ 226 w 421"/>
                            <a:gd name="T9" fmla="*/ 121 h 479"/>
                            <a:gd name="T10" fmla="*/ 186 w 421"/>
                            <a:gd name="T11" fmla="*/ 140 h 479"/>
                            <a:gd name="T12" fmla="*/ 198 w 421"/>
                            <a:gd name="T13" fmla="*/ 183 h 479"/>
                            <a:gd name="T14" fmla="*/ 197 w 421"/>
                            <a:gd name="T15" fmla="*/ 184 h 479"/>
                            <a:gd name="T16" fmla="*/ 177 w 421"/>
                            <a:gd name="T17" fmla="*/ 231 h 479"/>
                            <a:gd name="T18" fmla="*/ 177 w 421"/>
                            <a:gd name="T19" fmla="*/ 232 h 479"/>
                            <a:gd name="T20" fmla="*/ 165 w 421"/>
                            <a:gd name="T21" fmla="*/ 247 h 479"/>
                            <a:gd name="T22" fmla="*/ 127 w 421"/>
                            <a:gd name="T23" fmla="*/ 248 h 479"/>
                            <a:gd name="T24" fmla="*/ 121 w 421"/>
                            <a:gd name="T25" fmla="*/ 273 h 479"/>
                            <a:gd name="T26" fmla="*/ 105 w 421"/>
                            <a:gd name="T27" fmla="*/ 284 h 479"/>
                            <a:gd name="T28" fmla="*/ 102 w 421"/>
                            <a:gd name="T29" fmla="*/ 283 h 479"/>
                            <a:gd name="T30" fmla="*/ 66 w 421"/>
                            <a:gd name="T31" fmla="*/ 300 h 479"/>
                            <a:gd name="T32" fmla="*/ 65 w 421"/>
                            <a:gd name="T33" fmla="*/ 301 h 479"/>
                            <a:gd name="T34" fmla="*/ 0 w 421"/>
                            <a:gd name="T35" fmla="*/ 340 h 479"/>
                            <a:gd name="T36" fmla="*/ 19 w 421"/>
                            <a:gd name="T37" fmla="*/ 367 h 479"/>
                            <a:gd name="T38" fmla="*/ 64 w 421"/>
                            <a:gd name="T39" fmla="*/ 384 h 479"/>
                            <a:gd name="T40" fmla="*/ 76 w 421"/>
                            <a:gd name="T41" fmla="*/ 380 h 479"/>
                            <a:gd name="T42" fmla="*/ 133 w 421"/>
                            <a:gd name="T43" fmla="*/ 429 h 479"/>
                            <a:gd name="T44" fmla="*/ 154 w 421"/>
                            <a:gd name="T45" fmla="*/ 428 h 479"/>
                            <a:gd name="T46" fmla="*/ 157 w 421"/>
                            <a:gd name="T47" fmla="*/ 428 h 479"/>
                            <a:gd name="T48" fmla="*/ 172 w 421"/>
                            <a:gd name="T49" fmla="*/ 443 h 479"/>
                            <a:gd name="T50" fmla="*/ 175 w 421"/>
                            <a:gd name="T51" fmla="*/ 454 h 479"/>
                            <a:gd name="T52" fmla="*/ 214 w 421"/>
                            <a:gd name="T53" fmla="*/ 442 h 479"/>
                            <a:gd name="T54" fmla="*/ 250 w 421"/>
                            <a:gd name="T55" fmla="*/ 454 h 479"/>
                            <a:gd name="T56" fmla="*/ 251 w 421"/>
                            <a:gd name="T57" fmla="*/ 455 h 479"/>
                            <a:gd name="T58" fmla="*/ 285 w 421"/>
                            <a:gd name="T59" fmla="*/ 465 h 479"/>
                            <a:gd name="T60" fmla="*/ 287 w 421"/>
                            <a:gd name="T61" fmla="*/ 465 h 479"/>
                            <a:gd name="T62" fmla="*/ 329 w 421"/>
                            <a:gd name="T63" fmla="*/ 475 h 479"/>
                            <a:gd name="T64" fmla="*/ 328 w 421"/>
                            <a:gd name="T65" fmla="*/ 444 h 479"/>
                            <a:gd name="T66" fmla="*/ 344 w 421"/>
                            <a:gd name="T67" fmla="*/ 410 h 479"/>
                            <a:gd name="T68" fmla="*/ 345 w 421"/>
                            <a:gd name="T69" fmla="*/ 409 h 479"/>
                            <a:gd name="T70" fmla="*/ 421 w 421"/>
                            <a:gd name="T71" fmla="*/ 377 h 479"/>
                            <a:gd name="T72" fmla="*/ 406 w 421"/>
                            <a:gd name="T73" fmla="*/ 356 h 479"/>
                            <a:gd name="T74" fmla="*/ 408 w 421"/>
                            <a:gd name="T75" fmla="*/ 334 h 479"/>
                            <a:gd name="T76" fmla="*/ 414 w 421"/>
                            <a:gd name="T77" fmla="*/ 297 h 479"/>
                            <a:gd name="T78" fmla="*/ 375 w 421"/>
                            <a:gd name="T79" fmla="*/ 272 h 479"/>
                            <a:gd name="T80" fmla="*/ 368 w 421"/>
                            <a:gd name="T81" fmla="*/ 255 h 479"/>
                            <a:gd name="T82" fmla="*/ 368 w 421"/>
                            <a:gd name="T83" fmla="*/ 253 h 479"/>
                            <a:gd name="T84" fmla="*/ 385 w 421"/>
                            <a:gd name="T85" fmla="*/ 204 h 479"/>
                            <a:gd name="T86" fmla="*/ 378 w 421"/>
                            <a:gd name="T87" fmla="*/ 164 h 479"/>
                            <a:gd name="T88" fmla="*/ 379 w 421"/>
                            <a:gd name="T89" fmla="*/ 163 h 479"/>
                            <a:gd name="T90" fmla="*/ 396 w 421"/>
                            <a:gd name="T91" fmla="*/ 107 h 479"/>
                            <a:gd name="T92" fmla="*/ 339 w 421"/>
                            <a:gd name="T93" fmla="*/ 36 h 479"/>
                            <a:gd name="T94" fmla="*/ 338 w 421"/>
                            <a:gd name="T95" fmla="*/ 34 h 479"/>
                            <a:gd name="T96" fmla="*/ 323 w 421"/>
                            <a:gd name="T97" fmla="*/ 0 h 479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</a:cxnLst>
                          <a:rect l="0" t="0" r="r" b="b"/>
                          <a:pathLst>
                            <a:path w="421" h="479">
                              <a:moveTo>
                                <a:pt x="323" y="0"/>
                              </a:moveTo>
                              <a:lnTo>
                                <a:pt x="313" y="16"/>
                              </a:lnTo>
                              <a:lnTo>
                                <a:pt x="306" y="32"/>
                              </a:lnTo>
                              <a:lnTo>
                                <a:pt x="306" y="32"/>
                              </a:lnTo>
                              <a:lnTo>
                                <a:pt x="306" y="32"/>
                              </a:lnTo>
                              <a:lnTo>
                                <a:pt x="274" y="74"/>
                              </a:lnTo>
                              <a:lnTo>
                                <a:pt x="274" y="75"/>
                              </a:lnTo>
                              <a:lnTo>
                                <a:pt x="274" y="75"/>
                              </a:lnTo>
                              <a:lnTo>
                                <a:pt x="226" y="121"/>
                              </a:lnTo>
                              <a:lnTo>
                                <a:pt x="226" y="121"/>
                              </a:lnTo>
                              <a:lnTo>
                                <a:pt x="226" y="121"/>
                              </a:lnTo>
                              <a:lnTo>
                                <a:pt x="186" y="140"/>
                              </a:lnTo>
                              <a:lnTo>
                                <a:pt x="185" y="158"/>
                              </a:lnTo>
                              <a:lnTo>
                                <a:pt x="198" y="183"/>
                              </a:lnTo>
                              <a:lnTo>
                                <a:pt x="198" y="183"/>
                              </a:lnTo>
                              <a:lnTo>
                                <a:pt x="197" y="184"/>
                              </a:lnTo>
                              <a:lnTo>
                                <a:pt x="180" y="204"/>
                              </a:lnTo>
                              <a:lnTo>
                                <a:pt x="177" y="231"/>
                              </a:lnTo>
                              <a:lnTo>
                                <a:pt x="177" y="232"/>
                              </a:lnTo>
                              <a:lnTo>
                                <a:pt x="177" y="232"/>
                              </a:lnTo>
                              <a:lnTo>
                                <a:pt x="166" y="246"/>
                              </a:lnTo>
                              <a:lnTo>
                                <a:pt x="165" y="247"/>
                              </a:lnTo>
                              <a:lnTo>
                                <a:pt x="164" y="247"/>
                              </a:lnTo>
                              <a:lnTo>
                                <a:pt x="127" y="248"/>
                              </a:lnTo>
                              <a:lnTo>
                                <a:pt x="121" y="272"/>
                              </a:lnTo>
                              <a:lnTo>
                                <a:pt x="121" y="273"/>
                              </a:lnTo>
                              <a:lnTo>
                                <a:pt x="121" y="273"/>
                              </a:lnTo>
                              <a:lnTo>
                                <a:pt x="105" y="284"/>
                              </a:lnTo>
                              <a:lnTo>
                                <a:pt x="103" y="285"/>
                              </a:lnTo>
                              <a:lnTo>
                                <a:pt x="102" y="283"/>
                              </a:lnTo>
                              <a:lnTo>
                                <a:pt x="87" y="267"/>
                              </a:lnTo>
                              <a:lnTo>
                                <a:pt x="66" y="300"/>
                              </a:lnTo>
                              <a:lnTo>
                                <a:pt x="66" y="301"/>
                              </a:lnTo>
                              <a:lnTo>
                                <a:pt x="65" y="301"/>
                              </a:lnTo>
                              <a:lnTo>
                                <a:pt x="30" y="305"/>
                              </a:lnTo>
                              <a:lnTo>
                                <a:pt x="0" y="340"/>
                              </a:lnTo>
                              <a:lnTo>
                                <a:pt x="5" y="356"/>
                              </a:lnTo>
                              <a:lnTo>
                                <a:pt x="19" y="367"/>
                              </a:lnTo>
                              <a:lnTo>
                                <a:pt x="53" y="382"/>
                              </a:lnTo>
                              <a:lnTo>
                                <a:pt x="64" y="384"/>
                              </a:lnTo>
                              <a:lnTo>
                                <a:pt x="75" y="380"/>
                              </a:lnTo>
                              <a:lnTo>
                                <a:pt x="76" y="380"/>
                              </a:lnTo>
                              <a:lnTo>
                                <a:pt x="77" y="381"/>
                              </a:lnTo>
                              <a:lnTo>
                                <a:pt x="133" y="429"/>
                              </a:lnTo>
                              <a:lnTo>
                                <a:pt x="146" y="433"/>
                              </a:lnTo>
                              <a:lnTo>
                                <a:pt x="154" y="428"/>
                              </a:lnTo>
                              <a:lnTo>
                                <a:pt x="155" y="427"/>
                              </a:lnTo>
                              <a:lnTo>
                                <a:pt x="157" y="428"/>
                              </a:lnTo>
                              <a:lnTo>
                                <a:pt x="172" y="443"/>
                              </a:lnTo>
                              <a:lnTo>
                                <a:pt x="172" y="443"/>
                              </a:lnTo>
                              <a:lnTo>
                                <a:pt x="172" y="444"/>
                              </a:lnTo>
                              <a:lnTo>
                                <a:pt x="175" y="454"/>
                              </a:lnTo>
                              <a:lnTo>
                                <a:pt x="214" y="442"/>
                              </a:lnTo>
                              <a:lnTo>
                                <a:pt x="214" y="442"/>
                              </a:lnTo>
                              <a:lnTo>
                                <a:pt x="215" y="442"/>
                              </a:lnTo>
                              <a:lnTo>
                                <a:pt x="250" y="454"/>
                              </a:lnTo>
                              <a:lnTo>
                                <a:pt x="251" y="455"/>
                              </a:lnTo>
                              <a:lnTo>
                                <a:pt x="251" y="455"/>
                              </a:lnTo>
                              <a:lnTo>
                                <a:pt x="266" y="475"/>
                              </a:lnTo>
                              <a:lnTo>
                                <a:pt x="285" y="465"/>
                              </a:lnTo>
                              <a:lnTo>
                                <a:pt x="286" y="465"/>
                              </a:lnTo>
                              <a:lnTo>
                                <a:pt x="287" y="465"/>
                              </a:lnTo>
                              <a:lnTo>
                                <a:pt x="315" y="479"/>
                              </a:lnTo>
                              <a:lnTo>
                                <a:pt x="329" y="475"/>
                              </a:lnTo>
                              <a:lnTo>
                                <a:pt x="328" y="444"/>
                              </a:lnTo>
                              <a:lnTo>
                                <a:pt x="328" y="444"/>
                              </a:lnTo>
                              <a:lnTo>
                                <a:pt x="328" y="444"/>
                              </a:lnTo>
                              <a:lnTo>
                                <a:pt x="344" y="410"/>
                              </a:lnTo>
                              <a:lnTo>
                                <a:pt x="344" y="409"/>
                              </a:lnTo>
                              <a:lnTo>
                                <a:pt x="345" y="409"/>
                              </a:lnTo>
                              <a:lnTo>
                                <a:pt x="401" y="411"/>
                              </a:lnTo>
                              <a:lnTo>
                                <a:pt x="421" y="377"/>
                              </a:lnTo>
                              <a:lnTo>
                                <a:pt x="406" y="356"/>
                              </a:lnTo>
                              <a:lnTo>
                                <a:pt x="406" y="356"/>
                              </a:lnTo>
                              <a:lnTo>
                                <a:pt x="406" y="355"/>
                              </a:lnTo>
                              <a:lnTo>
                                <a:pt x="408" y="334"/>
                              </a:lnTo>
                              <a:lnTo>
                                <a:pt x="408" y="334"/>
                              </a:lnTo>
                              <a:lnTo>
                                <a:pt x="414" y="297"/>
                              </a:lnTo>
                              <a:lnTo>
                                <a:pt x="375" y="272"/>
                              </a:lnTo>
                              <a:lnTo>
                                <a:pt x="375" y="272"/>
                              </a:lnTo>
                              <a:lnTo>
                                <a:pt x="374" y="272"/>
                              </a:lnTo>
                              <a:lnTo>
                                <a:pt x="368" y="255"/>
                              </a:lnTo>
                              <a:lnTo>
                                <a:pt x="368" y="254"/>
                              </a:lnTo>
                              <a:lnTo>
                                <a:pt x="368" y="253"/>
                              </a:lnTo>
                              <a:lnTo>
                                <a:pt x="390" y="227"/>
                              </a:lnTo>
                              <a:lnTo>
                                <a:pt x="385" y="204"/>
                              </a:lnTo>
                              <a:lnTo>
                                <a:pt x="385" y="204"/>
                              </a:lnTo>
                              <a:lnTo>
                                <a:pt x="378" y="164"/>
                              </a:lnTo>
                              <a:lnTo>
                                <a:pt x="378" y="163"/>
                              </a:lnTo>
                              <a:lnTo>
                                <a:pt x="379" y="163"/>
                              </a:lnTo>
                              <a:lnTo>
                                <a:pt x="397" y="137"/>
                              </a:lnTo>
                              <a:lnTo>
                                <a:pt x="396" y="107"/>
                              </a:lnTo>
                              <a:lnTo>
                                <a:pt x="375" y="57"/>
                              </a:lnTo>
                              <a:lnTo>
                                <a:pt x="339" y="36"/>
                              </a:lnTo>
                              <a:lnTo>
                                <a:pt x="338" y="35"/>
                              </a:lnTo>
                              <a:lnTo>
                                <a:pt x="338" y="34"/>
                              </a:lnTo>
                              <a:lnTo>
                                <a:pt x="333" y="10"/>
                              </a:lnTo>
                              <a:lnTo>
                                <a:pt x="323" y="0"/>
                              </a:lnTo>
                              <a:lnTo>
                                <a:pt x="323" y="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92" name="Freeform 203">
                          <a:extLst>
                            <a:ext uri="{FF2B5EF4-FFF2-40B4-BE49-F238E27FC236}">
                              <a16:creationId xmlns:a16="http://schemas.microsoft.com/office/drawing/2014/main" id="{2A509CB7-EA7F-4E40-8D14-1939D7040B55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898142" y="1469265"/>
                          <a:ext cx="945993" cy="745919"/>
                        </a:xfrm>
                        <a:custGeom>
                          <a:avLst/>
                          <a:gdLst>
                            <a:gd name="T0" fmla="*/ 191 w 922"/>
                            <a:gd name="T1" fmla="*/ 27 h 727"/>
                            <a:gd name="T2" fmla="*/ 163 w 922"/>
                            <a:gd name="T3" fmla="*/ 29 h 727"/>
                            <a:gd name="T4" fmla="*/ 152 w 922"/>
                            <a:gd name="T5" fmla="*/ 14 h 727"/>
                            <a:gd name="T6" fmla="*/ 99 w 922"/>
                            <a:gd name="T7" fmla="*/ 80 h 727"/>
                            <a:gd name="T8" fmla="*/ 0 w 922"/>
                            <a:gd name="T9" fmla="*/ 212 h 727"/>
                            <a:gd name="T10" fmla="*/ 11 w 922"/>
                            <a:gd name="T11" fmla="*/ 224 h 727"/>
                            <a:gd name="T12" fmla="*/ 53 w 922"/>
                            <a:gd name="T13" fmla="*/ 270 h 727"/>
                            <a:gd name="T14" fmla="*/ 74 w 922"/>
                            <a:gd name="T15" fmla="*/ 322 h 727"/>
                            <a:gd name="T16" fmla="*/ 75 w 922"/>
                            <a:gd name="T17" fmla="*/ 354 h 727"/>
                            <a:gd name="T18" fmla="*/ 64 w 922"/>
                            <a:gd name="T19" fmla="*/ 419 h 727"/>
                            <a:gd name="T20" fmla="*/ 69 w 922"/>
                            <a:gd name="T21" fmla="*/ 444 h 727"/>
                            <a:gd name="T22" fmla="*/ 53 w 922"/>
                            <a:gd name="T23" fmla="*/ 486 h 727"/>
                            <a:gd name="T24" fmla="*/ 92 w 922"/>
                            <a:gd name="T25" fmla="*/ 513 h 727"/>
                            <a:gd name="T26" fmla="*/ 85 w 922"/>
                            <a:gd name="T27" fmla="*/ 571 h 727"/>
                            <a:gd name="T28" fmla="*/ 138 w 922"/>
                            <a:gd name="T29" fmla="*/ 567 h 727"/>
                            <a:gd name="T30" fmla="*/ 164 w 922"/>
                            <a:gd name="T31" fmla="*/ 576 h 727"/>
                            <a:gd name="T32" fmla="*/ 190 w 922"/>
                            <a:gd name="T33" fmla="*/ 569 h 727"/>
                            <a:gd name="T34" fmla="*/ 221 w 922"/>
                            <a:gd name="T35" fmla="*/ 563 h 727"/>
                            <a:gd name="T36" fmla="*/ 230 w 922"/>
                            <a:gd name="T37" fmla="*/ 554 h 727"/>
                            <a:gd name="T38" fmla="*/ 264 w 922"/>
                            <a:gd name="T39" fmla="*/ 537 h 727"/>
                            <a:gd name="T40" fmla="*/ 320 w 922"/>
                            <a:gd name="T41" fmla="*/ 572 h 727"/>
                            <a:gd name="T42" fmla="*/ 338 w 922"/>
                            <a:gd name="T43" fmla="*/ 577 h 727"/>
                            <a:gd name="T44" fmla="*/ 388 w 922"/>
                            <a:gd name="T45" fmla="*/ 681 h 727"/>
                            <a:gd name="T46" fmla="*/ 486 w 922"/>
                            <a:gd name="T47" fmla="*/ 687 h 727"/>
                            <a:gd name="T48" fmla="*/ 507 w 922"/>
                            <a:gd name="T49" fmla="*/ 673 h 727"/>
                            <a:gd name="T50" fmla="*/ 532 w 922"/>
                            <a:gd name="T51" fmla="*/ 675 h 727"/>
                            <a:gd name="T52" fmla="*/ 553 w 922"/>
                            <a:gd name="T53" fmla="*/ 609 h 727"/>
                            <a:gd name="T54" fmla="*/ 584 w 922"/>
                            <a:gd name="T55" fmla="*/ 586 h 727"/>
                            <a:gd name="T56" fmla="*/ 616 w 922"/>
                            <a:gd name="T57" fmla="*/ 596 h 727"/>
                            <a:gd name="T58" fmla="*/ 722 w 922"/>
                            <a:gd name="T59" fmla="*/ 624 h 727"/>
                            <a:gd name="T60" fmla="*/ 820 w 922"/>
                            <a:gd name="T61" fmla="*/ 626 h 727"/>
                            <a:gd name="T62" fmla="*/ 850 w 922"/>
                            <a:gd name="T63" fmla="*/ 646 h 727"/>
                            <a:gd name="T64" fmla="*/ 922 w 922"/>
                            <a:gd name="T65" fmla="*/ 612 h 727"/>
                            <a:gd name="T66" fmla="*/ 882 w 922"/>
                            <a:gd name="T67" fmla="*/ 588 h 727"/>
                            <a:gd name="T68" fmla="*/ 846 w 922"/>
                            <a:gd name="T69" fmla="*/ 515 h 727"/>
                            <a:gd name="T70" fmla="*/ 821 w 922"/>
                            <a:gd name="T71" fmla="*/ 480 h 727"/>
                            <a:gd name="T72" fmla="*/ 789 w 922"/>
                            <a:gd name="T73" fmla="*/ 480 h 727"/>
                            <a:gd name="T74" fmla="*/ 725 w 922"/>
                            <a:gd name="T75" fmla="*/ 477 h 727"/>
                            <a:gd name="T76" fmla="*/ 681 w 922"/>
                            <a:gd name="T77" fmla="*/ 473 h 727"/>
                            <a:gd name="T78" fmla="*/ 639 w 922"/>
                            <a:gd name="T79" fmla="*/ 447 h 727"/>
                            <a:gd name="T80" fmla="*/ 554 w 922"/>
                            <a:gd name="T81" fmla="*/ 382 h 727"/>
                            <a:gd name="T82" fmla="*/ 509 w 922"/>
                            <a:gd name="T83" fmla="*/ 340 h 727"/>
                            <a:gd name="T84" fmla="*/ 456 w 922"/>
                            <a:gd name="T85" fmla="*/ 339 h 727"/>
                            <a:gd name="T86" fmla="*/ 444 w 922"/>
                            <a:gd name="T87" fmla="*/ 289 h 727"/>
                            <a:gd name="T88" fmla="*/ 420 w 922"/>
                            <a:gd name="T89" fmla="*/ 212 h 727"/>
                            <a:gd name="T90" fmla="*/ 344 w 922"/>
                            <a:gd name="T91" fmla="*/ 208 h 727"/>
                            <a:gd name="T92" fmla="*/ 331 w 922"/>
                            <a:gd name="T93" fmla="*/ 196 h 727"/>
                            <a:gd name="T94" fmla="*/ 234 w 922"/>
                            <a:gd name="T95" fmla="*/ 136 h 727"/>
                            <a:gd name="T96" fmla="*/ 214 w 922"/>
                            <a:gd name="T97" fmla="*/ 97 h 727"/>
                            <a:gd name="T98" fmla="*/ 242 w 922"/>
                            <a:gd name="T99" fmla="*/ 57 h 72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</a:cxnLst>
                          <a:rect l="0" t="0" r="r" b="b"/>
                          <a:pathLst>
                            <a:path w="922" h="727">
                              <a:moveTo>
                                <a:pt x="243" y="0"/>
                              </a:moveTo>
                              <a:lnTo>
                                <a:pt x="222" y="0"/>
                              </a:lnTo>
                              <a:lnTo>
                                <a:pt x="191" y="27"/>
                              </a:lnTo>
                              <a:lnTo>
                                <a:pt x="191" y="28"/>
                              </a:lnTo>
                              <a:lnTo>
                                <a:pt x="190" y="28"/>
                              </a:lnTo>
                              <a:lnTo>
                                <a:pt x="163" y="29"/>
                              </a:lnTo>
                              <a:lnTo>
                                <a:pt x="161" y="30"/>
                              </a:lnTo>
                              <a:lnTo>
                                <a:pt x="161" y="29"/>
                              </a:lnTo>
                              <a:lnTo>
                                <a:pt x="152" y="14"/>
                              </a:lnTo>
                              <a:lnTo>
                                <a:pt x="107" y="54"/>
                              </a:lnTo>
                              <a:lnTo>
                                <a:pt x="99" y="80"/>
                              </a:lnTo>
                              <a:lnTo>
                                <a:pt x="99" y="80"/>
                              </a:lnTo>
                              <a:lnTo>
                                <a:pt x="99" y="81"/>
                              </a:lnTo>
                              <a:lnTo>
                                <a:pt x="52" y="123"/>
                              </a:lnTo>
                              <a:lnTo>
                                <a:pt x="0" y="212"/>
                              </a:lnTo>
                              <a:lnTo>
                                <a:pt x="10" y="223"/>
                              </a:lnTo>
                              <a:lnTo>
                                <a:pt x="11" y="224"/>
                              </a:lnTo>
                              <a:lnTo>
                                <a:pt x="11" y="224"/>
                              </a:lnTo>
                              <a:lnTo>
                                <a:pt x="16" y="249"/>
                              </a:lnTo>
                              <a:lnTo>
                                <a:pt x="52" y="270"/>
                              </a:lnTo>
                              <a:lnTo>
                                <a:pt x="53" y="270"/>
                              </a:lnTo>
                              <a:lnTo>
                                <a:pt x="53" y="271"/>
                              </a:lnTo>
                              <a:lnTo>
                                <a:pt x="74" y="322"/>
                              </a:lnTo>
                              <a:lnTo>
                                <a:pt x="74" y="322"/>
                              </a:lnTo>
                              <a:lnTo>
                                <a:pt x="74" y="323"/>
                              </a:lnTo>
                              <a:lnTo>
                                <a:pt x="75" y="354"/>
                              </a:lnTo>
                              <a:lnTo>
                                <a:pt x="75" y="354"/>
                              </a:lnTo>
                              <a:lnTo>
                                <a:pt x="75" y="355"/>
                              </a:lnTo>
                              <a:lnTo>
                                <a:pt x="57" y="380"/>
                              </a:lnTo>
                              <a:lnTo>
                                <a:pt x="64" y="419"/>
                              </a:lnTo>
                              <a:lnTo>
                                <a:pt x="64" y="419"/>
                              </a:lnTo>
                              <a:lnTo>
                                <a:pt x="69" y="443"/>
                              </a:lnTo>
                              <a:lnTo>
                                <a:pt x="69" y="444"/>
                              </a:lnTo>
                              <a:lnTo>
                                <a:pt x="69" y="444"/>
                              </a:lnTo>
                              <a:lnTo>
                                <a:pt x="47" y="471"/>
                              </a:lnTo>
                              <a:lnTo>
                                <a:pt x="53" y="486"/>
                              </a:lnTo>
                              <a:lnTo>
                                <a:pt x="91" y="511"/>
                              </a:lnTo>
                              <a:lnTo>
                                <a:pt x="93" y="511"/>
                              </a:lnTo>
                              <a:lnTo>
                                <a:pt x="92" y="513"/>
                              </a:lnTo>
                              <a:lnTo>
                                <a:pt x="87" y="551"/>
                              </a:lnTo>
                              <a:lnTo>
                                <a:pt x="87" y="551"/>
                              </a:lnTo>
                              <a:lnTo>
                                <a:pt x="85" y="571"/>
                              </a:lnTo>
                              <a:lnTo>
                                <a:pt x="99" y="591"/>
                              </a:lnTo>
                              <a:lnTo>
                                <a:pt x="129" y="586"/>
                              </a:lnTo>
                              <a:lnTo>
                                <a:pt x="138" y="567"/>
                              </a:lnTo>
                              <a:lnTo>
                                <a:pt x="139" y="565"/>
                              </a:lnTo>
                              <a:lnTo>
                                <a:pt x="141" y="566"/>
                              </a:lnTo>
                              <a:lnTo>
                                <a:pt x="164" y="576"/>
                              </a:lnTo>
                              <a:lnTo>
                                <a:pt x="181" y="576"/>
                              </a:lnTo>
                              <a:lnTo>
                                <a:pt x="189" y="569"/>
                              </a:lnTo>
                              <a:lnTo>
                                <a:pt x="190" y="569"/>
                              </a:lnTo>
                              <a:lnTo>
                                <a:pt x="191" y="569"/>
                              </a:lnTo>
                              <a:lnTo>
                                <a:pt x="205" y="572"/>
                              </a:lnTo>
                              <a:lnTo>
                                <a:pt x="221" y="563"/>
                              </a:lnTo>
                              <a:lnTo>
                                <a:pt x="228" y="555"/>
                              </a:lnTo>
                              <a:lnTo>
                                <a:pt x="229" y="554"/>
                              </a:lnTo>
                              <a:lnTo>
                                <a:pt x="230" y="554"/>
                              </a:lnTo>
                              <a:lnTo>
                                <a:pt x="257" y="556"/>
                              </a:lnTo>
                              <a:lnTo>
                                <a:pt x="263" y="540"/>
                              </a:lnTo>
                              <a:lnTo>
                                <a:pt x="264" y="537"/>
                              </a:lnTo>
                              <a:lnTo>
                                <a:pt x="266" y="540"/>
                              </a:lnTo>
                              <a:lnTo>
                                <a:pt x="285" y="558"/>
                              </a:lnTo>
                              <a:lnTo>
                                <a:pt x="320" y="572"/>
                              </a:lnTo>
                              <a:lnTo>
                                <a:pt x="337" y="576"/>
                              </a:lnTo>
                              <a:lnTo>
                                <a:pt x="338" y="576"/>
                              </a:lnTo>
                              <a:lnTo>
                                <a:pt x="338" y="577"/>
                              </a:lnTo>
                              <a:lnTo>
                                <a:pt x="360" y="625"/>
                              </a:lnTo>
                              <a:lnTo>
                                <a:pt x="360" y="625"/>
                              </a:lnTo>
                              <a:lnTo>
                                <a:pt x="388" y="681"/>
                              </a:lnTo>
                              <a:lnTo>
                                <a:pt x="449" y="727"/>
                              </a:lnTo>
                              <a:lnTo>
                                <a:pt x="482" y="708"/>
                              </a:lnTo>
                              <a:lnTo>
                                <a:pt x="486" y="687"/>
                              </a:lnTo>
                              <a:lnTo>
                                <a:pt x="486" y="686"/>
                              </a:lnTo>
                              <a:lnTo>
                                <a:pt x="486" y="686"/>
                              </a:lnTo>
                              <a:lnTo>
                                <a:pt x="507" y="673"/>
                              </a:lnTo>
                              <a:lnTo>
                                <a:pt x="507" y="673"/>
                              </a:lnTo>
                              <a:lnTo>
                                <a:pt x="508" y="673"/>
                              </a:lnTo>
                              <a:lnTo>
                                <a:pt x="532" y="675"/>
                              </a:lnTo>
                              <a:lnTo>
                                <a:pt x="552" y="610"/>
                              </a:lnTo>
                              <a:lnTo>
                                <a:pt x="552" y="609"/>
                              </a:lnTo>
                              <a:lnTo>
                                <a:pt x="553" y="609"/>
                              </a:lnTo>
                              <a:lnTo>
                                <a:pt x="582" y="586"/>
                              </a:lnTo>
                              <a:lnTo>
                                <a:pt x="583" y="586"/>
                              </a:lnTo>
                              <a:lnTo>
                                <a:pt x="584" y="586"/>
                              </a:lnTo>
                              <a:lnTo>
                                <a:pt x="615" y="595"/>
                              </a:lnTo>
                              <a:lnTo>
                                <a:pt x="615" y="595"/>
                              </a:lnTo>
                              <a:lnTo>
                                <a:pt x="616" y="596"/>
                              </a:lnTo>
                              <a:lnTo>
                                <a:pt x="657" y="623"/>
                              </a:lnTo>
                              <a:lnTo>
                                <a:pt x="721" y="624"/>
                              </a:lnTo>
                              <a:lnTo>
                                <a:pt x="722" y="624"/>
                              </a:lnTo>
                              <a:lnTo>
                                <a:pt x="722" y="625"/>
                              </a:lnTo>
                              <a:lnTo>
                                <a:pt x="767" y="657"/>
                              </a:lnTo>
                              <a:lnTo>
                                <a:pt x="820" y="626"/>
                              </a:lnTo>
                              <a:lnTo>
                                <a:pt x="821" y="626"/>
                              </a:lnTo>
                              <a:lnTo>
                                <a:pt x="822" y="626"/>
                              </a:lnTo>
                              <a:lnTo>
                                <a:pt x="850" y="646"/>
                              </a:lnTo>
                              <a:lnTo>
                                <a:pt x="881" y="642"/>
                              </a:lnTo>
                              <a:lnTo>
                                <a:pt x="916" y="628"/>
                              </a:lnTo>
                              <a:lnTo>
                                <a:pt x="922" y="612"/>
                              </a:lnTo>
                              <a:lnTo>
                                <a:pt x="883" y="589"/>
                              </a:lnTo>
                              <a:lnTo>
                                <a:pt x="882" y="589"/>
                              </a:lnTo>
                              <a:lnTo>
                                <a:pt x="882" y="588"/>
                              </a:lnTo>
                              <a:lnTo>
                                <a:pt x="882" y="539"/>
                              </a:lnTo>
                              <a:lnTo>
                                <a:pt x="859" y="516"/>
                              </a:lnTo>
                              <a:lnTo>
                                <a:pt x="846" y="515"/>
                              </a:lnTo>
                              <a:lnTo>
                                <a:pt x="845" y="515"/>
                              </a:lnTo>
                              <a:lnTo>
                                <a:pt x="845" y="514"/>
                              </a:lnTo>
                              <a:lnTo>
                                <a:pt x="821" y="480"/>
                              </a:lnTo>
                              <a:lnTo>
                                <a:pt x="790" y="481"/>
                              </a:lnTo>
                              <a:lnTo>
                                <a:pt x="789" y="481"/>
                              </a:lnTo>
                              <a:lnTo>
                                <a:pt x="789" y="480"/>
                              </a:lnTo>
                              <a:lnTo>
                                <a:pt x="759" y="452"/>
                              </a:lnTo>
                              <a:lnTo>
                                <a:pt x="725" y="476"/>
                              </a:lnTo>
                              <a:lnTo>
                                <a:pt x="725" y="477"/>
                              </a:lnTo>
                              <a:lnTo>
                                <a:pt x="724" y="477"/>
                              </a:lnTo>
                              <a:lnTo>
                                <a:pt x="682" y="473"/>
                              </a:lnTo>
                              <a:lnTo>
                                <a:pt x="681" y="473"/>
                              </a:lnTo>
                              <a:lnTo>
                                <a:pt x="681" y="473"/>
                              </a:lnTo>
                              <a:lnTo>
                                <a:pt x="640" y="447"/>
                              </a:lnTo>
                              <a:lnTo>
                                <a:pt x="639" y="447"/>
                              </a:lnTo>
                              <a:lnTo>
                                <a:pt x="639" y="447"/>
                              </a:lnTo>
                              <a:lnTo>
                                <a:pt x="616" y="409"/>
                              </a:lnTo>
                              <a:lnTo>
                                <a:pt x="554" y="382"/>
                              </a:lnTo>
                              <a:lnTo>
                                <a:pt x="554" y="382"/>
                              </a:lnTo>
                              <a:lnTo>
                                <a:pt x="554" y="381"/>
                              </a:lnTo>
                              <a:lnTo>
                                <a:pt x="509" y="340"/>
                              </a:lnTo>
                              <a:lnTo>
                                <a:pt x="458" y="340"/>
                              </a:lnTo>
                              <a:lnTo>
                                <a:pt x="456" y="340"/>
                              </a:lnTo>
                              <a:lnTo>
                                <a:pt x="456" y="339"/>
                              </a:lnTo>
                              <a:lnTo>
                                <a:pt x="457" y="306"/>
                              </a:lnTo>
                              <a:lnTo>
                                <a:pt x="444" y="290"/>
                              </a:lnTo>
                              <a:lnTo>
                                <a:pt x="444" y="289"/>
                              </a:lnTo>
                              <a:lnTo>
                                <a:pt x="444" y="288"/>
                              </a:lnTo>
                              <a:lnTo>
                                <a:pt x="442" y="241"/>
                              </a:lnTo>
                              <a:lnTo>
                                <a:pt x="420" y="212"/>
                              </a:lnTo>
                              <a:lnTo>
                                <a:pt x="345" y="208"/>
                              </a:lnTo>
                              <a:lnTo>
                                <a:pt x="345" y="208"/>
                              </a:lnTo>
                              <a:lnTo>
                                <a:pt x="344" y="208"/>
                              </a:lnTo>
                              <a:lnTo>
                                <a:pt x="332" y="197"/>
                              </a:lnTo>
                              <a:lnTo>
                                <a:pt x="331" y="197"/>
                              </a:lnTo>
                              <a:lnTo>
                                <a:pt x="331" y="196"/>
                              </a:lnTo>
                              <a:lnTo>
                                <a:pt x="330" y="164"/>
                              </a:lnTo>
                              <a:lnTo>
                                <a:pt x="300" y="141"/>
                              </a:lnTo>
                              <a:lnTo>
                                <a:pt x="234" y="136"/>
                              </a:lnTo>
                              <a:lnTo>
                                <a:pt x="233" y="136"/>
                              </a:lnTo>
                              <a:lnTo>
                                <a:pt x="232" y="135"/>
                              </a:lnTo>
                              <a:lnTo>
                                <a:pt x="214" y="97"/>
                              </a:lnTo>
                              <a:lnTo>
                                <a:pt x="214" y="95"/>
                              </a:lnTo>
                              <a:lnTo>
                                <a:pt x="215" y="94"/>
                              </a:lnTo>
                              <a:lnTo>
                                <a:pt x="242" y="57"/>
                              </a:lnTo>
                              <a:lnTo>
                                <a:pt x="243" y="0"/>
                              </a:lnTo>
                              <a:lnTo>
                                <a:pt x="243" y="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93" name="Freeform 204">
                          <a:extLst>
                            <a:ext uri="{FF2B5EF4-FFF2-40B4-BE49-F238E27FC236}">
                              <a16:creationId xmlns:a16="http://schemas.microsoft.com/office/drawing/2014/main" id="{F08A2ADA-46BD-4AEE-B0D2-FC4A898F44A4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753101" y="1039361"/>
                          <a:ext cx="252402" cy="231881"/>
                        </a:xfrm>
                        <a:custGeom>
                          <a:avLst/>
                          <a:gdLst>
                            <a:gd name="T0" fmla="*/ 63 w 246"/>
                            <a:gd name="T1" fmla="*/ 7 h 226"/>
                            <a:gd name="T2" fmla="*/ 59 w 246"/>
                            <a:gd name="T3" fmla="*/ 67 h 226"/>
                            <a:gd name="T4" fmla="*/ 57 w 246"/>
                            <a:gd name="T5" fmla="*/ 69 h 226"/>
                            <a:gd name="T6" fmla="*/ 21 w 246"/>
                            <a:gd name="T7" fmla="*/ 96 h 226"/>
                            <a:gd name="T8" fmla="*/ 20 w 246"/>
                            <a:gd name="T9" fmla="*/ 98 h 226"/>
                            <a:gd name="T10" fmla="*/ 5 w 246"/>
                            <a:gd name="T11" fmla="*/ 110 h 226"/>
                            <a:gd name="T12" fmla="*/ 5 w 246"/>
                            <a:gd name="T13" fmla="*/ 111 h 226"/>
                            <a:gd name="T14" fmla="*/ 12 w 246"/>
                            <a:gd name="T15" fmla="*/ 128 h 226"/>
                            <a:gd name="T16" fmla="*/ 76 w 246"/>
                            <a:gd name="T17" fmla="*/ 155 h 226"/>
                            <a:gd name="T18" fmla="*/ 77 w 246"/>
                            <a:gd name="T19" fmla="*/ 155 h 226"/>
                            <a:gd name="T20" fmla="*/ 132 w 246"/>
                            <a:gd name="T21" fmla="*/ 171 h 226"/>
                            <a:gd name="T22" fmla="*/ 135 w 246"/>
                            <a:gd name="T23" fmla="*/ 155 h 226"/>
                            <a:gd name="T24" fmla="*/ 144 w 246"/>
                            <a:gd name="T25" fmla="*/ 149 h 226"/>
                            <a:gd name="T26" fmla="*/ 146 w 246"/>
                            <a:gd name="T27" fmla="*/ 149 h 226"/>
                            <a:gd name="T28" fmla="*/ 166 w 246"/>
                            <a:gd name="T29" fmla="*/ 163 h 226"/>
                            <a:gd name="T30" fmla="*/ 170 w 246"/>
                            <a:gd name="T31" fmla="*/ 181 h 226"/>
                            <a:gd name="T32" fmla="*/ 213 w 246"/>
                            <a:gd name="T33" fmla="*/ 198 h 226"/>
                            <a:gd name="T34" fmla="*/ 214 w 246"/>
                            <a:gd name="T35" fmla="*/ 198 h 226"/>
                            <a:gd name="T36" fmla="*/ 246 w 246"/>
                            <a:gd name="T37" fmla="*/ 212 h 226"/>
                            <a:gd name="T38" fmla="*/ 227 w 246"/>
                            <a:gd name="T39" fmla="*/ 179 h 226"/>
                            <a:gd name="T40" fmla="*/ 227 w 246"/>
                            <a:gd name="T41" fmla="*/ 177 h 226"/>
                            <a:gd name="T42" fmla="*/ 238 w 246"/>
                            <a:gd name="T43" fmla="*/ 134 h 226"/>
                            <a:gd name="T44" fmla="*/ 225 w 246"/>
                            <a:gd name="T45" fmla="*/ 110 h 226"/>
                            <a:gd name="T46" fmla="*/ 229 w 246"/>
                            <a:gd name="T47" fmla="*/ 92 h 226"/>
                            <a:gd name="T48" fmla="*/ 215 w 246"/>
                            <a:gd name="T49" fmla="*/ 90 h 226"/>
                            <a:gd name="T50" fmla="*/ 213 w 246"/>
                            <a:gd name="T51" fmla="*/ 78 h 226"/>
                            <a:gd name="T52" fmla="*/ 190 w 246"/>
                            <a:gd name="T53" fmla="*/ 77 h 226"/>
                            <a:gd name="T54" fmla="*/ 184 w 246"/>
                            <a:gd name="T55" fmla="*/ 65 h 226"/>
                            <a:gd name="T56" fmla="*/ 184 w 246"/>
                            <a:gd name="T57" fmla="*/ 64 h 226"/>
                            <a:gd name="T58" fmla="*/ 188 w 246"/>
                            <a:gd name="T59" fmla="*/ 40 h 226"/>
                            <a:gd name="T60" fmla="*/ 167 w 246"/>
                            <a:gd name="T61" fmla="*/ 41 h 226"/>
                            <a:gd name="T62" fmla="*/ 165 w 246"/>
                            <a:gd name="T63" fmla="*/ 42 h 226"/>
                            <a:gd name="T64" fmla="*/ 154 w 246"/>
                            <a:gd name="T65" fmla="*/ 41 h 226"/>
                            <a:gd name="T66" fmla="*/ 142 w 246"/>
                            <a:gd name="T67" fmla="*/ 30 h 226"/>
                            <a:gd name="T68" fmla="*/ 123 w 246"/>
                            <a:gd name="T69" fmla="*/ 33 h 226"/>
                            <a:gd name="T70" fmla="*/ 112 w 246"/>
                            <a:gd name="T71" fmla="*/ 14 h 226"/>
                            <a:gd name="T72" fmla="*/ 80 w 246"/>
                            <a:gd name="T73" fmla="*/ 18 h 226"/>
                            <a:gd name="T74" fmla="*/ 77 w 246"/>
                            <a:gd name="T75" fmla="*/ 17 h 226"/>
                            <a:gd name="T76" fmla="*/ 72 w 246"/>
                            <a:gd name="T77" fmla="*/ 0 h 22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</a:cxnLst>
                          <a:rect l="0" t="0" r="r" b="b"/>
                          <a:pathLst>
                            <a:path w="246" h="226">
                              <a:moveTo>
                                <a:pt x="72" y="0"/>
                              </a:moveTo>
                              <a:lnTo>
                                <a:pt x="63" y="7"/>
                              </a:lnTo>
                              <a:lnTo>
                                <a:pt x="58" y="21"/>
                              </a:lnTo>
                              <a:lnTo>
                                <a:pt x="59" y="67"/>
                              </a:lnTo>
                              <a:lnTo>
                                <a:pt x="59" y="69"/>
                              </a:lnTo>
                              <a:lnTo>
                                <a:pt x="57" y="69"/>
                              </a:lnTo>
                              <a:lnTo>
                                <a:pt x="23" y="80"/>
                              </a:lnTo>
                              <a:lnTo>
                                <a:pt x="21" y="96"/>
                              </a:lnTo>
                              <a:lnTo>
                                <a:pt x="21" y="98"/>
                              </a:lnTo>
                              <a:lnTo>
                                <a:pt x="20" y="98"/>
                              </a:lnTo>
                              <a:lnTo>
                                <a:pt x="8" y="99"/>
                              </a:lnTo>
                              <a:lnTo>
                                <a:pt x="5" y="110"/>
                              </a:lnTo>
                              <a:lnTo>
                                <a:pt x="5" y="110"/>
                              </a:lnTo>
                              <a:lnTo>
                                <a:pt x="5" y="111"/>
                              </a:lnTo>
                              <a:lnTo>
                                <a:pt x="0" y="116"/>
                              </a:lnTo>
                              <a:lnTo>
                                <a:pt x="12" y="128"/>
                              </a:lnTo>
                              <a:lnTo>
                                <a:pt x="33" y="144"/>
                              </a:lnTo>
                              <a:lnTo>
                                <a:pt x="76" y="155"/>
                              </a:lnTo>
                              <a:lnTo>
                                <a:pt x="76" y="155"/>
                              </a:lnTo>
                              <a:lnTo>
                                <a:pt x="77" y="155"/>
                              </a:lnTo>
                              <a:lnTo>
                                <a:pt x="91" y="168"/>
                              </a:lnTo>
                              <a:lnTo>
                                <a:pt x="132" y="171"/>
                              </a:lnTo>
                              <a:lnTo>
                                <a:pt x="135" y="156"/>
                              </a:lnTo>
                              <a:lnTo>
                                <a:pt x="135" y="155"/>
                              </a:lnTo>
                              <a:lnTo>
                                <a:pt x="136" y="155"/>
                              </a:lnTo>
                              <a:lnTo>
                                <a:pt x="144" y="149"/>
                              </a:lnTo>
                              <a:lnTo>
                                <a:pt x="145" y="148"/>
                              </a:lnTo>
                              <a:lnTo>
                                <a:pt x="146" y="149"/>
                              </a:lnTo>
                              <a:lnTo>
                                <a:pt x="165" y="163"/>
                              </a:lnTo>
                              <a:lnTo>
                                <a:pt x="166" y="163"/>
                              </a:lnTo>
                              <a:lnTo>
                                <a:pt x="166" y="164"/>
                              </a:lnTo>
                              <a:lnTo>
                                <a:pt x="170" y="181"/>
                              </a:lnTo>
                              <a:lnTo>
                                <a:pt x="193" y="199"/>
                              </a:lnTo>
                              <a:lnTo>
                                <a:pt x="213" y="198"/>
                              </a:lnTo>
                              <a:lnTo>
                                <a:pt x="213" y="198"/>
                              </a:lnTo>
                              <a:lnTo>
                                <a:pt x="214" y="198"/>
                              </a:lnTo>
                              <a:lnTo>
                                <a:pt x="245" y="226"/>
                              </a:lnTo>
                              <a:lnTo>
                                <a:pt x="246" y="212"/>
                              </a:lnTo>
                              <a:lnTo>
                                <a:pt x="241" y="195"/>
                              </a:lnTo>
                              <a:lnTo>
                                <a:pt x="227" y="179"/>
                              </a:lnTo>
                              <a:lnTo>
                                <a:pt x="226" y="178"/>
                              </a:lnTo>
                              <a:lnTo>
                                <a:pt x="227" y="177"/>
                              </a:lnTo>
                              <a:lnTo>
                                <a:pt x="240" y="157"/>
                              </a:lnTo>
                              <a:lnTo>
                                <a:pt x="238" y="134"/>
                              </a:lnTo>
                              <a:lnTo>
                                <a:pt x="225" y="110"/>
                              </a:lnTo>
                              <a:lnTo>
                                <a:pt x="225" y="110"/>
                              </a:lnTo>
                              <a:lnTo>
                                <a:pt x="225" y="109"/>
                              </a:lnTo>
                              <a:lnTo>
                                <a:pt x="229" y="92"/>
                              </a:lnTo>
                              <a:lnTo>
                                <a:pt x="217" y="90"/>
                              </a:lnTo>
                              <a:lnTo>
                                <a:pt x="215" y="90"/>
                              </a:lnTo>
                              <a:lnTo>
                                <a:pt x="215" y="89"/>
                              </a:lnTo>
                              <a:lnTo>
                                <a:pt x="213" y="78"/>
                              </a:lnTo>
                              <a:lnTo>
                                <a:pt x="191" y="77"/>
                              </a:lnTo>
                              <a:lnTo>
                                <a:pt x="190" y="77"/>
                              </a:lnTo>
                              <a:lnTo>
                                <a:pt x="190" y="76"/>
                              </a:lnTo>
                              <a:lnTo>
                                <a:pt x="184" y="65"/>
                              </a:lnTo>
                              <a:lnTo>
                                <a:pt x="183" y="65"/>
                              </a:lnTo>
                              <a:lnTo>
                                <a:pt x="184" y="64"/>
                              </a:lnTo>
                              <a:lnTo>
                                <a:pt x="189" y="54"/>
                              </a:lnTo>
                              <a:lnTo>
                                <a:pt x="188" y="40"/>
                              </a:lnTo>
                              <a:lnTo>
                                <a:pt x="172" y="35"/>
                              </a:lnTo>
                              <a:lnTo>
                                <a:pt x="167" y="41"/>
                              </a:lnTo>
                              <a:lnTo>
                                <a:pt x="166" y="42"/>
                              </a:lnTo>
                              <a:lnTo>
                                <a:pt x="165" y="42"/>
                              </a:lnTo>
                              <a:lnTo>
                                <a:pt x="154" y="41"/>
                              </a:lnTo>
                              <a:lnTo>
                                <a:pt x="154" y="41"/>
                              </a:lnTo>
                              <a:lnTo>
                                <a:pt x="153" y="40"/>
                              </a:lnTo>
                              <a:lnTo>
                                <a:pt x="142" y="30"/>
                              </a:lnTo>
                              <a:lnTo>
                                <a:pt x="124" y="33"/>
                              </a:lnTo>
                              <a:lnTo>
                                <a:pt x="123" y="33"/>
                              </a:lnTo>
                              <a:lnTo>
                                <a:pt x="122" y="32"/>
                              </a:lnTo>
                              <a:lnTo>
                                <a:pt x="112" y="14"/>
                              </a:lnTo>
                              <a:lnTo>
                                <a:pt x="100" y="8"/>
                              </a:lnTo>
                              <a:lnTo>
                                <a:pt x="80" y="18"/>
                              </a:lnTo>
                              <a:lnTo>
                                <a:pt x="78" y="19"/>
                              </a:lnTo>
                              <a:lnTo>
                                <a:pt x="77" y="17"/>
                              </a:lnTo>
                              <a:lnTo>
                                <a:pt x="72" y="0"/>
                              </a:lnTo>
                              <a:lnTo>
                                <a:pt x="72" y="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94" name="Freeform 205">
                          <a:extLst>
                            <a:ext uri="{FF2B5EF4-FFF2-40B4-BE49-F238E27FC236}">
                              <a16:creationId xmlns:a16="http://schemas.microsoft.com/office/drawing/2014/main" id="{06985BC1-5A28-41AA-9ED1-084001116BDA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989086" y="1123495"/>
                          <a:ext cx="456580" cy="417592"/>
                        </a:xfrm>
                        <a:custGeom>
                          <a:avLst/>
                          <a:gdLst>
                            <a:gd name="T0" fmla="*/ 95 w 445"/>
                            <a:gd name="T1" fmla="*/ 210 h 407"/>
                            <a:gd name="T2" fmla="*/ 112 w 445"/>
                            <a:gd name="T3" fmla="*/ 210 h 407"/>
                            <a:gd name="T4" fmla="*/ 132 w 445"/>
                            <a:gd name="T5" fmla="*/ 233 h 407"/>
                            <a:gd name="T6" fmla="*/ 132 w 445"/>
                            <a:gd name="T7" fmla="*/ 235 h 407"/>
                            <a:gd name="T8" fmla="*/ 147 w 445"/>
                            <a:gd name="T9" fmla="*/ 292 h 407"/>
                            <a:gd name="T10" fmla="*/ 213 w 445"/>
                            <a:gd name="T11" fmla="*/ 295 h 407"/>
                            <a:gd name="T12" fmla="*/ 257 w 445"/>
                            <a:gd name="T13" fmla="*/ 321 h 407"/>
                            <a:gd name="T14" fmla="*/ 257 w 445"/>
                            <a:gd name="T15" fmla="*/ 322 h 407"/>
                            <a:gd name="T16" fmla="*/ 331 w 445"/>
                            <a:gd name="T17" fmla="*/ 401 h 407"/>
                            <a:gd name="T18" fmla="*/ 363 w 445"/>
                            <a:gd name="T19" fmla="*/ 393 h 407"/>
                            <a:gd name="T20" fmla="*/ 378 w 445"/>
                            <a:gd name="T21" fmla="*/ 407 h 407"/>
                            <a:gd name="T22" fmla="*/ 380 w 445"/>
                            <a:gd name="T23" fmla="*/ 366 h 407"/>
                            <a:gd name="T24" fmla="*/ 379 w 445"/>
                            <a:gd name="T25" fmla="*/ 364 h 407"/>
                            <a:gd name="T26" fmla="*/ 385 w 445"/>
                            <a:gd name="T27" fmla="*/ 351 h 407"/>
                            <a:gd name="T28" fmla="*/ 415 w 445"/>
                            <a:gd name="T29" fmla="*/ 352 h 407"/>
                            <a:gd name="T30" fmla="*/ 445 w 445"/>
                            <a:gd name="T31" fmla="*/ 311 h 407"/>
                            <a:gd name="T32" fmla="*/ 423 w 445"/>
                            <a:gd name="T33" fmla="*/ 300 h 407"/>
                            <a:gd name="T34" fmla="*/ 430 w 445"/>
                            <a:gd name="T35" fmla="*/ 280 h 407"/>
                            <a:gd name="T36" fmla="*/ 398 w 445"/>
                            <a:gd name="T37" fmla="*/ 280 h 407"/>
                            <a:gd name="T38" fmla="*/ 395 w 445"/>
                            <a:gd name="T39" fmla="*/ 279 h 407"/>
                            <a:gd name="T40" fmla="*/ 342 w 445"/>
                            <a:gd name="T41" fmla="*/ 238 h 407"/>
                            <a:gd name="T42" fmla="*/ 341 w 445"/>
                            <a:gd name="T43" fmla="*/ 238 h 407"/>
                            <a:gd name="T44" fmla="*/ 294 w 445"/>
                            <a:gd name="T45" fmla="*/ 195 h 407"/>
                            <a:gd name="T46" fmla="*/ 293 w 445"/>
                            <a:gd name="T47" fmla="*/ 195 h 407"/>
                            <a:gd name="T48" fmla="*/ 271 w 445"/>
                            <a:gd name="T49" fmla="*/ 174 h 407"/>
                            <a:gd name="T50" fmla="*/ 206 w 445"/>
                            <a:gd name="T51" fmla="*/ 101 h 407"/>
                            <a:gd name="T52" fmla="*/ 206 w 445"/>
                            <a:gd name="T53" fmla="*/ 100 h 407"/>
                            <a:gd name="T54" fmla="*/ 211 w 445"/>
                            <a:gd name="T55" fmla="*/ 62 h 407"/>
                            <a:gd name="T56" fmla="*/ 235 w 445"/>
                            <a:gd name="T57" fmla="*/ 35 h 407"/>
                            <a:gd name="T58" fmla="*/ 218 w 445"/>
                            <a:gd name="T59" fmla="*/ 29 h 407"/>
                            <a:gd name="T60" fmla="*/ 218 w 445"/>
                            <a:gd name="T61" fmla="*/ 3 h 407"/>
                            <a:gd name="T62" fmla="*/ 186 w 445"/>
                            <a:gd name="T63" fmla="*/ 15 h 407"/>
                            <a:gd name="T64" fmla="*/ 184 w 445"/>
                            <a:gd name="T65" fmla="*/ 16 h 407"/>
                            <a:gd name="T66" fmla="*/ 156 w 445"/>
                            <a:gd name="T67" fmla="*/ 15 h 407"/>
                            <a:gd name="T68" fmla="*/ 143 w 445"/>
                            <a:gd name="T69" fmla="*/ 1 h 407"/>
                            <a:gd name="T70" fmla="*/ 112 w 445"/>
                            <a:gd name="T71" fmla="*/ 7 h 407"/>
                            <a:gd name="T72" fmla="*/ 64 w 445"/>
                            <a:gd name="T73" fmla="*/ 68 h 407"/>
                            <a:gd name="T74" fmla="*/ 63 w 445"/>
                            <a:gd name="T75" fmla="*/ 69 h 407"/>
                            <a:gd name="T76" fmla="*/ 13 w 445"/>
                            <a:gd name="T77" fmla="*/ 77 h 407"/>
                            <a:gd name="T78" fmla="*/ 14 w 445"/>
                            <a:gd name="T79" fmla="*/ 111 h 407"/>
                            <a:gd name="T80" fmla="*/ 14 w 445"/>
                            <a:gd name="T81" fmla="*/ 111 h 407"/>
                            <a:gd name="T82" fmla="*/ 20 w 445"/>
                            <a:gd name="T83" fmla="*/ 130 h 407"/>
                            <a:gd name="T84" fmla="*/ 18 w 445"/>
                            <a:gd name="T85" fmla="*/ 146 h 407"/>
                            <a:gd name="T86" fmla="*/ 51 w 445"/>
                            <a:gd name="T87" fmla="*/ 146 h 407"/>
                            <a:gd name="T88" fmla="*/ 55 w 445"/>
                            <a:gd name="T89" fmla="*/ 185 h 40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</a:cxnLst>
                          <a:rect l="0" t="0" r="r" b="b"/>
                          <a:pathLst>
                            <a:path w="445" h="407">
                              <a:moveTo>
                                <a:pt x="55" y="185"/>
                              </a:moveTo>
                              <a:lnTo>
                                <a:pt x="95" y="210"/>
                              </a:lnTo>
                              <a:lnTo>
                                <a:pt x="111" y="210"/>
                              </a:lnTo>
                              <a:lnTo>
                                <a:pt x="112" y="210"/>
                              </a:lnTo>
                              <a:lnTo>
                                <a:pt x="113" y="210"/>
                              </a:lnTo>
                              <a:lnTo>
                                <a:pt x="132" y="233"/>
                              </a:lnTo>
                              <a:lnTo>
                                <a:pt x="132" y="234"/>
                              </a:lnTo>
                              <a:lnTo>
                                <a:pt x="132" y="235"/>
                              </a:lnTo>
                              <a:lnTo>
                                <a:pt x="123" y="269"/>
                              </a:lnTo>
                              <a:lnTo>
                                <a:pt x="147" y="292"/>
                              </a:lnTo>
                              <a:lnTo>
                                <a:pt x="212" y="295"/>
                              </a:lnTo>
                              <a:lnTo>
                                <a:pt x="213" y="295"/>
                              </a:lnTo>
                              <a:lnTo>
                                <a:pt x="213" y="295"/>
                              </a:lnTo>
                              <a:lnTo>
                                <a:pt x="257" y="321"/>
                              </a:lnTo>
                              <a:lnTo>
                                <a:pt x="257" y="322"/>
                              </a:lnTo>
                              <a:lnTo>
                                <a:pt x="257" y="322"/>
                              </a:lnTo>
                              <a:lnTo>
                                <a:pt x="285" y="374"/>
                              </a:lnTo>
                              <a:lnTo>
                                <a:pt x="331" y="401"/>
                              </a:lnTo>
                              <a:lnTo>
                                <a:pt x="363" y="393"/>
                              </a:lnTo>
                              <a:lnTo>
                                <a:pt x="363" y="393"/>
                              </a:lnTo>
                              <a:lnTo>
                                <a:pt x="364" y="393"/>
                              </a:lnTo>
                              <a:lnTo>
                                <a:pt x="378" y="407"/>
                              </a:lnTo>
                              <a:lnTo>
                                <a:pt x="399" y="384"/>
                              </a:lnTo>
                              <a:lnTo>
                                <a:pt x="380" y="366"/>
                              </a:lnTo>
                              <a:lnTo>
                                <a:pt x="379" y="365"/>
                              </a:lnTo>
                              <a:lnTo>
                                <a:pt x="379" y="364"/>
                              </a:lnTo>
                              <a:lnTo>
                                <a:pt x="384" y="352"/>
                              </a:lnTo>
                              <a:lnTo>
                                <a:pt x="385" y="351"/>
                              </a:lnTo>
                              <a:lnTo>
                                <a:pt x="386" y="351"/>
                              </a:lnTo>
                              <a:lnTo>
                                <a:pt x="415" y="352"/>
                              </a:lnTo>
                              <a:lnTo>
                                <a:pt x="445" y="332"/>
                              </a:lnTo>
                              <a:lnTo>
                                <a:pt x="445" y="311"/>
                              </a:lnTo>
                              <a:lnTo>
                                <a:pt x="424" y="300"/>
                              </a:lnTo>
                              <a:lnTo>
                                <a:pt x="423" y="300"/>
                              </a:lnTo>
                              <a:lnTo>
                                <a:pt x="423" y="298"/>
                              </a:lnTo>
                              <a:lnTo>
                                <a:pt x="430" y="280"/>
                              </a:lnTo>
                              <a:lnTo>
                                <a:pt x="411" y="274"/>
                              </a:lnTo>
                              <a:lnTo>
                                <a:pt x="398" y="280"/>
                              </a:lnTo>
                              <a:lnTo>
                                <a:pt x="396" y="280"/>
                              </a:lnTo>
                              <a:lnTo>
                                <a:pt x="395" y="279"/>
                              </a:lnTo>
                              <a:lnTo>
                                <a:pt x="380" y="239"/>
                              </a:lnTo>
                              <a:lnTo>
                                <a:pt x="342" y="238"/>
                              </a:lnTo>
                              <a:lnTo>
                                <a:pt x="341" y="238"/>
                              </a:lnTo>
                              <a:lnTo>
                                <a:pt x="341" y="238"/>
                              </a:lnTo>
                              <a:lnTo>
                                <a:pt x="317" y="210"/>
                              </a:lnTo>
                              <a:lnTo>
                                <a:pt x="294" y="195"/>
                              </a:lnTo>
                              <a:lnTo>
                                <a:pt x="294" y="195"/>
                              </a:lnTo>
                              <a:lnTo>
                                <a:pt x="293" y="195"/>
                              </a:lnTo>
                              <a:lnTo>
                                <a:pt x="271" y="174"/>
                              </a:lnTo>
                              <a:lnTo>
                                <a:pt x="271" y="174"/>
                              </a:lnTo>
                              <a:lnTo>
                                <a:pt x="271" y="174"/>
                              </a:lnTo>
                              <a:lnTo>
                                <a:pt x="206" y="101"/>
                              </a:lnTo>
                              <a:lnTo>
                                <a:pt x="206" y="100"/>
                              </a:lnTo>
                              <a:lnTo>
                                <a:pt x="206" y="100"/>
                              </a:lnTo>
                              <a:lnTo>
                                <a:pt x="211" y="63"/>
                              </a:lnTo>
                              <a:lnTo>
                                <a:pt x="211" y="62"/>
                              </a:lnTo>
                              <a:lnTo>
                                <a:pt x="211" y="62"/>
                              </a:lnTo>
                              <a:lnTo>
                                <a:pt x="235" y="35"/>
                              </a:lnTo>
                              <a:lnTo>
                                <a:pt x="220" y="29"/>
                              </a:lnTo>
                              <a:lnTo>
                                <a:pt x="218" y="29"/>
                              </a:lnTo>
                              <a:lnTo>
                                <a:pt x="218" y="28"/>
                              </a:lnTo>
                              <a:lnTo>
                                <a:pt x="218" y="3"/>
                              </a:lnTo>
                              <a:lnTo>
                                <a:pt x="199" y="3"/>
                              </a:lnTo>
                              <a:lnTo>
                                <a:pt x="186" y="15"/>
                              </a:lnTo>
                              <a:lnTo>
                                <a:pt x="185" y="16"/>
                              </a:lnTo>
                              <a:lnTo>
                                <a:pt x="184" y="16"/>
                              </a:lnTo>
                              <a:lnTo>
                                <a:pt x="157" y="15"/>
                              </a:lnTo>
                              <a:lnTo>
                                <a:pt x="156" y="15"/>
                              </a:lnTo>
                              <a:lnTo>
                                <a:pt x="156" y="14"/>
                              </a:lnTo>
                              <a:lnTo>
                                <a:pt x="143" y="1"/>
                              </a:lnTo>
                              <a:lnTo>
                                <a:pt x="131" y="0"/>
                              </a:lnTo>
                              <a:lnTo>
                                <a:pt x="112" y="7"/>
                              </a:lnTo>
                              <a:lnTo>
                                <a:pt x="83" y="28"/>
                              </a:lnTo>
                              <a:lnTo>
                                <a:pt x="64" y="68"/>
                              </a:lnTo>
                              <a:lnTo>
                                <a:pt x="64" y="70"/>
                              </a:lnTo>
                              <a:lnTo>
                                <a:pt x="63" y="69"/>
                              </a:lnTo>
                              <a:lnTo>
                                <a:pt x="31" y="67"/>
                              </a:lnTo>
                              <a:lnTo>
                                <a:pt x="13" y="77"/>
                              </a:lnTo>
                              <a:lnTo>
                                <a:pt x="0" y="96"/>
                              </a:lnTo>
                              <a:lnTo>
                                <a:pt x="14" y="111"/>
                              </a:lnTo>
                              <a:lnTo>
                                <a:pt x="14" y="111"/>
                              </a:lnTo>
                              <a:lnTo>
                                <a:pt x="14" y="111"/>
                              </a:lnTo>
                              <a:lnTo>
                                <a:pt x="20" y="129"/>
                              </a:lnTo>
                              <a:lnTo>
                                <a:pt x="20" y="130"/>
                              </a:lnTo>
                              <a:lnTo>
                                <a:pt x="20" y="130"/>
                              </a:lnTo>
                              <a:lnTo>
                                <a:pt x="18" y="146"/>
                              </a:lnTo>
                              <a:lnTo>
                                <a:pt x="49" y="146"/>
                              </a:lnTo>
                              <a:lnTo>
                                <a:pt x="51" y="146"/>
                              </a:lnTo>
                              <a:lnTo>
                                <a:pt x="51" y="147"/>
                              </a:lnTo>
                              <a:lnTo>
                                <a:pt x="55" y="185"/>
                              </a:lnTo>
                              <a:lnTo>
                                <a:pt x="55" y="185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95" name="Freeform 206">
                          <a:extLst>
                            <a:ext uri="{FF2B5EF4-FFF2-40B4-BE49-F238E27FC236}">
                              <a16:creationId xmlns:a16="http://schemas.microsoft.com/office/drawing/2014/main" id="{4C442744-32DC-46A8-9604-65177774E04C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631004" y="945993"/>
                          <a:ext cx="206231" cy="279078"/>
                        </a:xfrm>
                        <a:custGeom>
                          <a:avLst/>
                          <a:gdLst>
                            <a:gd name="T0" fmla="*/ 185 w 201"/>
                            <a:gd name="T1" fmla="*/ 0 h 272"/>
                            <a:gd name="T2" fmla="*/ 166 w 201"/>
                            <a:gd name="T3" fmla="*/ 2 h 272"/>
                            <a:gd name="T4" fmla="*/ 136 w 201"/>
                            <a:gd name="T5" fmla="*/ 26 h 272"/>
                            <a:gd name="T6" fmla="*/ 118 w 201"/>
                            <a:gd name="T7" fmla="*/ 51 h 272"/>
                            <a:gd name="T8" fmla="*/ 83 w 201"/>
                            <a:gd name="T9" fmla="*/ 49 h 272"/>
                            <a:gd name="T10" fmla="*/ 62 w 201"/>
                            <a:gd name="T11" fmla="*/ 83 h 272"/>
                            <a:gd name="T12" fmla="*/ 38 w 201"/>
                            <a:gd name="T13" fmla="*/ 86 h 272"/>
                            <a:gd name="T14" fmla="*/ 37 w 201"/>
                            <a:gd name="T15" fmla="*/ 113 h 272"/>
                            <a:gd name="T16" fmla="*/ 0 w 201"/>
                            <a:gd name="T17" fmla="*/ 137 h 272"/>
                            <a:gd name="T18" fmla="*/ 3 w 201"/>
                            <a:gd name="T19" fmla="*/ 171 h 272"/>
                            <a:gd name="T20" fmla="*/ 17 w 201"/>
                            <a:gd name="T21" fmla="*/ 190 h 272"/>
                            <a:gd name="T22" fmla="*/ 0 w 201"/>
                            <a:gd name="T23" fmla="*/ 210 h 272"/>
                            <a:gd name="T24" fmla="*/ 4 w 201"/>
                            <a:gd name="T25" fmla="*/ 227 h 272"/>
                            <a:gd name="T26" fmla="*/ 28 w 201"/>
                            <a:gd name="T27" fmla="*/ 233 h 272"/>
                            <a:gd name="T28" fmla="*/ 33 w 201"/>
                            <a:gd name="T29" fmla="*/ 258 h 272"/>
                            <a:gd name="T30" fmla="*/ 26 w 201"/>
                            <a:gd name="T31" fmla="*/ 271 h 272"/>
                            <a:gd name="T32" fmla="*/ 27 w 201"/>
                            <a:gd name="T33" fmla="*/ 272 h 272"/>
                            <a:gd name="T34" fmla="*/ 43 w 201"/>
                            <a:gd name="T35" fmla="*/ 268 h 272"/>
                            <a:gd name="T36" fmla="*/ 43 w 201"/>
                            <a:gd name="T37" fmla="*/ 267 h 272"/>
                            <a:gd name="T38" fmla="*/ 44 w 201"/>
                            <a:gd name="T39" fmla="*/ 268 h 272"/>
                            <a:gd name="T40" fmla="*/ 52 w 201"/>
                            <a:gd name="T41" fmla="*/ 272 h 272"/>
                            <a:gd name="T42" fmla="*/ 82 w 201"/>
                            <a:gd name="T43" fmla="*/ 266 h 272"/>
                            <a:gd name="T44" fmla="*/ 95 w 201"/>
                            <a:gd name="T45" fmla="*/ 248 h 272"/>
                            <a:gd name="T46" fmla="*/ 101 w 201"/>
                            <a:gd name="T47" fmla="*/ 220 h 272"/>
                            <a:gd name="T48" fmla="*/ 101 w 201"/>
                            <a:gd name="T49" fmla="*/ 219 h 272"/>
                            <a:gd name="T50" fmla="*/ 102 w 201"/>
                            <a:gd name="T51" fmla="*/ 219 h 272"/>
                            <a:gd name="T52" fmla="*/ 121 w 201"/>
                            <a:gd name="T53" fmla="*/ 200 h 272"/>
                            <a:gd name="T54" fmla="*/ 124 w 201"/>
                            <a:gd name="T55" fmla="*/ 188 h 272"/>
                            <a:gd name="T56" fmla="*/ 125 w 201"/>
                            <a:gd name="T57" fmla="*/ 186 h 272"/>
                            <a:gd name="T58" fmla="*/ 126 w 201"/>
                            <a:gd name="T59" fmla="*/ 186 h 272"/>
                            <a:gd name="T60" fmla="*/ 137 w 201"/>
                            <a:gd name="T61" fmla="*/ 185 h 272"/>
                            <a:gd name="T62" fmla="*/ 139 w 201"/>
                            <a:gd name="T63" fmla="*/ 170 h 272"/>
                            <a:gd name="T64" fmla="*/ 139 w 201"/>
                            <a:gd name="T65" fmla="*/ 168 h 272"/>
                            <a:gd name="T66" fmla="*/ 140 w 201"/>
                            <a:gd name="T67" fmla="*/ 168 h 272"/>
                            <a:gd name="T68" fmla="*/ 174 w 201"/>
                            <a:gd name="T69" fmla="*/ 157 h 272"/>
                            <a:gd name="T70" fmla="*/ 173 w 201"/>
                            <a:gd name="T71" fmla="*/ 112 h 272"/>
                            <a:gd name="T72" fmla="*/ 173 w 201"/>
                            <a:gd name="T73" fmla="*/ 112 h 272"/>
                            <a:gd name="T74" fmla="*/ 173 w 201"/>
                            <a:gd name="T75" fmla="*/ 111 h 272"/>
                            <a:gd name="T76" fmla="*/ 179 w 201"/>
                            <a:gd name="T77" fmla="*/ 96 h 272"/>
                            <a:gd name="T78" fmla="*/ 179 w 201"/>
                            <a:gd name="T79" fmla="*/ 96 h 272"/>
                            <a:gd name="T80" fmla="*/ 180 w 201"/>
                            <a:gd name="T81" fmla="*/ 96 h 272"/>
                            <a:gd name="T82" fmla="*/ 190 w 201"/>
                            <a:gd name="T83" fmla="*/ 87 h 272"/>
                            <a:gd name="T84" fmla="*/ 201 w 201"/>
                            <a:gd name="T85" fmla="*/ 53 h 272"/>
                            <a:gd name="T86" fmla="*/ 187 w 201"/>
                            <a:gd name="T87" fmla="*/ 29 h 272"/>
                            <a:gd name="T88" fmla="*/ 187 w 201"/>
                            <a:gd name="T89" fmla="*/ 29 h 272"/>
                            <a:gd name="T90" fmla="*/ 187 w 201"/>
                            <a:gd name="T91" fmla="*/ 28 h 272"/>
                            <a:gd name="T92" fmla="*/ 185 w 201"/>
                            <a:gd name="T93" fmla="*/ 0 h 272"/>
                            <a:gd name="T94" fmla="*/ 185 w 201"/>
                            <a:gd name="T95" fmla="*/ 0 h 27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</a:cxnLst>
                          <a:rect l="0" t="0" r="r" b="b"/>
                          <a:pathLst>
                            <a:path w="201" h="272">
                              <a:moveTo>
                                <a:pt x="185" y="0"/>
                              </a:moveTo>
                              <a:lnTo>
                                <a:pt x="166" y="2"/>
                              </a:lnTo>
                              <a:lnTo>
                                <a:pt x="136" y="26"/>
                              </a:lnTo>
                              <a:lnTo>
                                <a:pt x="118" y="51"/>
                              </a:lnTo>
                              <a:lnTo>
                                <a:pt x="83" y="49"/>
                              </a:lnTo>
                              <a:lnTo>
                                <a:pt x="62" y="83"/>
                              </a:lnTo>
                              <a:lnTo>
                                <a:pt x="38" y="86"/>
                              </a:lnTo>
                              <a:lnTo>
                                <a:pt x="37" y="113"/>
                              </a:lnTo>
                              <a:lnTo>
                                <a:pt x="0" y="137"/>
                              </a:lnTo>
                              <a:lnTo>
                                <a:pt x="3" y="171"/>
                              </a:lnTo>
                              <a:lnTo>
                                <a:pt x="17" y="190"/>
                              </a:lnTo>
                              <a:lnTo>
                                <a:pt x="0" y="210"/>
                              </a:lnTo>
                              <a:lnTo>
                                <a:pt x="4" y="227"/>
                              </a:lnTo>
                              <a:lnTo>
                                <a:pt x="28" y="233"/>
                              </a:lnTo>
                              <a:lnTo>
                                <a:pt x="33" y="258"/>
                              </a:lnTo>
                              <a:lnTo>
                                <a:pt x="26" y="271"/>
                              </a:lnTo>
                              <a:lnTo>
                                <a:pt x="27" y="272"/>
                              </a:lnTo>
                              <a:lnTo>
                                <a:pt x="43" y="268"/>
                              </a:lnTo>
                              <a:lnTo>
                                <a:pt x="43" y="267"/>
                              </a:lnTo>
                              <a:lnTo>
                                <a:pt x="44" y="268"/>
                              </a:lnTo>
                              <a:lnTo>
                                <a:pt x="52" y="272"/>
                              </a:lnTo>
                              <a:lnTo>
                                <a:pt x="82" y="266"/>
                              </a:lnTo>
                              <a:lnTo>
                                <a:pt x="95" y="248"/>
                              </a:lnTo>
                              <a:lnTo>
                                <a:pt x="101" y="220"/>
                              </a:lnTo>
                              <a:lnTo>
                                <a:pt x="101" y="219"/>
                              </a:lnTo>
                              <a:lnTo>
                                <a:pt x="102" y="219"/>
                              </a:lnTo>
                              <a:lnTo>
                                <a:pt x="121" y="200"/>
                              </a:lnTo>
                              <a:lnTo>
                                <a:pt x="124" y="188"/>
                              </a:lnTo>
                              <a:lnTo>
                                <a:pt x="125" y="186"/>
                              </a:lnTo>
                              <a:lnTo>
                                <a:pt x="126" y="186"/>
                              </a:lnTo>
                              <a:lnTo>
                                <a:pt x="137" y="185"/>
                              </a:lnTo>
                              <a:lnTo>
                                <a:pt x="139" y="170"/>
                              </a:lnTo>
                              <a:lnTo>
                                <a:pt x="139" y="168"/>
                              </a:lnTo>
                              <a:lnTo>
                                <a:pt x="140" y="168"/>
                              </a:lnTo>
                              <a:lnTo>
                                <a:pt x="174" y="157"/>
                              </a:lnTo>
                              <a:lnTo>
                                <a:pt x="173" y="112"/>
                              </a:lnTo>
                              <a:lnTo>
                                <a:pt x="173" y="112"/>
                              </a:lnTo>
                              <a:lnTo>
                                <a:pt x="173" y="111"/>
                              </a:lnTo>
                              <a:lnTo>
                                <a:pt x="179" y="96"/>
                              </a:lnTo>
                              <a:lnTo>
                                <a:pt x="179" y="96"/>
                              </a:lnTo>
                              <a:lnTo>
                                <a:pt x="180" y="96"/>
                              </a:lnTo>
                              <a:lnTo>
                                <a:pt x="190" y="87"/>
                              </a:lnTo>
                              <a:lnTo>
                                <a:pt x="201" y="53"/>
                              </a:lnTo>
                              <a:lnTo>
                                <a:pt x="187" y="29"/>
                              </a:lnTo>
                              <a:lnTo>
                                <a:pt x="187" y="29"/>
                              </a:lnTo>
                              <a:lnTo>
                                <a:pt x="187" y="28"/>
                              </a:lnTo>
                              <a:lnTo>
                                <a:pt x="185" y="0"/>
                              </a:lnTo>
                              <a:lnTo>
                                <a:pt x="185" y="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96" name="Freeform 207">
                          <a:extLst>
                            <a:ext uri="{FF2B5EF4-FFF2-40B4-BE49-F238E27FC236}">
                              <a16:creationId xmlns:a16="http://schemas.microsoft.com/office/drawing/2014/main" id="{35DCD16B-06C5-40E8-96E3-9E1303A86AB6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823421" y="899415"/>
                          <a:ext cx="338587" cy="300625"/>
                        </a:xfrm>
                        <a:custGeom>
                          <a:avLst/>
                          <a:gdLst>
                            <a:gd name="T0" fmla="*/ 151 w 330"/>
                            <a:gd name="T1" fmla="*/ 1 h 293"/>
                            <a:gd name="T2" fmla="*/ 109 w 330"/>
                            <a:gd name="T3" fmla="*/ 48 h 293"/>
                            <a:gd name="T4" fmla="*/ 101 w 330"/>
                            <a:gd name="T5" fmla="*/ 73 h 293"/>
                            <a:gd name="T6" fmla="*/ 76 w 330"/>
                            <a:gd name="T7" fmla="*/ 49 h 293"/>
                            <a:gd name="T8" fmla="*/ 21 w 330"/>
                            <a:gd name="T9" fmla="*/ 45 h 293"/>
                            <a:gd name="T10" fmla="*/ 1 w 330"/>
                            <a:gd name="T11" fmla="*/ 76 h 293"/>
                            <a:gd name="T12" fmla="*/ 16 w 330"/>
                            <a:gd name="T13" fmla="*/ 100 h 293"/>
                            <a:gd name="T14" fmla="*/ 5 w 330"/>
                            <a:gd name="T15" fmla="*/ 136 h 293"/>
                            <a:gd name="T16" fmla="*/ 30 w 330"/>
                            <a:gd name="T17" fmla="*/ 143 h 293"/>
                            <a:gd name="T18" fmla="*/ 31 w 330"/>
                            <a:gd name="T19" fmla="*/ 143 h 293"/>
                            <a:gd name="T20" fmla="*/ 45 w 330"/>
                            <a:gd name="T21" fmla="*/ 150 h 293"/>
                            <a:gd name="T22" fmla="*/ 55 w 330"/>
                            <a:gd name="T23" fmla="*/ 168 h 293"/>
                            <a:gd name="T24" fmla="*/ 73 w 330"/>
                            <a:gd name="T25" fmla="*/ 165 h 293"/>
                            <a:gd name="T26" fmla="*/ 85 w 330"/>
                            <a:gd name="T27" fmla="*/ 176 h 293"/>
                            <a:gd name="T28" fmla="*/ 99 w 330"/>
                            <a:gd name="T29" fmla="*/ 170 h 293"/>
                            <a:gd name="T30" fmla="*/ 102 w 330"/>
                            <a:gd name="T31" fmla="*/ 170 h 293"/>
                            <a:gd name="T32" fmla="*/ 121 w 330"/>
                            <a:gd name="T33" fmla="*/ 176 h 293"/>
                            <a:gd name="T34" fmla="*/ 123 w 330"/>
                            <a:gd name="T35" fmla="*/ 193 h 293"/>
                            <a:gd name="T36" fmla="*/ 123 w 330"/>
                            <a:gd name="T37" fmla="*/ 194 h 293"/>
                            <a:gd name="T38" fmla="*/ 123 w 330"/>
                            <a:gd name="T39" fmla="*/ 213 h 293"/>
                            <a:gd name="T40" fmla="*/ 145 w 330"/>
                            <a:gd name="T41" fmla="*/ 214 h 293"/>
                            <a:gd name="T42" fmla="*/ 149 w 330"/>
                            <a:gd name="T43" fmla="*/ 226 h 293"/>
                            <a:gd name="T44" fmla="*/ 163 w 330"/>
                            <a:gd name="T45" fmla="*/ 228 h 293"/>
                            <a:gd name="T46" fmla="*/ 159 w 330"/>
                            <a:gd name="T47" fmla="*/ 248 h 293"/>
                            <a:gd name="T48" fmla="*/ 171 w 330"/>
                            <a:gd name="T49" fmla="*/ 272 h 293"/>
                            <a:gd name="T50" fmla="*/ 173 w 330"/>
                            <a:gd name="T51" fmla="*/ 293 h 293"/>
                            <a:gd name="T52" fmla="*/ 190 w 330"/>
                            <a:gd name="T53" fmla="*/ 284 h 293"/>
                            <a:gd name="T54" fmla="*/ 222 w 330"/>
                            <a:gd name="T55" fmla="*/ 287 h 293"/>
                            <a:gd name="T56" fmla="*/ 241 w 330"/>
                            <a:gd name="T57" fmla="*/ 247 h 293"/>
                            <a:gd name="T58" fmla="*/ 271 w 330"/>
                            <a:gd name="T59" fmla="*/ 224 h 293"/>
                            <a:gd name="T60" fmla="*/ 271 w 330"/>
                            <a:gd name="T61" fmla="*/ 224 h 293"/>
                            <a:gd name="T62" fmla="*/ 290 w 330"/>
                            <a:gd name="T63" fmla="*/ 218 h 293"/>
                            <a:gd name="T64" fmla="*/ 316 w 330"/>
                            <a:gd name="T65" fmla="*/ 219 h 293"/>
                            <a:gd name="T66" fmla="*/ 305 w 330"/>
                            <a:gd name="T67" fmla="*/ 175 h 293"/>
                            <a:gd name="T68" fmla="*/ 288 w 330"/>
                            <a:gd name="T69" fmla="*/ 171 h 293"/>
                            <a:gd name="T70" fmla="*/ 280 w 330"/>
                            <a:gd name="T71" fmla="*/ 145 h 293"/>
                            <a:gd name="T72" fmla="*/ 268 w 330"/>
                            <a:gd name="T73" fmla="*/ 161 h 293"/>
                            <a:gd name="T74" fmla="*/ 266 w 330"/>
                            <a:gd name="T75" fmla="*/ 163 h 293"/>
                            <a:gd name="T76" fmla="*/ 257 w 330"/>
                            <a:gd name="T77" fmla="*/ 161 h 293"/>
                            <a:gd name="T78" fmla="*/ 250 w 330"/>
                            <a:gd name="T79" fmla="*/ 150 h 293"/>
                            <a:gd name="T80" fmla="*/ 241 w 330"/>
                            <a:gd name="T81" fmla="*/ 170 h 293"/>
                            <a:gd name="T82" fmla="*/ 239 w 330"/>
                            <a:gd name="T83" fmla="*/ 172 h 293"/>
                            <a:gd name="T84" fmla="*/ 227 w 330"/>
                            <a:gd name="T85" fmla="*/ 169 h 293"/>
                            <a:gd name="T86" fmla="*/ 220 w 330"/>
                            <a:gd name="T87" fmla="*/ 155 h 293"/>
                            <a:gd name="T88" fmla="*/ 188 w 330"/>
                            <a:gd name="T89" fmla="*/ 155 h 293"/>
                            <a:gd name="T90" fmla="*/ 175 w 330"/>
                            <a:gd name="T91" fmla="*/ 136 h 293"/>
                            <a:gd name="T92" fmla="*/ 145 w 330"/>
                            <a:gd name="T93" fmla="*/ 136 h 293"/>
                            <a:gd name="T94" fmla="*/ 136 w 330"/>
                            <a:gd name="T95" fmla="*/ 125 h 293"/>
                            <a:gd name="T96" fmla="*/ 136 w 330"/>
                            <a:gd name="T97" fmla="*/ 123 h 293"/>
                            <a:gd name="T98" fmla="*/ 184 w 330"/>
                            <a:gd name="T99" fmla="*/ 0 h 29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</a:cxnLst>
                          <a:rect l="0" t="0" r="r" b="b"/>
                          <a:pathLst>
                            <a:path w="330" h="293">
                              <a:moveTo>
                                <a:pt x="184" y="0"/>
                              </a:moveTo>
                              <a:lnTo>
                                <a:pt x="151" y="1"/>
                              </a:lnTo>
                              <a:lnTo>
                                <a:pt x="111" y="16"/>
                              </a:lnTo>
                              <a:lnTo>
                                <a:pt x="109" y="48"/>
                              </a:lnTo>
                              <a:lnTo>
                                <a:pt x="113" y="63"/>
                              </a:lnTo>
                              <a:lnTo>
                                <a:pt x="101" y="73"/>
                              </a:lnTo>
                              <a:lnTo>
                                <a:pt x="92" y="50"/>
                              </a:lnTo>
                              <a:lnTo>
                                <a:pt x="76" y="49"/>
                              </a:lnTo>
                              <a:lnTo>
                                <a:pt x="51" y="26"/>
                              </a:lnTo>
                              <a:lnTo>
                                <a:pt x="21" y="45"/>
                              </a:lnTo>
                              <a:lnTo>
                                <a:pt x="0" y="48"/>
                              </a:lnTo>
                              <a:lnTo>
                                <a:pt x="1" y="76"/>
                              </a:lnTo>
                              <a:lnTo>
                                <a:pt x="16" y="100"/>
                              </a:lnTo>
                              <a:lnTo>
                                <a:pt x="16" y="100"/>
                              </a:lnTo>
                              <a:lnTo>
                                <a:pt x="16" y="101"/>
                              </a:lnTo>
                              <a:lnTo>
                                <a:pt x="5" y="136"/>
                              </a:lnTo>
                              <a:lnTo>
                                <a:pt x="10" y="153"/>
                              </a:lnTo>
                              <a:lnTo>
                                <a:pt x="30" y="143"/>
                              </a:lnTo>
                              <a:lnTo>
                                <a:pt x="30" y="143"/>
                              </a:lnTo>
                              <a:lnTo>
                                <a:pt x="31" y="143"/>
                              </a:lnTo>
                              <a:lnTo>
                                <a:pt x="44" y="150"/>
                              </a:lnTo>
                              <a:lnTo>
                                <a:pt x="45" y="150"/>
                              </a:lnTo>
                              <a:lnTo>
                                <a:pt x="45" y="150"/>
                              </a:lnTo>
                              <a:lnTo>
                                <a:pt x="55" y="168"/>
                              </a:lnTo>
                              <a:lnTo>
                                <a:pt x="72" y="165"/>
                              </a:lnTo>
                              <a:lnTo>
                                <a:pt x="73" y="165"/>
                              </a:lnTo>
                              <a:lnTo>
                                <a:pt x="74" y="166"/>
                              </a:lnTo>
                              <a:lnTo>
                                <a:pt x="85" y="176"/>
                              </a:lnTo>
                              <a:lnTo>
                                <a:pt x="95" y="177"/>
                              </a:lnTo>
                              <a:lnTo>
                                <a:pt x="99" y="170"/>
                              </a:lnTo>
                              <a:lnTo>
                                <a:pt x="100" y="170"/>
                              </a:lnTo>
                              <a:lnTo>
                                <a:pt x="102" y="170"/>
                              </a:lnTo>
                              <a:lnTo>
                                <a:pt x="120" y="176"/>
                              </a:lnTo>
                              <a:lnTo>
                                <a:pt x="121" y="176"/>
                              </a:lnTo>
                              <a:lnTo>
                                <a:pt x="121" y="178"/>
                              </a:lnTo>
                              <a:lnTo>
                                <a:pt x="123" y="193"/>
                              </a:lnTo>
                              <a:lnTo>
                                <a:pt x="123" y="193"/>
                              </a:lnTo>
                              <a:lnTo>
                                <a:pt x="123" y="194"/>
                              </a:lnTo>
                              <a:lnTo>
                                <a:pt x="117" y="204"/>
                              </a:lnTo>
                              <a:lnTo>
                                <a:pt x="123" y="213"/>
                              </a:lnTo>
                              <a:lnTo>
                                <a:pt x="144" y="214"/>
                              </a:lnTo>
                              <a:lnTo>
                                <a:pt x="145" y="214"/>
                              </a:lnTo>
                              <a:lnTo>
                                <a:pt x="146" y="215"/>
                              </a:lnTo>
                              <a:lnTo>
                                <a:pt x="149" y="226"/>
                              </a:lnTo>
                              <a:lnTo>
                                <a:pt x="161" y="228"/>
                              </a:lnTo>
                              <a:lnTo>
                                <a:pt x="163" y="228"/>
                              </a:lnTo>
                              <a:lnTo>
                                <a:pt x="163" y="230"/>
                              </a:lnTo>
                              <a:lnTo>
                                <a:pt x="159" y="248"/>
                              </a:lnTo>
                              <a:lnTo>
                                <a:pt x="171" y="272"/>
                              </a:lnTo>
                              <a:lnTo>
                                <a:pt x="171" y="272"/>
                              </a:lnTo>
                              <a:lnTo>
                                <a:pt x="171" y="272"/>
                              </a:lnTo>
                              <a:lnTo>
                                <a:pt x="173" y="293"/>
                              </a:lnTo>
                              <a:lnTo>
                                <a:pt x="189" y="284"/>
                              </a:lnTo>
                              <a:lnTo>
                                <a:pt x="190" y="284"/>
                              </a:lnTo>
                              <a:lnTo>
                                <a:pt x="191" y="284"/>
                              </a:lnTo>
                              <a:lnTo>
                                <a:pt x="222" y="287"/>
                              </a:lnTo>
                              <a:lnTo>
                                <a:pt x="240" y="248"/>
                              </a:lnTo>
                              <a:lnTo>
                                <a:pt x="241" y="247"/>
                              </a:lnTo>
                              <a:lnTo>
                                <a:pt x="241" y="247"/>
                              </a:lnTo>
                              <a:lnTo>
                                <a:pt x="271" y="224"/>
                              </a:lnTo>
                              <a:lnTo>
                                <a:pt x="271" y="224"/>
                              </a:lnTo>
                              <a:lnTo>
                                <a:pt x="271" y="224"/>
                              </a:lnTo>
                              <a:lnTo>
                                <a:pt x="290" y="218"/>
                              </a:lnTo>
                              <a:lnTo>
                                <a:pt x="290" y="218"/>
                              </a:lnTo>
                              <a:lnTo>
                                <a:pt x="291" y="218"/>
                              </a:lnTo>
                              <a:lnTo>
                                <a:pt x="316" y="219"/>
                              </a:lnTo>
                              <a:lnTo>
                                <a:pt x="330" y="208"/>
                              </a:lnTo>
                              <a:lnTo>
                                <a:pt x="305" y="175"/>
                              </a:lnTo>
                              <a:lnTo>
                                <a:pt x="289" y="172"/>
                              </a:lnTo>
                              <a:lnTo>
                                <a:pt x="288" y="171"/>
                              </a:lnTo>
                              <a:lnTo>
                                <a:pt x="287" y="170"/>
                              </a:lnTo>
                              <a:lnTo>
                                <a:pt x="280" y="145"/>
                              </a:lnTo>
                              <a:lnTo>
                                <a:pt x="270" y="146"/>
                              </a:lnTo>
                              <a:lnTo>
                                <a:pt x="268" y="161"/>
                              </a:lnTo>
                              <a:lnTo>
                                <a:pt x="268" y="163"/>
                              </a:lnTo>
                              <a:lnTo>
                                <a:pt x="266" y="163"/>
                              </a:lnTo>
                              <a:lnTo>
                                <a:pt x="257" y="161"/>
                              </a:lnTo>
                              <a:lnTo>
                                <a:pt x="257" y="161"/>
                              </a:lnTo>
                              <a:lnTo>
                                <a:pt x="257" y="160"/>
                              </a:lnTo>
                              <a:lnTo>
                                <a:pt x="250" y="150"/>
                              </a:lnTo>
                              <a:lnTo>
                                <a:pt x="242" y="152"/>
                              </a:lnTo>
                              <a:lnTo>
                                <a:pt x="241" y="170"/>
                              </a:lnTo>
                              <a:lnTo>
                                <a:pt x="241" y="172"/>
                              </a:lnTo>
                              <a:lnTo>
                                <a:pt x="239" y="172"/>
                              </a:lnTo>
                              <a:lnTo>
                                <a:pt x="228" y="169"/>
                              </a:lnTo>
                              <a:lnTo>
                                <a:pt x="227" y="169"/>
                              </a:lnTo>
                              <a:lnTo>
                                <a:pt x="227" y="168"/>
                              </a:lnTo>
                              <a:lnTo>
                                <a:pt x="220" y="155"/>
                              </a:lnTo>
                              <a:lnTo>
                                <a:pt x="189" y="155"/>
                              </a:lnTo>
                              <a:lnTo>
                                <a:pt x="188" y="155"/>
                              </a:lnTo>
                              <a:lnTo>
                                <a:pt x="188" y="155"/>
                              </a:lnTo>
                              <a:lnTo>
                                <a:pt x="175" y="136"/>
                              </a:lnTo>
                              <a:lnTo>
                                <a:pt x="146" y="136"/>
                              </a:lnTo>
                              <a:lnTo>
                                <a:pt x="145" y="136"/>
                              </a:lnTo>
                              <a:lnTo>
                                <a:pt x="144" y="135"/>
                              </a:lnTo>
                              <a:lnTo>
                                <a:pt x="136" y="125"/>
                              </a:lnTo>
                              <a:lnTo>
                                <a:pt x="135" y="125"/>
                              </a:lnTo>
                              <a:lnTo>
                                <a:pt x="136" y="123"/>
                              </a:lnTo>
                              <a:lnTo>
                                <a:pt x="187" y="62"/>
                              </a:lnTo>
                              <a:lnTo>
                                <a:pt x="184" y="0"/>
                              </a:lnTo>
                              <a:lnTo>
                                <a:pt x="184" y="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97" name="Freeform 208">
                          <a:extLst>
                            <a:ext uri="{FF2B5EF4-FFF2-40B4-BE49-F238E27FC236}">
                              <a16:creationId xmlns:a16="http://schemas.microsoft.com/office/drawing/2014/main" id="{A2D54096-71C8-4D2A-BA85-D11F0B8D650C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390261" y="534558"/>
                          <a:ext cx="305755" cy="437086"/>
                        </a:xfrm>
                        <a:custGeom>
                          <a:avLst/>
                          <a:gdLst>
                            <a:gd name="T0" fmla="*/ 68 w 298"/>
                            <a:gd name="T1" fmla="*/ 230 h 426"/>
                            <a:gd name="T2" fmla="*/ 76 w 298"/>
                            <a:gd name="T3" fmla="*/ 179 h 426"/>
                            <a:gd name="T4" fmla="*/ 88 w 298"/>
                            <a:gd name="T5" fmla="*/ 196 h 426"/>
                            <a:gd name="T6" fmla="*/ 83 w 298"/>
                            <a:gd name="T7" fmla="*/ 232 h 426"/>
                            <a:gd name="T8" fmla="*/ 98 w 298"/>
                            <a:gd name="T9" fmla="*/ 263 h 426"/>
                            <a:gd name="T10" fmla="*/ 102 w 298"/>
                            <a:gd name="T11" fmla="*/ 316 h 426"/>
                            <a:gd name="T12" fmla="*/ 123 w 298"/>
                            <a:gd name="T13" fmla="*/ 347 h 426"/>
                            <a:gd name="T14" fmla="*/ 127 w 298"/>
                            <a:gd name="T15" fmla="*/ 380 h 426"/>
                            <a:gd name="T16" fmla="*/ 204 w 298"/>
                            <a:gd name="T17" fmla="*/ 426 h 426"/>
                            <a:gd name="T18" fmla="*/ 252 w 298"/>
                            <a:gd name="T19" fmla="*/ 417 h 426"/>
                            <a:gd name="T20" fmla="*/ 288 w 298"/>
                            <a:gd name="T21" fmla="*/ 369 h 426"/>
                            <a:gd name="T22" fmla="*/ 298 w 298"/>
                            <a:gd name="T23" fmla="*/ 317 h 426"/>
                            <a:gd name="T24" fmla="*/ 282 w 298"/>
                            <a:gd name="T25" fmla="*/ 256 h 426"/>
                            <a:gd name="T26" fmla="*/ 283 w 298"/>
                            <a:gd name="T27" fmla="*/ 167 h 426"/>
                            <a:gd name="T28" fmla="*/ 273 w 298"/>
                            <a:gd name="T29" fmla="*/ 135 h 426"/>
                            <a:gd name="T30" fmla="*/ 249 w 298"/>
                            <a:gd name="T31" fmla="*/ 95 h 426"/>
                            <a:gd name="T32" fmla="*/ 245 w 298"/>
                            <a:gd name="T33" fmla="*/ 65 h 426"/>
                            <a:gd name="T34" fmla="*/ 256 w 298"/>
                            <a:gd name="T35" fmla="*/ 58 h 426"/>
                            <a:gd name="T36" fmla="*/ 271 w 298"/>
                            <a:gd name="T37" fmla="*/ 79 h 426"/>
                            <a:gd name="T38" fmla="*/ 286 w 298"/>
                            <a:gd name="T39" fmla="*/ 69 h 426"/>
                            <a:gd name="T40" fmla="*/ 272 w 298"/>
                            <a:gd name="T41" fmla="*/ 42 h 426"/>
                            <a:gd name="T42" fmla="*/ 219 w 298"/>
                            <a:gd name="T43" fmla="*/ 6 h 426"/>
                            <a:gd name="T44" fmla="*/ 144 w 298"/>
                            <a:gd name="T45" fmla="*/ 0 h 426"/>
                            <a:gd name="T46" fmla="*/ 130 w 298"/>
                            <a:gd name="T47" fmla="*/ 11 h 426"/>
                            <a:gd name="T48" fmla="*/ 92 w 298"/>
                            <a:gd name="T49" fmla="*/ 32 h 426"/>
                            <a:gd name="T50" fmla="*/ 93 w 298"/>
                            <a:gd name="T51" fmla="*/ 62 h 426"/>
                            <a:gd name="T52" fmla="*/ 67 w 298"/>
                            <a:gd name="T53" fmla="*/ 103 h 426"/>
                            <a:gd name="T54" fmla="*/ 17 w 298"/>
                            <a:gd name="T55" fmla="*/ 104 h 426"/>
                            <a:gd name="T56" fmla="*/ 0 w 298"/>
                            <a:gd name="T57" fmla="*/ 125 h 426"/>
                            <a:gd name="T58" fmla="*/ 37 w 298"/>
                            <a:gd name="T59" fmla="*/ 174 h 426"/>
                            <a:gd name="T60" fmla="*/ 37 w 298"/>
                            <a:gd name="T61" fmla="*/ 175 h 426"/>
                            <a:gd name="T62" fmla="*/ 37 w 298"/>
                            <a:gd name="T63" fmla="*/ 176 h 426"/>
                            <a:gd name="T64" fmla="*/ 32 w 298"/>
                            <a:gd name="T65" fmla="*/ 205 h 426"/>
                            <a:gd name="T66" fmla="*/ 62 w 298"/>
                            <a:gd name="T67" fmla="*/ 220 h 426"/>
                            <a:gd name="T68" fmla="*/ 62 w 298"/>
                            <a:gd name="T69" fmla="*/ 220 h 426"/>
                            <a:gd name="T70" fmla="*/ 63 w 298"/>
                            <a:gd name="T71" fmla="*/ 221 h 426"/>
                            <a:gd name="T72" fmla="*/ 68 w 298"/>
                            <a:gd name="T73" fmla="*/ 230 h 426"/>
                            <a:gd name="T74" fmla="*/ 68 w 298"/>
                            <a:gd name="T75" fmla="*/ 230 h 42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</a:cxnLst>
                          <a:rect l="0" t="0" r="r" b="b"/>
                          <a:pathLst>
                            <a:path w="298" h="426">
                              <a:moveTo>
                                <a:pt x="68" y="230"/>
                              </a:moveTo>
                              <a:lnTo>
                                <a:pt x="76" y="179"/>
                              </a:lnTo>
                              <a:lnTo>
                                <a:pt x="88" y="196"/>
                              </a:lnTo>
                              <a:lnTo>
                                <a:pt x="83" y="232"/>
                              </a:lnTo>
                              <a:lnTo>
                                <a:pt x="98" y="263"/>
                              </a:lnTo>
                              <a:lnTo>
                                <a:pt x="102" y="316"/>
                              </a:lnTo>
                              <a:lnTo>
                                <a:pt x="123" y="347"/>
                              </a:lnTo>
                              <a:lnTo>
                                <a:pt x="127" y="380"/>
                              </a:lnTo>
                              <a:lnTo>
                                <a:pt x="204" y="426"/>
                              </a:lnTo>
                              <a:lnTo>
                                <a:pt x="252" y="417"/>
                              </a:lnTo>
                              <a:lnTo>
                                <a:pt x="288" y="369"/>
                              </a:lnTo>
                              <a:lnTo>
                                <a:pt x="298" y="317"/>
                              </a:lnTo>
                              <a:lnTo>
                                <a:pt x="282" y="256"/>
                              </a:lnTo>
                              <a:lnTo>
                                <a:pt x="283" y="167"/>
                              </a:lnTo>
                              <a:lnTo>
                                <a:pt x="273" y="135"/>
                              </a:lnTo>
                              <a:lnTo>
                                <a:pt x="249" y="95"/>
                              </a:lnTo>
                              <a:lnTo>
                                <a:pt x="245" y="65"/>
                              </a:lnTo>
                              <a:lnTo>
                                <a:pt x="256" y="58"/>
                              </a:lnTo>
                              <a:lnTo>
                                <a:pt x="271" y="79"/>
                              </a:lnTo>
                              <a:lnTo>
                                <a:pt x="286" y="69"/>
                              </a:lnTo>
                              <a:lnTo>
                                <a:pt x="272" y="42"/>
                              </a:lnTo>
                              <a:lnTo>
                                <a:pt x="219" y="6"/>
                              </a:lnTo>
                              <a:lnTo>
                                <a:pt x="144" y="0"/>
                              </a:lnTo>
                              <a:lnTo>
                                <a:pt x="130" y="11"/>
                              </a:lnTo>
                              <a:lnTo>
                                <a:pt x="92" y="32"/>
                              </a:lnTo>
                              <a:lnTo>
                                <a:pt x="93" y="62"/>
                              </a:lnTo>
                              <a:lnTo>
                                <a:pt x="67" y="103"/>
                              </a:lnTo>
                              <a:lnTo>
                                <a:pt x="17" y="104"/>
                              </a:lnTo>
                              <a:lnTo>
                                <a:pt x="0" y="125"/>
                              </a:lnTo>
                              <a:lnTo>
                                <a:pt x="37" y="174"/>
                              </a:lnTo>
                              <a:lnTo>
                                <a:pt x="37" y="175"/>
                              </a:lnTo>
                              <a:lnTo>
                                <a:pt x="37" y="176"/>
                              </a:lnTo>
                              <a:lnTo>
                                <a:pt x="32" y="205"/>
                              </a:lnTo>
                              <a:lnTo>
                                <a:pt x="62" y="220"/>
                              </a:lnTo>
                              <a:lnTo>
                                <a:pt x="62" y="220"/>
                              </a:lnTo>
                              <a:lnTo>
                                <a:pt x="63" y="221"/>
                              </a:lnTo>
                              <a:lnTo>
                                <a:pt x="68" y="230"/>
                              </a:lnTo>
                              <a:lnTo>
                                <a:pt x="68" y="23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98" name="Freeform 209">
                          <a:extLst>
                            <a:ext uri="{FF2B5EF4-FFF2-40B4-BE49-F238E27FC236}">
                              <a16:creationId xmlns:a16="http://schemas.microsoft.com/office/drawing/2014/main" id="{E84DD540-3607-4D58-8EDB-51EADBA96F01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017814" y="665889"/>
                          <a:ext cx="441190" cy="490439"/>
                        </a:xfrm>
                        <a:custGeom>
                          <a:avLst/>
                          <a:gdLst>
                            <a:gd name="T0" fmla="*/ 336 w 430"/>
                            <a:gd name="T1" fmla="*/ 291 h 478"/>
                            <a:gd name="T2" fmla="*/ 326 w 430"/>
                            <a:gd name="T3" fmla="*/ 260 h 478"/>
                            <a:gd name="T4" fmla="*/ 375 w 430"/>
                            <a:gd name="T5" fmla="*/ 193 h 478"/>
                            <a:gd name="T6" fmla="*/ 424 w 430"/>
                            <a:gd name="T7" fmla="*/ 152 h 478"/>
                            <a:gd name="T8" fmla="*/ 423 w 430"/>
                            <a:gd name="T9" fmla="*/ 95 h 478"/>
                            <a:gd name="T10" fmla="*/ 390 w 430"/>
                            <a:gd name="T11" fmla="*/ 79 h 478"/>
                            <a:gd name="T12" fmla="*/ 396 w 430"/>
                            <a:gd name="T13" fmla="*/ 48 h 478"/>
                            <a:gd name="T14" fmla="*/ 319 w 430"/>
                            <a:gd name="T15" fmla="*/ 53 h 478"/>
                            <a:gd name="T16" fmla="*/ 269 w 430"/>
                            <a:gd name="T17" fmla="*/ 71 h 478"/>
                            <a:gd name="T18" fmla="*/ 242 w 430"/>
                            <a:gd name="T19" fmla="*/ 90 h 478"/>
                            <a:gd name="T20" fmla="*/ 217 w 430"/>
                            <a:gd name="T21" fmla="*/ 118 h 478"/>
                            <a:gd name="T22" fmla="*/ 215 w 430"/>
                            <a:gd name="T23" fmla="*/ 146 h 478"/>
                            <a:gd name="T24" fmla="*/ 168 w 430"/>
                            <a:gd name="T25" fmla="*/ 174 h 478"/>
                            <a:gd name="T26" fmla="*/ 140 w 430"/>
                            <a:gd name="T27" fmla="*/ 236 h 478"/>
                            <a:gd name="T28" fmla="*/ 0 w 430"/>
                            <a:gd name="T29" fmla="*/ 225 h 478"/>
                            <a:gd name="T30" fmla="*/ 25 w 430"/>
                            <a:gd name="T31" fmla="*/ 248 h 478"/>
                            <a:gd name="T32" fmla="*/ 25 w 430"/>
                            <a:gd name="T33" fmla="*/ 248 h 478"/>
                            <a:gd name="T34" fmla="*/ 57 w 430"/>
                            <a:gd name="T35" fmla="*/ 252 h 478"/>
                            <a:gd name="T36" fmla="*/ 70 w 430"/>
                            <a:gd name="T37" fmla="*/ 271 h 478"/>
                            <a:gd name="T38" fmla="*/ 70 w 430"/>
                            <a:gd name="T39" fmla="*/ 272 h 478"/>
                            <a:gd name="T40" fmla="*/ 69 w 430"/>
                            <a:gd name="T41" fmla="*/ 294 h 478"/>
                            <a:gd name="T42" fmla="*/ 58 w 430"/>
                            <a:gd name="T43" fmla="*/ 307 h 478"/>
                            <a:gd name="T44" fmla="*/ 59 w 430"/>
                            <a:gd name="T45" fmla="*/ 331 h 478"/>
                            <a:gd name="T46" fmla="*/ 56 w 430"/>
                            <a:gd name="T47" fmla="*/ 353 h 478"/>
                            <a:gd name="T48" fmla="*/ 56 w 430"/>
                            <a:gd name="T49" fmla="*/ 354 h 478"/>
                            <a:gd name="T50" fmla="*/ 35 w 430"/>
                            <a:gd name="T51" fmla="*/ 378 h 478"/>
                            <a:gd name="T52" fmla="*/ 50 w 430"/>
                            <a:gd name="T53" fmla="*/ 393 h 478"/>
                            <a:gd name="T54" fmla="*/ 51 w 430"/>
                            <a:gd name="T55" fmla="*/ 374 h 478"/>
                            <a:gd name="T56" fmla="*/ 63 w 430"/>
                            <a:gd name="T57" fmla="*/ 370 h 478"/>
                            <a:gd name="T58" fmla="*/ 65 w 430"/>
                            <a:gd name="T59" fmla="*/ 371 h 478"/>
                            <a:gd name="T60" fmla="*/ 77 w 430"/>
                            <a:gd name="T61" fmla="*/ 384 h 478"/>
                            <a:gd name="T62" fmla="*/ 79 w 430"/>
                            <a:gd name="T63" fmla="*/ 368 h 478"/>
                            <a:gd name="T64" fmla="*/ 93 w 430"/>
                            <a:gd name="T65" fmla="*/ 366 h 478"/>
                            <a:gd name="T66" fmla="*/ 95 w 430"/>
                            <a:gd name="T67" fmla="*/ 368 h 478"/>
                            <a:gd name="T68" fmla="*/ 118 w 430"/>
                            <a:gd name="T69" fmla="*/ 396 h 478"/>
                            <a:gd name="T70" fmla="*/ 119 w 430"/>
                            <a:gd name="T71" fmla="*/ 397 h 478"/>
                            <a:gd name="T72" fmla="*/ 148 w 430"/>
                            <a:gd name="T73" fmla="*/ 419 h 478"/>
                            <a:gd name="T74" fmla="*/ 145 w 430"/>
                            <a:gd name="T75" fmla="*/ 388 h 478"/>
                            <a:gd name="T76" fmla="*/ 157 w 430"/>
                            <a:gd name="T77" fmla="*/ 365 h 478"/>
                            <a:gd name="T78" fmla="*/ 157 w 430"/>
                            <a:gd name="T79" fmla="*/ 365 h 478"/>
                            <a:gd name="T80" fmla="*/ 198 w 430"/>
                            <a:gd name="T81" fmla="*/ 321 h 478"/>
                            <a:gd name="T82" fmla="*/ 222 w 430"/>
                            <a:gd name="T83" fmla="*/ 326 h 478"/>
                            <a:gd name="T84" fmla="*/ 224 w 430"/>
                            <a:gd name="T85" fmla="*/ 327 h 478"/>
                            <a:gd name="T86" fmla="*/ 232 w 430"/>
                            <a:gd name="T87" fmla="*/ 341 h 478"/>
                            <a:gd name="T88" fmla="*/ 228 w 430"/>
                            <a:gd name="T89" fmla="*/ 366 h 478"/>
                            <a:gd name="T90" fmla="*/ 227 w 430"/>
                            <a:gd name="T91" fmla="*/ 367 h 478"/>
                            <a:gd name="T92" fmla="*/ 180 w 430"/>
                            <a:gd name="T93" fmla="*/ 417 h 478"/>
                            <a:gd name="T94" fmla="*/ 192 w 430"/>
                            <a:gd name="T95" fmla="*/ 445 h 478"/>
                            <a:gd name="T96" fmla="*/ 194 w 430"/>
                            <a:gd name="T97" fmla="*/ 447 h 478"/>
                            <a:gd name="T98" fmla="*/ 210 w 430"/>
                            <a:gd name="T99" fmla="*/ 478 h 478"/>
                            <a:gd name="T100" fmla="*/ 222 w 430"/>
                            <a:gd name="T101" fmla="*/ 464 h 478"/>
                            <a:gd name="T102" fmla="*/ 237 w 430"/>
                            <a:gd name="T103" fmla="*/ 464 h 478"/>
                            <a:gd name="T104" fmla="*/ 243 w 430"/>
                            <a:gd name="T105" fmla="*/ 437 h 478"/>
                            <a:gd name="T106" fmla="*/ 271 w 430"/>
                            <a:gd name="T107" fmla="*/ 409 h 478"/>
                            <a:gd name="T108" fmla="*/ 264 w 430"/>
                            <a:gd name="T109" fmla="*/ 398 h 478"/>
                            <a:gd name="T110" fmla="*/ 255 w 430"/>
                            <a:gd name="T111" fmla="*/ 382 h 478"/>
                            <a:gd name="T112" fmla="*/ 261 w 430"/>
                            <a:gd name="T113" fmla="*/ 360 h 478"/>
                            <a:gd name="T114" fmla="*/ 262 w 430"/>
                            <a:gd name="T115" fmla="*/ 359 h 478"/>
                            <a:gd name="T116" fmla="*/ 291 w 430"/>
                            <a:gd name="T117" fmla="*/ 318 h 478"/>
                            <a:gd name="T118" fmla="*/ 293 w 430"/>
                            <a:gd name="T119" fmla="*/ 317 h 478"/>
                            <a:gd name="T120" fmla="*/ 322 w 430"/>
                            <a:gd name="T121" fmla="*/ 324 h 478"/>
                            <a:gd name="T122" fmla="*/ 336 w 430"/>
                            <a:gd name="T123" fmla="*/ 308 h 478"/>
                            <a:gd name="T124" fmla="*/ 339 w 430"/>
                            <a:gd name="T125" fmla="*/ 307 h 47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  <a:cxn ang="0">
                              <a:pos x="T116" y="T117"/>
                            </a:cxn>
                            <a:cxn ang="0">
                              <a:pos x="T118" y="T119"/>
                            </a:cxn>
                            <a:cxn ang="0">
                              <a:pos x="T120" y="T121"/>
                            </a:cxn>
                            <a:cxn ang="0">
                              <a:pos x="T122" y="T123"/>
                            </a:cxn>
                            <a:cxn ang="0">
                              <a:pos x="T124" y="T125"/>
                            </a:cxn>
                          </a:cxnLst>
                          <a:rect l="0" t="0" r="r" b="b"/>
                          <a:pathLst>
                            <a:path w="430" h="478">
                              <a:moveTo>
                                <a:pt x="339" y="307"/>
                              </a:moveTo>
                              <a:lnTo>
                                <a:pt x="336" y="291"/>
                              </a:lnTo>
                              <a:lnTo>
                                <a:pt x="340" y="277"/>
                              </a:lnTo>
                              <a:lnTo>
                                <a:pt x="326" y="260"/>
                              </a:lnTo>
                              <a:lnTo>
                                <a:pt x="338" y="238"/>
                              </a:lnTo>
                              <a:lnTo>
                                <a:pt x="375" y="193"/>
                              </a:lnTo>
                              <a:lnTo>
                                <a:pt x="405" y="183"/>
                              </a:lnTo>
                              <a:lnTo>
                                <a:pt x="424" y="152"/>
                              </a:lnTo>
                              <a:lnTo>
                                <a:pt x="430" y="108"/>
                              </a:lnTo>
                              <a:lnTo>
                                <a:pt x="423" y="95"/>
                              </a:lnTo>
                              <a:lnTo>
                                <a:pt x="392" y="80"/>
                              </a:lnTo>
                              <a:lnTo>
                                <a:pt x="390" y="79"/>
                              </a:lnTo>
                              <a:lnTo>
                                <a:pt x="390" y="78"/>
                              </a:lnTo>
                              <a:lnTo>
                                <a:pt x="396" y="48"/>
                              </a:lnTo>
                              <a:lnTo>
                                <a:pt x="361" y="0"/>
                              </a:lnTo>
                              <a:lnTo>
                                <a:pt x="319" y="53"/>
                              </a:lnTo>
                              <a:lnTo>
                                <a:pt x="297" y="52"/>
                              </a:lnTo>
                              <a:lnTo>
                                <a:pt x="269" y="71"/>
                              </a:lnTo>
                              <a:lnTo>
                                <a:pt x="250" y="70"/>
                              </a:lnTo>
                              <a:lnTo>
                                <a:pt x="242" y="90"/>
                              </a:lnTo>
                              <a:lnTo>
                                <a:pt x="233" y="106"/>
                              </a:lnTo>
                              <a:lnTo>
                                <a:pt x="217" y="118"/>
                              </a:lnTo>
                              <a:lnTo>
                                <a:pt x="226" y="135"/>
                              </a:lnTo>
                              <a:lnTo>
                                <a:pt x="215" y="146"/>
                              </a:lnTo>
                              <a:lnTo>
                                <a:pt x="178" y="140"/>
                              </a:lnTo>
                              <a:lnTo>
                                <a:pt x="168" y="174"/>
                              </a:lnTo>
                              <a:lnTo>
                                <a:pt x="162" y="227"/>
                              </a:lnTo>
                              <a:lnTo>
                                <a:pt x="140" y="236"/>
                              </a:lnTo>
                              <a:lnTo>
                                <a:pt x="43" y="223"/>
                              </a:lnTo>
                              <a:lnTo>
                                <a:pt x="0" y="225"/>
                              </a:lnTo>
                              <a:lnTo>
                                <a:pt x="1" y="253"/>
                              </a:lnTo>
                              <a:lnTo>
                                <a:pt x="25" y="248"/>
                              </a:lnTo>
                              <a:lnTo>
                                <a:pt x="25" y="248"/>
                              </a:lnTo>
                              <a:lnTo>
                                <a:pt x="25" y="248"/>
                              </a:lnTo>
                              <a:lnTo>
                                <a:pt x="56" y="252"/>
                              </a:lnTo>
                              <a:lnTo>
                                <a:pt x="57" y="252"/>
                              </a:lnTo>
                              <a:lnTo>
                                <a:pt x="57" y="253"/>
                              </a:lnTo>
                              <a:lnTo>
                                <a:pt x="70" y="271"/>
                              </a:lnTo>
                              <a:lnTo>
                                <a:pt x="70" y="271"/>
                              </a:lnTo>
                              <a:lnTo>
                                <a:pt x="70" y="272"/>
                              </a:lnTo>
                              <a:lnTo>
                                <a:pt x="69" y="293"/>
                              </a:lnTo>
                              <a:lnTo>
                                <a:pt x="69" y="294"/>
                              </a:lnTo>
                              <a:lnTo>
                                <a:pt x="69" y="295"/>
                              </a:lnTo>
                              <a:lnTo>
                                <a:pt x="58" y="307"/>
                              </a:lnTo>
                              <a:lnTo>
                                <a:pt x="59" y="331"/>
                              </a:lnTo>
                              <a:lnTo>
                                <a:pt x="59" y="331"/>
                              </a:lnTo>
                              <a:lnTo>
                                <a:pt x="59" y="331"/>
                              </a:lnTo>
                              <a:lnTo>
                                <a:pt x="56" y="353"/>
                              </a:lnTo>
                              <a:lnTo>
                                <a:pt x="56" y="354"/>
                              </a:lnTo>
                              <a:lnTo>
                                <a:pt x="56" y="354"/>
                              </a:lnTo>
                              <a:lnTo>
                                <a:pt x="40" y="366"/>
                              </a:lnTo>
                              <a:lnTo>
                                <a:pt x="35" y="378"/>
                              </a:lnTo>
                              <a:lnTo>
                                <a:pt x="42" y="391"/>
                              </a:lnTo>
                              <a:lnTo>
                                <a:pt x="50" y="393"/>
                              </a:lnTo>
                              <a:lnTo>
                                <a:pt x="51" y="375"/>
                              </a:lnTo>
                              <a:lnTo>
                                <a:pt x="51" y="374"/>
                              </a:lnTo>
                              <a:lnTo>
                                <a:pt x="52" y="374"/>
                              </a:lnTo>
                              <a:lnTo>
                                <a:pt x="63" y="370"/>
                              </a:lnTo>
                              <a:lnTo>
                                <a:pt x="64" y="370"/>
                              </a:lnTo>
                              <a:lnTo>
                                <a:pt x="65" y="371"/>
                              </a:lnTo>
                              <a:lnTo>
                                <a:pt x="71" y="383"/>
                              </a:lnTo>
                              <a:lnTo>
                                <a:pt x="77" y="384"/>
                              </a:lnTo>
                              <a:lnTo>
                                <a:pt x="78" y="369"/>
                              </a:lnTo>
                              <a:lnTo>
                                <a:pt x="79" y="368"/>
                              </a:lnTo>
                              <a:lnTo>
                                <a:pt x="80" y="367"/>
                              </a:lnTo>
                              <a:lnTo>
                                <a:pt x="93" y="366"/>
                              </a:lnTo>
                              <a:lnTo>
                                <a:pt x="94" y="366"/>
                              </a:lnTo>
                              <a:lnTo>
                                <a:pt x="95" y="368"/>
                              </a:lnTo>
                              <a:lnTo>
                                <a:pt x="103" y="393"/>
                              </a:lnTo>
                              <a:lnTo>
                                <a:pt x="118" y="396"/>
                              </a:lnTo>
                              <a:lnTo>
                                <a:pt x="119" y="396"/>
                              </a:lnTo>
                              <a:lnTo>
                                <a:pt x="119" y="397"/>
                              </a:lnTo>
                              <a:lnTo>
                                <a:pt x="144" y="429"/>
                              </a:lnTo>
                              <a:lnTo>
                                <a:pt x="148" y="419"/>
                              </a:lnTo>
                              <a:lnTo>
                                <a:pt x="145" y="388"/>
                              </a:lnTo>
                              <a:lnTo>
                                <a:pt x="145" y="388"/>
                              </a:lnTo>
                              <a:lnTo>
                                <a:pt x="145" y="387"/>
                              </a:lnTo>
                              <a:lnTo>
                                <a:pt x="157" y="365"/>
                              </a:lnTo>
                              <a:lnTo>
                                <a:pt x="157" y="365"/>
                              </a:lnTo>
                              <a:lnTo>
                                <a:pt x="157" y="365"/>
                              </a:lnTo>
                              <a:lnTo>
                                <a:pt x="197" y="321"/>
                              </a:lnTo>
                              <a:lnTo>
                                <a:pt x="198" y="321"/>
                              </a:lnTo>
                              <a:lnTo>
                                <a:pt x="199" y="321"/>
                              </a:lnTo>
                              <a:lnTo>
                                <a:pt x="222" y="326"/>
                              </a:lnTo>
                              <a:lnTo>
                                <a:pt x="223" y="326"/>
                              </a:lnTo>
                              <a:lnTo>
                                <a:pt x="224" y="327"/>
                              </a:lnTo>
                              <a:lnTo>
                                <a:pt x="231" y="341"/>
                              </a:lnTo>
                              <a:lnTo>
                                <a:pt x="232" y="341"/>
                              </a:lnTo>
                              <a:lnTo>
                                <a:pt x="232" y="342"/>
                              </a:lnTo>
                              <a:lnTo>
                                <a:pt x="228" y="366"/>
                              </a:lnTo>
                              <a:lnTo>
                                <a:pt x="227" y="366"/>
                              </a:lnTo>
                              <a:lnTo>
                                <a:pt x="227" y="367"/>
                              </a:lnTo>
                              <a:lnTo>
                                <a:pt x="210" y="384"/>
                              </a:lnTo>
                              <a:lnTo>
                                <a:pt x="180" y="417"/>
                              </a:lnTo>
                              <a:lnTo>
                                <a:pt x="173" y="445"/>
                              </a:lnTo>
                              <a:lnTo>
                                <a:pt x="192" y="445"/>
                              </a:lnTo>
                              <a:lnTo>
                                <a:pt x="194" y="445"/>
                              </a:lnTo>
                              <a:lnTo>
                                <a:pt x="194" y="447"/>
                              </a:lnTo>
                              <a:lnTo>
                                <a:pt x="194" y="472"/>
                              </a:lnTo>
                              <a:lnTo>
                                <a:pt x="210" y="478"/>
                              </a:lnTo>
                              <a:lnTo>
                                <a:pt x="221" y="465"/>
                              </a:lnTo>
                              <a:lnTo>
                                <a:pt x="222" y="464"/>
                              </a:lnTo>
                              <a:lnTo>
                                <a:pt x="222" y="464"/>
                              </a:lnTo>
                              <a:lnTo>
                                <a:pt x="237" y="464"/>
                              </a:lnTo>
                              <a:lnTo>
                                <a:pt x="243" y="438"/>
                              </a:lnTo>
                              <a:lnTo>
                                <a:pt x="243" y="437"/>
                              </a:lnTo>
                              <a:lnTo>
                                <a:pt x="243" y="437"/>
                              </a:lnTo>
                              <a:lnTo>
                                <a:pt x="271" y="409"/>
                              </a:lnTo>
                              <a:lnTo>
                                <a:pt x="264" y="398"/>
                              </a:lnTo>
                              <a:lnTo>
                                <a:pt x="264" y="398"/>
                              </a:lnTo>
                              <a:lnTo>
                                <a:pt x="255" y="383"/>
                              </a:lnTo>
                              <a:lnTo>
                                <a:pt x="255" y="382"/>
                              </a:lnTo>
                              <a:lnTo>
                                <a:pt x="255" y="381"/>
                              </a:lnTo>
                              <a:lnTo>
                                <a:pt x="261" y="360"/>
                              </a:lnTo>
                              <a:lnTo>
                                <a:pt x="262" y="359"/>
                              </a:lnTo>
                              <a:lnTo>
                                <a:pt x="262" y="359"/>
                              </a:lnTo>
                              <a:lnTo>
                                <a:pt x="288" y="332"/>
                              </a:lnTo>
                              <a:lnTo>
                                <a:pt x="291" y="318"/>
                              </a:lnTo>
                              <a:lnTo>
                                <a:pt x="291" y="316"/>
                              </a:lnTo>
                              <a:lnTo>
                                <a:pt x="293" y="317"/>
                              </a:lnTo>
                              <a:lnTo>
                                <a:pt x="311" y="321"/>
                              </a:lnTo>
                              <a:lnTo>
                                <a:pt x="322" y="324"/>
                              </a:lnTo>
                              <a:lnTo>
                                <a:pt x="336" y="309"/>
                              </a:lnTo>
                              <a:lnTo>
                                <a:pt x="336" y="308"/>
                              </a:lnTo>
                              <a:lnTo>
                                <a:pt x="337" y="308"/>
                              </a:lnTo>
                              <a:lnTo>
                                <a:pt x="339" y="307"/>
                              </a:lnTo>
                              <a:lnTo>
                                <a:pt x="339" y="307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99" name="Freeform 210">
                          <a:extLst>
                            <a:ext uri="{FF2B5EF4-FFF2-40B4-BE49-F238E27FC236}">
                              <a16:creationId xmlns:a16="http://schemas.microsoft.com/office/drawing/2014/main" id="{3493F9AB-E100-40D8-8285-9E843B7B0DAB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436432" y="1187108"/>
                          <a:ext cx="909056" cy="517115"/>
                        </a:xfrm>
                        <a:custGeom>
                          <a:avLst/>
                          <a:gdLst>
                            <a:gd name="T0" fmla="*/ 323 w 886"/>
                            <a:gd name="T1" fmla="*/ 66 h 504"/>
                            <a:gd name="T2" fmla="*/ 315 w 886"/>
                            <a:gd name="T3" fmla="*/ 83 h 504"/>
                            <a:gd name="T4" fmla="*/ 320 w 886"/>
                            <a:gd name="T5" fmla="*/ 110 h 504"/>
                            <a:gd name="T6" fmla="*/ 295 w 886"/>
                            <a:gd name="T7" fmla="*/ 123 h 504"/>
                            <a:gd name="T8" fmla="*/ 234 w 886"/>
                            <a:gd name="T9" fmla="*/ 106 h 504"/>
                            <a:gd name="T10" fmla="*/ 157 w 886"/>
                            <a:gd name="T11" fmla="*/ 27 h 504"/>
                            <a:gd name="T12" fmla="*/ 169 w 886"/>
                            <a:gd name="T13" fmla="*/ 73 h 504"/>
                            <a:gd name="T14" fmla="*/ 163 w 886"/>
                            <a:gd name="T15" fmla="*/ 102 h 504"/>
                            <a:gd name="T16" fmla="*/ 153 w 886"/>
                            <a:gd name="T17" fmla="*/ 133 h 504"/>
                            <a:gd name="T18" fmla="*/ 155 w 886"/>
                            <a:gd name="T19" fmla="*/ 149 h 504"/>
                            <a:gd name="T20" fmla="*/ 125 w 886"/>
                            <a:gd name="T21" fmla="*/ 152 h 504"/>
                            <a:gd name="T22" fmla="*/ 128 w 886"/>
                            <a:gd name="T23" fmla="*/ 210 h 504"/>
                            <a:gd name="T24" fmla="*/ 140 w 886"/>
                            <a:gd name="T25" fmla="*/ 196 h 504"/>
                            <a:gd name="T26" fmla="*/ 168 w 886"/>
                            <a:gd name="T27" fmla="*/ 188 h 504"/>
                            <a:gd name="T28" fmla="*/ 184 w 886"/>
                            <a:gd name="T29" fmla="*/ 222 h 504"/>
                            <a:gd name="T30" fmla="*/ 123 w 886"/>
                            <a:gd name="T31" fmla="*/ 296 h 504"/>
                            <a:gd name="T32" fmla="*/ 101 w 886"/>
                            <a:gd name="T33" fmla="*/ 313 h 504"/>
                            <a:gd name="T34" fmla="*/ 56 w 886"/>
                            <a:gd name="T35" fmla="*/ 317 h 504"/>
                            <a:gd name="T36" fmla="*/ 6 w 886"/>
                            <a:gd name="T37" fmla="*/ 392 h 504"/>
                            <a:gd name="T38" fmla="*/ 15 w 886"/>
                            <a:gd name="T39" fmla="*/ 441 h 504"/>
                            <a:gd name="T40" fmla="*/ 40 w 886"/>
                            <a:gd name="T41" fmla="*/ 414 h 504"/>
                            <a:gd name="T42" fmla="*/ 147 w 886"/>
                            <a:gd name="T43" fmla="*/ 396 h 504"/>
                            <a:gd name="T44" fmla="*/ 195 w 886"/>
                            <a:gd name="T45" fmla="*/ 399 h 504"/>
                            <a:gd name="T46" fmla="*/ 231 w 886"/>
                            <a:gd name="T47" fmla="*/ 439 h 504"/>
                            <a:gd name="T48" fmla="*/ 342 w 886"/>
                            <a:gd name="T49" fmla="*/ 453 h 504"/>
                            <a:gd name="T50" fmla="*/ 401 w 886"/>
                            <a:gd name="T51" fmla="*/ 499 h 504"/>
                            <a:gd name="T52" fmla="*/ 499 w 886"/>
                            <a:gd name="T53" fmla="*/ 396 h 504"/>
                            <a:gd name="T54" fmla="*/ 554 w 886"/>
                            <a:gd name="T55" fmla="*/ 328 h 504"/>
                            <a:gd name="T56" fmla="*/ 601 w 886"/>
                            <a:gd name="T57" fmla="*/ 285 h 504"/>
                            <a:gd name="T58" fmla="*/ 613 w 886"/>
                            <a:gd name="T59" fmla="*/ 300 h 504"/>
                            <a:gd name="T60" fmla="*/ 671 w 886"/>
                            <a:gd name="T61" fmla="*/ 271 h 504"/>
                            <a:gd name="T62" fmla="*/ 753 w 886"/>
                            <a:gd name="T63" fmla="*/ 242 h 504"/>
                            <a:gd name="T64" fmla="*/ 822 w 886"/>
                            <a:gd name="T65" fmla="*/ 239 h 504"/>
                            <a:gd name="T66" fmla="*/ 841 w 886"/>
                            <a:gd name="T67" fmla="*/ 217 h 504"/>
                            <a:gd name="T68" fmla="*/ 873 w 886"/>
                            <a:gd name="T69" fmla="*/ 150 h 504"/>
                            <a:gd name="T70" fmla="*/ 886 w 886"/>
                            <a:gd name="T71" fmla="*/ 126 h 504"/>
                            <a:gd name="T72" fmla="*/ 864 w 886"/>
                            <a:gd name="T73" fmla="*/ 137 h 504"/>
                            <a:gd name="T74" fmla="*/ 826 w 886"/>
                            <a:gd name="T75" fmla="*/ 157 h 504"/>
                            <a:gd name="T76" fmla="*/ 799 w 886"/>
                            <a:gd name="T77" fmla="*/ 151 h 504"/>
                            <a:gd name="T78" fmla="*/ 779 w 886"/>
                            <a:gd name="T79" fmla="*/ 174 h 504"/>
                            <a:gd name="T80" fmla="*/ 721 w 886"/>
                            <a:gd name="T81" fmla="*/ 178 h 504"/>
                            <a:gd name="T82" fmla="*/ 453 w 886"/>
                            <a:gd name="T83" fmla="*/ 11 h 504"/>
                            <a:gd name="T84" fmla="*/ 347 w 886"/>
                            <a:gd name="T85" fmla="*/ 0 h 50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</a:cxnLst>
                          <a:rect l="0" t="0" r="r" b="b"/>
                          <a:pathLst>
                            <a:path w="886" h="504">
                              <a:moveTo>
                                <a:pt x="347" y="0"/>
                              </a:moveTo>
                              <a:lnTo>
                                <a:pt x="310" y="46"/>
                              </a:lnTo>
                              <a:lnTo>
                                <a:pt x="323" y="66"/>
                              </a:lnTo>
                              <a:lnTo>
                                <a:pt x="324" y="67"/>
                              </a:lnTo>
                              <a:lnTo>
                                <a:pt x="323" y="68"/>
                              </a:lnTo>
                              <a:lnTo>
                                <a:pt x="315" y="83"/>
                              </a:lnTo>
                              <a:lnTo>
                                <a:pt x="321" y="108"/>
                              </a:lnTo>
                              <a:lnTo>
                                <a:pt x="321" y="109"/>
                              </a:lnTo>
                              <a:lnTo>
                                <a:pt x="320" y="110"/>
                              </a:lnTo>
                              <a:lnTo>
                                <a:pt x="297" y="123"/>
                              </a:lnTo>
                              <a:lnTo>
                                <a:pt x="296" y="124"/>
                              </a:lnTo>
                              <a:lnTo>
                                <a:pt x="295" y="123"/>
                              </a:lnTo>
                              <a:lnTo>
                                <a:pt x="265" y="104"/>
                              </a:lnTo>
                              <a:lnTo>
                                <a:pt x="236" y="105"/>
                              </a:lnTo>
                              <a:lnTo>
                                <a:pt x="234" y="106"/>
                              </a:lnTo>
                              <a:lnTo>
                                <a:pt x="234" y="104"/>
                              </a:lnTo>
                              <a:lnTo>
                                <a:pt x="229" y="83"/>
                              </a:lnTo>
                              <a:lnTo>
                                <a:pt x="157" y="27"/>
                              </a:lnTo>
                              <a:lnTo>
                                <a:pt x="149" y="39"/>
                              </a:lnTo>
                              <a:lnTo>
                                <a:pt x="169" y="72"/>
                              </a:lnTo>
                              <a:lnTo>
                                <a:pt x="169" y="73"/>
                              </a:lnTo>
                              <a:lnTo>
                                <a:pt x="169" y="74"/>
                              </a:lnTo>
                              <a:lnTo>
                                <a:pt x="163" y="102"/>
                              </a:lnTo>
                              <a:lnTo>
                                <a:pt x="163" y="102"/>
                              </a:lnTo>
                              <a:lnTo>
                                <a:pt x="163" y="103"/>
                              </a:lnTo>
                              <a:lnTo>
                                <a:pt x="145" y="120"/>
                              </a:lnTo>
                              <a:lnTo>
                                <a:pt x="153" y="133"/>
                              </a:lnTo>
                              <a:lnTo>
                                <a:pt x="154" y="133"/>
                              </a:lnTo>
                              <a:lnTo>
                                <a:pt x="154" y="134"/>
                              </a:lnTo>
                              <a:lnTo>
                                <a:pt x="155" y="149"/>
                              </a:lnTo>
                              <a:lnTo>
                                <a:pt x="155" y="151"/>
                              </a:lnTo>
                              <a:lnTo>
                                <a:pt x="153" y="151"/>
                              </a:lnTo>
                              <a:lnTo>
                                <a:pt x="125" y="152"/>
                              </a:lnTo>
                              <a:lnTo>
                                <a:pt x="102" y="181"/>
                              </a:lnTo>
                              <a:lnTo>
                                <a:pt x="101" y="199"/>
                              </a:lnTo>
                              <a:lnTo>
                                <a:pt x="128" y="210"/>
                              </a:lnTo>
                              <a:lnTo>
                                <a:pt x="139" y="197"/>
                              </a:lnTo>
                              <a:lnTo>
                                <a:pt x="139" y="196"/>
                              </a:lnTo>
                              <a:lnTo>
                                <a:pt x="140" y="196"/>
                              </a:lnTo>
                              <a:lnTo>
                                <a:pt x="166" y="187"/>
                              </a:lnTo>
                              <a:lnTo>
                                <a:pt x="167" y="187"/>
                              </a:lnTo>
                              <a:lnTo>
                                <a:pt x="168" y="188"/>
                              </a:lnTo>
                              <a:lnTo>
                                <a:pt x="184" y="220"/>
                              </a:lnTo>
                              <a:lnTo>
                                <a:pt x="184" y="221"/>
                              </a:lnTo>
                              <a:lnTo>
                                <a:pt x="184" y="222"/>
                              </a:lnTo>
                              <a:lnTo>
                                <a:pt x="124" y="270"/>
                              </a:lnTo>
                              <a:lnTo>
                                <a:pt x="123" y="295"/>
                              </a:lnTo>
                              <a:lnTo>
                                <a:pt x="123" y="296"/>
                              </a:lnTo>
                              <a:lnTo>
                                <a:pt x="122" y="297"/>
                              </a:lnTo>
                              <a:lnTo>
                                <a:pt x="101" y="313"/>
                              </a:lnTo>
                              <a:lnTo>
                                <a:pt x="101" y="313"/>
                              </a:lnTo>
                              <a:lnTo>
                                <a:pt x="100" y="313"/>
                              </a:lnTo>
                              <a:lnTo>
                                <a:pt x="74" y="302"/>
                              </a:lnTo>
                              <a:lnTo>
                                <a:pt x="56" y="317"/>
                              </a:lnTo>
                              <a:lnTo>
                                <a:pt x="0" y="379"/>
                              </a:lnTo>
                              <a:lnTo>
                                <a:pt x="6" y="392"/>
                              </a:lnTo>
                              <a:lnTo>
                                <a:pt x="6" y="392"/>
                              </a:lnTo>
                              <a:lnTo>
                                <a:pt x="6" y="393"/>
                              </a:lnTo>
                              <a:lnTo>
                                <a:pt x="6" y="433"/>
                              </a:lnTo>
                              <a:lnTo>
                                <a:pt x="15" y="441"/>
                              </a:lnTo>
                              <a:lnTo>
                                <a:pt x="38" y="415"/>
                              </a:lnTo>
                              <a:lnTo>
                                <a:pt x="39" y="414"/>
                              </a:lnTo>
                              <a:lnTo>
                                <a:pt x="40" y="414"/>
                              </a:lnTo>
                              <a:lnTo>
                                <a:pt x="110" y="441"/>
                              </a:lnTo>
                              <a:lnTo>
                                <a:pt x="134" y="430"/>
                              </a:lnTo>
                              <a:lnTo>
                                <a:pt x="147" y="396"/>
                              </a:lnTo>
                              <a:lnTo>
                                <a:pt x="148" y="395"/>
                              </a:lnTo>
                              <a:lnTo>
                                <a:pt x="149" y="395"/>
                              </a:lnTo>
                              <a:lnTo>
                                <a:pt x="195" y="399"/>
                              </a:lnTo>
                              <a:lnTo>
                                <a:pt x="196" y="399"/>
                              </a:lnTo>
                              <a:lnTo>
                                <a:pt x="197" y="400"/>
                              </a:lnTo>
                              <a:lnTo>
                                <a:pt x="231" y="439"/>
                              </a:lnTo>
                              <a:lnTo>
                                <a:pt x="268" y="458"/>
                              </a:lnTo>
                              <a:lnTo>
                                <a:pt x="321" y="464"/>
                              </a:lnTo>
                              <a:lnTo>
                                <a:pt x="342" y="453"/>
                              </a:lnTo>
                              <a:lnTo>
                                <a:pt x="343" y="452"/>
                              </a:lnTo>
                              <a:lnTo>
                                <a:pt x="344" y="453"/>
                              </a:lnTo>
                              <a:lnTo>
                                <a:pt x="401" y="499"/>
                              </a:lnTo>
                              <a:lnTo>
                                <a:pt x="435" y="504"/>
                              </a:lnTo>
                              <a:lnTo>
                                <a:pt x="499" y="396"/>
                              </a:lnTo>
                              <a:lnTo>
                                <a:pt x="499" y="396"/>
                              </a:lnTo>
                              <a:lnTo>
                                <a:pt x="499" y="396"/>
                              </a:lnTo>
                              <a:lnTo>
                                <a:pt x="546" y="354"/>
                              </a:lnTo>
                              <a:lnTo>
                                <a:pt x="554" y="328"/>
                              </a:lnTo>
                              <a:lnTo>
                                <a:pt x="554" y="327"/>
                              </a:lnTo>
                              <a:lnTo>
                                <a:pt x="554" y="327"/>
                              </a:lnTo>
                              <a:lnTo>
                                <a:pt x="601" y="285"/>
                              </a:lnTo>
                              <a:lnTo>
                                <a:pt x="603" y="284"/>
                              </a:lnTo>
                              <a:lnTo>
                                <a:pt x="603" y="285"/>
                              </a:lnTo>
                              <a:lnTo>
                                <a:pt x="613" y="300"/>
                              </a:lnTo>
                              <a:lnTo>
                                <a:pt x="639" y="299"/>
                              </a:lnTo>
                              <a:lnTo>
                                <a:pt x="670" y="272"/>
                              </a:lnTo>
                              <a:lnTo>
                                <a:pt x="671" y="271"/>
                              </a:lnTo>
                              <a:lnTo>
                                <a:pt x="672" y="271"/>
                              </a:lnTo>
                              <a:lnTo>
                                <a:pt x="719" y="271"/>
                              </a:lnTo>
                              <a:lnTo>
                                <a:pt x="753" y="242"/>
                              </a:lnTo>
                              <a:lnTo>
                                <a:pt x="754" y="242"/>
                              </a:lnTo>
                              <a:lnTo>
                                <a:pt x="755" y="242"/>
                              </a:lnTo>
                              <a:lnTo>
                                <a:pt x="822" y="239"/>
                              </a:lnTo>
                              <a:lnTo>
                                <a:pt x="840" y="218"/>
                              </a:lnTo>
                              <a:lnTo>
                                <a:pt x="840" y="217"/>
                              </a:lnTo>
                              <a:lnTo>
                                <a:pt x="841" y="217"/>
                              </a:lnTo>
                              <a:lnTo>
                                <a:pt x="868" y="208"/>
                              </a:lnTo>
                              <a:lnTo>
                                <a:pt x="884" y="184"/>
                              </a:lnTo>
                              <a:lnTo>
                                <a:pt x="873" y="150"/>
                              </a:lnTo>
                              <a:lnTo>
                                <a:pt x="873" y="149"/>
                              </a:lnTo>
                              <a:lnTo>
                                <a:pt x="873" y="148"/>
                              </a:lnTo>
                              <a:lnTo>
                                <a:pt x="886" y="126"/>
                              </a:lnTo>
                              <a:lnTo>
                                <a:pt x="873" y="123"/>
                              </a:lnTo>
                              <a:lnTo>
                                <a:pt x="864" y="136"/>
                              </a:lnTo>
                              <a:lnTo>
                                <a:pt x="864" y="137"/>
                              </a:lnTo>
                              <a:lnTo>
                                <a:pt x="863" y="137"/>
                              </a:lnTo>
                              <a:lnTo>
                                <a:pt x="847" y="137"/>
                              </a:lnTo>
                              <a:lnTo>
                                <a:pt x="826" y="157"/>
                              </a:lnTo>
                              <a:lnTo>
                                <a:pt x="825" y="157"/>
                              </a:lnTo>
                              <a:lnTo>
                                <a:pt x="824" y="157"/>
                              </a:lnTo>
                              <a:lnTo>
                                <a:pt x="799" y="151"/>
                              </a:lnTo>
                              <a:lnTo>
                                <a:pt x="780" y="173"/>
                              </a:lnTo>
                              <a:lnTo>
                                <a:pt x="780" y="174"/>
                              </a:lnTo>
                              <a:lnTo>
                                <a:pt x="779" y="174"/>
                              </a:lnTo>
                              <a:lnTo>
                                <a:pt x="722" y="178"/>
                              </a:lnTo>
                              <a:lnTo>
                                <a:pt x="722" y="178"/>
                              </a:lnTo>
                              <a:lnTo>
                                <a:pt x="721" y="178"/>
                              </a:lnTo>
                              <a:lnTo>
                                <a:pt x="477" y="3"/>
                              </a:lnTo>
                              <a:lnTo>
                                <a:pt x="453" y="10"/>
                              </a:lnTo>
                              <a:lnTo>
                                <a:pt x="453" y="11"/>
                              </a:lnTo>
                              <a:lnTo>
                                <a:pt x="452" y="11"/>
                              </a:lnTo>
                              <a:lnTo>
                                <a:pt x="347" y="0"/>
                              </a:lnTo>
                              <a:lnTo>
                                <a:pt x="347" y="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00" name="Freeform 211">
                          <a:extLst>
                            <a:ext uri="{FF2B5EF4-FFF2-40B4-BE49-F238E27FC236}">
                              <a16:creationId xmlns:a16="http://schemas.microsoft.com/office/drawing/2014/main" id="{C58E61B6-3836-499A-A247-CC30C791F8B9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408729" y="894692"/>
                          <a:ext cx="18468" cy="24625"/>
                        </a:xfrm>
                        <a:custGeom>
                          <a:avLst/>
                          <a:gdLst>
                            <a:gd name="T0" fmla="*/ 0 w 18"/>
                            <a:gd name="T1" fmla="*/ 16 h 24"/>
                            <a:gd name="T2" fmla="*/ 8 w 18"/>
                            <a:gd name="T3" fmla="*/ 24 h 24"/>
                            <a:gd name="T4" fmla="*/ 18 w 18"/>
                            <a:gd name="T5" fmla="*/ 17 h 24"/>
                            <a:gd name="T6" fmla="*/ 15 w 18"/>
                            <a:gd name="T7" fmla="*/ 5 h 24"/>
                            <a:gd name="T8" fmla="*/ 7 w 18"/>
                            <a:gd name="T9" fmla="*/ 0 h 24"/>
                            <a:gd name="T10" fmla="*/ 1 w 18"/>
                            <a:gd name="T11" fmla="*/ 8 h 24"/>
                            <a:gd name="T12" fmla="*/ 0 w 18"/>
                            <a:gd name="T13" fmla="*/ 16 h 24"/>
                            <a:gd name="T14" fmla="*/ 0 w 18"/>
                            <a:gd name="T15" fmla="*/ 16 h 2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</a:cxnLst>
                          <a:rect l="0" t="0" r="r" b="b"/>
                          <a:pathLst>
                            <a:path w="18" h="24">
                              <a:moveTo>
                                <a:pt x="0" y="16"/>
                              </a:moveTo>
                              <a:lnTo>
                                <a:pt x="8" y="24"/>
                              </a:lnTo>
                              <a:lnTo>
                                <a:pt x="18" y="17"/>
                              </a:lnTo>
                              <a:lnTo>
                                <a:pt x="15" y="5"/>
                              </a:lnTo>
                              <a:lnTo>
                                <a:pt x="7" y="0"/>
                              </a:lnTo>
                              <a:lnTo>
                                <a:pt x="1" y="8"/>
                              </a:lnTo>
                              <a:lnTo>
                                <a:pt x="0" y="16"/>
                              </a:lnTo>
                              <a:lnTo>
                                <a:pt x="0" y="16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01" name="Freeform 212">
                          <a:extLst>
                            <a:ext uri="{FF2B5EF4-FFF2-40B4-BE49-F238E27FC236}">
                              <a16:creationId xmlns:a16="http://schemas.microsoft.com/office/drawing/2014/main" id="{6EFDA747-5531-41FA-9FB1-E5476B223EEB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160803" y="904952"/>
                          <a:ext cx="15391" cy="34885"/>
                        </a:xfrm>
                        <a:custGeom>
                          <a:avLst/>
                          <a:gdLst>
                            <a:gd name="T0" fmla="*/ 2 w 15"/>
                            <a:gd name="T1" fmla="*/ 34 h 34"/>
                            <a:gd name="T2" fmla="*/ 15 w 15"/>
                            <a:gd name="T3" fmla="*/ 24 h 34"/>
                            <a:gd name="T4" fmla="*/ 15 w 15"/>
                            <a:gd name="T5" fmla="*/ 4 h 34"/>
                            <a:gd name="T6" fmla="*/ 0 w 15"/>
                            <a:gd name="T7" fmla="*/ 0 h 34"/>
                            <a:gd name="T8" fmla="*/ 2 w 15"/>
                            <a:gd name="T9" fmla="*/ 34 h 34"/>
                            <a:gd name="T10" fmla="*/ 2 w 15"/>
                            <a:gd name="T11" fmla="*/ 34 h 3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</a:cxnLst>
                          <a:rect l="0" t="0" r="r" b="b"/>
                          <a:pathLst>
                            <a:path w="15" h="34">
                              <a:moveTo>
                                <a:pt x="2" y="34"/>
                              </a:moveTo>
                              <a:lnTo>
                                <a:pt x="15" y="24"/>
                              </a:lnTo>
                              <a:lnTo>
                                <a:pt x="15" y="4"/>
                              </a:lnTo>
                              <a:lnTo>
                                <a:pt x="0" y="0"/>
                              </a:lnTo>
                              <a:lnTo>
                                <a:pt x="2" y="34"/>
                              </a:lnTo>
                              <a:lnTo>
                                <a:pt x="2" y="34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02" name="Freeform 213">
                          <a:extLst>
                            <a:ext uri="{FF2B5EF4-FFF2-40B4-BE49-F238E27FC236}">
                              <a16:creationId xmlns:a16="http://schemas.microsoft.com/office/drawing/2014/main" id="{A1720675-6C38-44E7-B9A3-78EAE92785E5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703197" y="902900"/>
                          <a:ext cx="667941" cy="463762"/>
                        </a:xfrm>
                        <a:custGeom>
                          <a:avLst/>
                          <a:gdLst>
                            <a:gd name="T0" fmla="*/ 632 w 651"/>
                            <a:gd name="T1" fmla="*/ 297 h 452"/>
                            <a:gd name="T2" fmla="*/ 545 w 651"/>
                            <a:gd name="T3" fmla="*/ 244 h 452"/>
                            <a:gd name="T4" fmla="*/ 540 w 651"/>
                            <a:gd name="T5" fmla="*/ 298 h 452"/>
                            <a:gd name="T6" fmla="*/ 498 w 651"/>
                            <a:gd name="T7" fmla="*/ 311 h 452"/>
                            <a:gd name="T8" fmla="*/ 469 w 651"/>
                            <a:gd name="T9" fmla="*/ 311 h 452"/>
                            <a:gd name="T10" fmla="*/ 491 w 651"/>
                            <a:gd name="T11" fmla="*/ 269 h 452"/>
                            <a:gd name="T12" fmla="*/ 387 w 651"/>
                            <a:gd name="T13" fmla="*/ 243 h 452"/>
                            <a:gd name="T14" fmla="*/ 314 w 651"/>
                            <a:gd name="T15" fmla="*/ 222 h 452"/>
                            <a:gd name="T16" fmla="*/ 363 w 651"/>
                            <a:gd name="T17" fmla="*/ 187 h 452"/>
                            <a:gd name="T18" fmla="*/ 300 w 651"/>
                            <a:gd name="T19" fmla="*/ 200 h 452"/>
                            <a:gd name="T20" fmla="*/ 182 w 651"/>
                            <a:gd name="T21" fmla="*/ 156 h 452"/>
                            <a:gd name="T22" fmla="*/ 152 w 651"/>
                            <a:gd name="T23" fmla="*/ 155 h 452"/>
                            <a:gd name="T24" fmla="*/ 66 w 651"/>
                            <a:gd name="T25" fmla="*/ 160 h 452"/>
                            <a:gd name="T26" fmla="*/ 66 w 651"/>
                            <a:gd name="T27" fmla="*/ 109 h 452"/>
                            <a:gd name="T28" fmla="*/ 134 w 651"/>
                            <a:gd name="T29" fmla="*/ 119 h 452"/>
                            <a:gd name="T30" fmla="*/ 148 w 651"/>
                            <a:gd name="T31" fmla="*/ 47 h 452"/>
                            <a:gd name="T32" fmla="*/ 92 w 651"/>
                            <a:gd name="T33" fmla="*/ 46 h 452"/>
                            <a:gd name="T34" fmla="*/ 28 w 651"/>
                            <a:gd name="T35" fmla="*/ 115 h 452"/>
                            <a:gd name="T36" fmla="*/ 11 w 651"/>
                            <a:gd name="T37" fmla="*/ 199 h 452"/>
                            <a:gd name="T38" fmla="*/ 70 w 651"/>
                            <a:gd name="T39" fmla="*/ 249 h 452"/>
                            <a:gd name="T40" fmla="*/ 72 w 651"/>
                            <a:gd name="T41" fmla="*/ 250 h 452"/>
                            <a:gd name="T42" fmla="*/ 192 w 651"/>
                            <a:gd name="T43" fmla="*/ 284 h 452"/>
                            <a:gd name="T44" fmla="*/ 217 w 651"/>
                            <a:gd name="T45" fmla="*/ 276 h 452"/>
                            <a:gd name="T46" fmla="*/ 463 w 651"/>
                            <a:gd name="T47" fmla="*/ 452 h 452"/>
                            <a:gd name="T48" fmla="*/ 537 w 651"/>
                            <a:gd name="T49" fmla="*/ 425 h 452"/>
                            <a:gd name="T50" fmla="*/ 539 w 651"/>
                            <a:gd name="T51" fmla="*/ 424 h 452"/>
                            <a:gd name="T52" fmla="*/ 585 w 651"/>
                            <a:gd name="T53" fmla="*/ 411 h 452"/>
                            <a:gd name="T54" fmla="*/ 586 w 651"/>
                            <a:gd name="T55" fmla="*/ 410 h 452"/>
                            <a:gd name="T56" fmla="*/ 610 w 651"/>
                            <a:gd name="T57" fmla="*/ 398 h 452"/>
                            <a:gd name="T58" fmla="*/ 612 w 651"/>
                            <a:gd name="T59" fmla="*/ 397 h 452"/>
                            <a:gd name="T60" fmla="*/ 640 w 651"/>
                            <a:gd name="T61" fmla="*/ 377 h 452"/>
                            <a:gd name="T62" fmla="*/ 626 w 651"/>
                            <a:gd name="T63" fmla="*/ 352 h 452"/>
                            <a:gd name="T64" fmla="*/ 651 w 651"/>
                            <a:gd name="T65" fmla="*/ 332 h 45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651" h="452">
                              <a:moveTo>
                                <a:pt x="651" y="332"/>
                              </a:moveTo>
                              <a:lnTo>
                                <a:pt x="632" y="297"/>
                              </a:lnTo>
                              <a:lnTo>
                                <a:pt x="583" y="244"/>
                              </a:lnTo>
                              <a:lnTo>
                                <a:pt x="545" y="244"/>
                              </a:lnTo>
                              <a:lnTo>
                                <a:pt x="540" y="266"/>
                              </a:lnTo>
                              <a:lnTo>
                                <a:pt x="540" y="298"/>
                              </a:lnTo>
                              <a:lnTo>
                                <a:pt x="513" y="314"/>
                              </a:lnTo>
                              <a:lnTo>
                                <a:pt x="498" y="311"/>
                              </a:lnTo>
                              <a:lnTo>
                                <a:pt x="488" y="326"/>
                              </a:lnTo>
                              <a:lnTo>
                                <a:pt x="469" y="311"/>
                              </a:lnTo>
                              <a:lnTo>
                                <a:pt x="491" y="291"/>
                              </a:lnTo>
                              <a:lnTo>
                                <a:pt x="491" y="269"/>
                              </a:lnTo>
                              <a:lnTo>
                                <a:pt x="421" y="268"/>
                              </a:lnTo>
                              <a:lnTo>
                                <a:pt x="387" y="243"/>
                              </a:lnTo>
                              <a:lnTo>
                                <a:pt x="333" y="248"/>
                              </a:lnTo>
                              <a:lnTo>
                                <a:pt x="314" y="222"/>
                              </a:lnTo>
                              <a:lnTo>
                                <a:pt x="346" y="219"/>
                              </a:lnTo>
                              <a:lnTo>
                                <a:pt x="363" y="187"/>
                              </a:lnTo>
                              <a:lnTo>
                                <a:pt x="320" y="177"/>
                              </a:lnTo>
                              <a:lnTo>
                                <a:pt x="300" y="200"/>
                              </a:lnTo>
                              <a:lnTo>
                                <a:pt x="291" y="183"/>
                              </a:lnTo>
                              <a:lnTo>
                                <a:pt x="182" y="156"/>
                              </a:lnTo>
                              <a:lnTo>
                                <a:pt x="168" y="170"/>
                              </a:lnTo>
                              <a:lnTo>
                                <a:pt x="152" y="155"/>
                              </a:lnTo>
                              <a:lnTo>
                                <a:pt x="95" y="188"/>
                              </a:lnTo>
                              <a:lnTo>
                                <a:pt x="66" y="160"/>
                              </a:lnTo>
                              <a:lnTo>
                                <a:pt x="74" y="134"/>
                              </a:lnTo>
                              <a:lnTo>
                                <a:pt x="66" y="109"/>
                              </a:lnTo>
                              <a:lnTo>
                                <a:pt x="101" y="97"/>
                              </a:lnTo>
                              <a:lnTo>
                                <a:pt x="134" y="119"/>
                              </a:lnTo>
                              <a:lnTo>
                                <a:pt x="150" y="94"/>
                              </a:lnTo>
                              <a:lnTo>
                                <a:pt x="148" y="47"/>
                              </a:lnTo>
                              <a:lnTo>
                                <a:pt x="105" y="0"/>
                              </a:lnTo>
                              <a:lnTo>
                                <a:pt x="92" y="46"/>
                              </a:lnTo>
                              <a:lnTo>
                                <a:pt x="33" y="85"/>
                              </a:lnTo>
                              <a:lnTo>
                                <a:pt x="28" y="115"/>
                              </a:lnTo>
                              <a:lnTo>
                                <a:pt x="0" y="140"/>
                              </a:lnTo>
                              <a:lnTo>
                                <a:pt x="11" y="199"/>
                              </a:lnTo>
                              <a:lnTo>
                                <a:pt x="42" y="246"/>
                              </a:lnTo>
                              <a:lnTo>
                                <a:pt x="70" y="249"/>
                              </a:lnTo>
                              <a:lnTo>
                                <a:pt x="71" y="249"/>
                              </a:lnTo>
                              <a:lnTo>
                                <a:pt x="72" y="250"/>
                              </a:lnTo>
                              <a:lnTo>
                                <a:pt x="87" y="272"/>
                              </a:lnTo>
                              <a:lnTo>
                                <a:pt x="192" y="284"/>
                              </a:lnTo>
                              <a:lnTo>
                                <a:pt x="216" y="277"/>
                              </a:lnTo>
                              <a:lnTo>
                                <a:pt x="217" y="276"/>
                              </a:lnTo>
                              <a:lnTo>
                                <a:pt x="218" y="277"/>
                              </a:lnTo>
                              <a:lnTo>
                                <a:pt x="463" y="452"/>
                              </a:lnTo>
                              <a:lnTo>
                                <a:pt x="518" y="447"/>
                              </a:lnTo>
                              <a:lnTo>
                                <a:pt x="537" y="425"/>
                              </a:lnTo>
                              <a:lnTo>
                                <a:pt x="538" y="424"/>
                              </a:lnTo>
                              <a:lnTo>
                                <a:pt x="539" y="424"/>
                              </a:lnTo>
                              <a:lnTo>
                                <a:pt x="564" y="430"/>
                              </a:lnTo>
                              <a:lnTo>
                                <a:pt x="585" y="411"/>
                              </a:lnTo>
                              <a:lnTo>
                                <a:pt x="585" y="410"/>
                              </a:lnTo>
                              <a:lnTo>
                                <a:pt x="586" y="410"/>
                              </a:lnTo>
                              <a:lnTo>
                                <a:pt x="602" y="410"/>
                              </a:lnTo>
                              <a:lnTo>
                                <a:pt x="610" y="398"/>
                              </a:lnTo>
                              <a:lnTo>
                                <a:pt x="611" y="397"/>
                              </a:lnTo>
                              <a:lnTo>
                                <a:pt x="612" y="397"/>
                              </a:lnTo>
                              <a:lnTo>
                                <a:pt x="628" y="400"/>
                              </a:lnTo>
                              <a:lnTo>
                                <a:pt x="640" y="377"/>
                              </a:lnTo>
                              <a:lnTo>
                                <a:pt x="627" y="354"/>
                              </a:lnTo>
                              <a:lnTo>
                                <a:pt x="626" y="352"/>
                              </a:lnTo>
                              <a:lnTo>
                                <a:pt x="628" y="351"/>
                              </a:lnTo>
                              <a:lnTo>
                                <a:pt x="651" y="332"/>
                              </a:lnTo>
                              <a:lnTo>
                                <a:pt x="651" y="332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03" name="Freeform 214">
                          <a:extLst>
                            <a:ext uri="{FF2B5EF4-FFF2-40B4-BE49-F238E27FC236}">
                              <a16:creationId xmlns:a16="http://schemas.microsoft.com/office/drawing/2014/main" id="{24ADF8D8-E55B-4F17-8138-F291E318D349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241860" y="1076298"/>
                          <a:ext cx="41041" cy="64640"/>
                        </a:xfrm>
                        <a:custGeom>
                          <a:avLst/>
                          <a:gdLst>
                            <a:gd name="T0" fmla="*/ 40 w 40"/>
                            <a:gd name="T1" fmla="*/ 60 h 63"/>
                            <a:gd name="T2" fmla="*/ 17 w 40"/>
                            <a:gd name="T3" fmla="*/ 63 h 63"/>
                            <a:gd name="T4" fmla="*/ 0 w 40"/>
                            <a:gd name="T5" fmla="*/ 34 h 63"/>
                            <a:gd name="T6" fmla="*/ 5 w 40"/>
                            <a:gd name="T7" fmla="*/ 7 h 63"/>
                            <a:gd name="T8" fmla="*/ 32 w 40"/>
                            <a:gd name="T9" fmla="*/ 0 h 63"/>
                            <a:gd name="T10" fmla="*/ 40 w 40"/>
                            <a:gd name="T11" fmla="*/ 30 h 63"/>
                            <a:gd name="T12" fmla="*/ 40 w 40"/>
                            <a:gd name="T13" fmla="*/ 60 h 63"/>
                            <a:gd name="T14" fmla="*/ 40 w 40"/>
                            <a:gd name="T15" fmla="*/ 60 h 6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</a:cxnLst>
                          <a:rect l="0" t="0" r="r" b="b"/>
                          <a:pathLst>
                            <a:path w="40" h="63">
                              <a:moveTo>
                                <a:pt x="40" y="60"/>
                              </a:moveTo>
                              <a:lnTo>
                                <a:pt x="17" y="63"/>
                              </a:lnTo>
                              <a:lnTo>
                                <a:pt x="0" y="34"/>
                              </a:lnTo>
                              <a:lnTo>
                                <a:pt x="5" y="7"/>
                              </a:lnTo>
                              <a:lnTo>
                                <a:pt x="32" y="0"/>
                              </a:lnTo>
                              <a:lnTo>
                                <a:pt x="40" y="30"/>
                              </a:lnTo>
                              <a:lnTo>
                                <a:pt x="40" y="60"/>
                              </a:lnTo>
                              <a:lnTo>
                                <a:pt x="40" y="6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04" name="Freeform 215">
                          <a:extLst>
                            <a:ext uri="{FF2B5EF4-FFF2-40B4-BE49-F238E27FC236}">
                              <a16:creationId xmlns:a16="http://schemas.microsoft.com/office/drawing/2014/main" id="{8F63F38D-B174-49A5-BDC2-57C32895F59F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934053" y="960358"/>
                          <a:ext cx="63613" cy="62588"/>
                        </a:xfrm>
                        <a:custGeom>
                          <a:avLst/>
                          <a:gdLst>
                            <a:gd name="T0" fmla="*/ 0 w 62"/>
                            <a:gd name="T1" fmla="*/ 37 h 61"/>
                            <a:gd name="T2" fmla="*/ 17 w 62"/>
                            <a:gd name="T3" fmla="*/ 60 h 61"/>
                            <a:gd name="T4" fmla="*/ 57 w 62"/>
                            <a:gd name="T5" fmla="*/ 61 h 61"/>
                            <a:gd name="T6" fmla="*/ 62 w 62"/>
                            <a:gd name="T7" fmla="*/ 46 h 61"/>
                            <a:gd name="T8" fmla="*/ 59 w 62"/>
                            <a:gd name="T9" fmla="*/ 24 h 61"/>
                            <a:gd name="T10" fmla="*/ 38 w 62"/>
                            <a:gd name="T11" fmla="*/ 0 h 61"/>
                            <a:gd name="T12" fmla="*/ 8 w 62"/>
                            <a:gd name="T13" fmla="*/ 11 h 61"/>
                            <a:gd name="T14" fmla="*/ 0 w 62"/>
                            <a:gd name="T15" fmla="*/ 37 h 61"/>
                            <a:gd name="T16" fmla="*/ 0 w 62"/>
                            <a:gd name="T17" fmla="*/ 37 h 61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62" h="61">
                              <a:moveTo>
                                <a:pt x="0" y="37"/>
                              </a:moveTo>
                              <a:lnTo>
                                <a:pt x="17" y="60"/>
                              </a:lnTo>
                              <a:lnTo>
                                <a:pt x="57" y="61"/>
                              </a:lnTo>
                              <a:lnTo>
                                <a:pt x="62" y="46"/>
                              </a:lnTo>
                              <a:lnTo>
                                <a:pt x="59" y="24"/>
                              </a:lnTo>
                              <a:lnTo>
                                <a:pt x="38" y="0"/>
                              </a:lnTo>
                              <a:lnTo>
                                <a:pt x="8" y="11"/>
                              </a:lnTo>
                              <a:lnTo>
                                <a:pt x="0" y="37"/>
                              </a:lnTo>
                              <a:lnTo>
                                <a:pt x="0" y="37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05" name="Freeform 216">
                          <a:extLst>
                            <a:ext uri="{FF2B5EF4-FFF2-40B4-BE49-F238E27FC236}">
                              <a16:creationId xmlns:a16="http://schemas.microsoft.com/office/drawing/2014/main" id="{47D17663-200D-4316-A902-449E791CBD78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164908" y="662811"/>
                          <a:ext cx="587911" cy="366290"/>
                        </a:xfrm>
                        <a:custGeom>
                          <a:avLst/>
                          <a:gdLst>
                            <a:gd name="T0" fmla="*/ 73 w 573"/>
                            <a:gd name="T1" fmla="*/ 357 h 357"/>
                            <a:gd name="T2" fmla="*/ 82 w 573"/>
                            <a:gd name="T3" fmla="*/ 270 h 357"/>
                            <a:gd name="T4" fmla="*/ 89 w 573"/>
                            <a:gd name="T5" fmla="*/ 236 h 357"/>
                            <a:gd name="T6" fmla="*/ 118 w 573"/>
                            <a:gd name="T7" fmla="*/ 205 h 357"/>
                            <a:gd name="T8" fmla="*/ 153 w 573"/>
                            <a:gd name="T9" fmla="*/ 193 h 357"/>
                            <a:gd name="T10" fmla="*/ 166 w 573"/>
                            <a:gd name="T11" fmla="*/ 174 h 357"/>
                            <a:gd name="T12" fmla="*/ 158 w 573"/>
                            <a:gd name="T13" fmla="*/ 149 h 357"/>
                            <a:gd name="T14" fmla="*/ 184 w 573"/>
                            <a:gd name="T15" fmla="*/ 166 h 357"/>
                            <a:gd name="T16" fmla="*/ 207 w 573"/>
                            <a:gd name="T17" fmla="*/ 163 h 357"/>
                            <a:gd name="T18" fmla="*/ 213 w 573"/>
                            <a:gd name="T19" fmla="*/ 146 h 357"/>
                            <a:gd name="T20" fmla="*/ 228 w 573"/>
                            <a:gd name="T21" fmla="*/ 147 h 357"/>
                            <a:gd name="T22" fmla="*/ 228 w 573"/>
                            <a:gd name="T23" fmla="*/ 130 h 357"/>
                            <a:gd name="T24" fmla="*/ 247 w 573"/>
                            <a:gd name="T25" fmla="*/ 137 h 357"/>
                            <a:gd name="T26" fmla="*/ 251 w 573"/>
                            <a:gd name="T27" fmla="*/ 119 h 357"/>
                            <a:gd name="T28" fmla="*/ 264 w 573"/>
                            <a:gd name="T29" fmla="*/ 134 h 357"/>
                            <a:gd name="T30" fmla="*/ 275 w 573"/>
                            <a:gd name="T31" fmla="*/ 121 h 357"/>
                            <a:gd name="T32" fmla="*/ 278 w 573"/>
                            <a:gd name="T33" fmla="*/ 100 h 357"/>
                            <a:gd name="T34" fmla="*/ 298 w 573"/>
                            <a:gd name="T35" fmla="*/ 113 h 357"/>
                            <a:gd name="T36" fmla="*/ 311 w 573"/>
                            <a:gd name="T37" fmla="*/ 102 h 357"/>
                            <a:gd name="T38" fmla="*/ 337 w 573"/>
                            <a:gd name="T39" fmla="*/ 108 h 357"/>
                            <a:gd name="T40" fmla="*/ 359 w 573"/>
                            <a:gd name="T41" fmla="*/ 83 h 357"/>
                            <a:gd name="T42" fmla="*/ 528 w 573"/>
                            <a:gd name="T43" fmla="*/ 79 h 357"/>
                            <a:gd name="T44" fmla="*/ 568 w 573"/>
                            <a:gd name="T45" fmla="*/ 57 h 357"/>
                            <a:gd name="T46" fmla="*/ 573 w 573"/>
                            <a:gd name="T47" fmla="*/ 27 h 357"/>
                            <a:gd name="T48" fmla="*/ 555 w 573"/>
                            <a:gd name="T49" fmla="*/ 6 h 357"/>
                            <a:gd name="T50" fmla="*/ 515 w 573"/>
                            <a:gd name="T51" fmla="*/ 17 h 357"/>
                            <a:gd name="T52" fmla="*/ 508 w 573"/>
                            <a:gd name="T53" fmla="*/ 32 h 357"/>
                            <a:gd name="T54" fmla="*/ 439 w 573"/>
                            <a:gd name="T55" fmla="*/ 26 h 357"/>
                            <a:gd name="T56" fmla="*/ 409 w 573"/>
                            <a:gd name="T57" fmla="*/ 0 h 357"/>
                            <a:gd name="T58" fmla="*/ 382 w 573"/>
                            <a:gd name="T59" fmla="*/ 15 h 357"/>
                            <a:gd name="T60" fmla="*/ 356 w 573"/>
                            <a:gd name="T61" fmla="*/ 4 h 357"/>
                            <a:gd name="T62" fmla="*/ 322 w 573"/>
                            <a:gd name="T63" fmla="*/ 26 h 357"/>
                            <a:gd name="T64" fmla="*/ 294 w 573"/>
                            <a:gd name="T65" fmla="*/ 26 h 357"/>
                            <a:gd name="T66" fmla="*/ 281 w 573"/>
                            <a:gd name="T67" fmla="*/ 38 h 357"/>
                            <a:gd name="T68" fmla="*/ 262 w 573"/>
                            <a:gd name="T69" fmla="*/ 18 h 357"/>
                            <a:gd name="T70" fmla="*/ 253 w 573"/>
                            <a:gd name="T71" fmla="*/ 58 h 357"/>
                            <a:gd name="T72" fmla="*/ 232 w 573"/>
                            <a:gd name="T73" fmla="*/ 59 h 357"/>
                            <a:gd name="T74" fmla="*/ 230 w 573"/>
                            <a:gd name="T75" fmla="*/ 75 h 357"/>
                            <a:gd name="T76" fmla="*/ 178 w 573"/>
                            <a:gd name="T77" fmla="*/ 92 h 357"/>
                            <a:gd name="T78" fmla="*/ 159 w 573"/>
                            <a:gd name="T79" fmla="*/ 83 h 357"/>
                            <a:gd name="T80" fmla="*/ 148 w 573"/>
                            <a:gd name="T81" fmla="*/ 98 h 357"/>
                            <a:gd name="T82" fmla="*/ 163 w 573"/>
                            <a:gd name="T83" fmla="*/ 112 h 357"/>
                            <a:gd name="T84" fmla="*/ 142 w 573"/>
                            <a:gd name="T85" fmla="*/ 132 h 357"/>
                            <a:gd name="T86" fmla="*/ 109 w 573"/>
                            <a:gd name="T87" fmla="*/ 118 h 357"/>
                            <a:gd name="T88" fmla="*/ 104 w 573"/>
                            <a:gd name="T89" fmla="*/ 144 h 357"/>
                            <a:gd name="T90" fmla="*/ 80 w 573"/>
                            <a:gd name="T91" fmla="*/ 142 h 357"/>
                            <a:gd name="T92" fmla="*/ 79 w 573"/>
                            <a:gd name="T93" fmla="*/ 162 h 357"/>
                            <a:gd name="T94" fmla="*/ 45 w 573"/>
                            <a:gd name="T95" fmla="*/ 179 h 357"/>
                            <a:gd name="T96" fmla="*/ 24 w 573"/>
                            <a:gd name="T97" fmla="*/ 172 h 357"/>
                            <a:gd name="T98" fmla="*/ 1 w 573"/>
                            <a:gd name="T99" fmla="*/ 190 h 357"/>
                            <a:gd name="T100" fmla="*/ 0 w 573"/>
                            <a:gd name="T101" fmla="*/ 215 h 357"/>
                            <a:gd name="T102" fmla="*/ 22 w 573"/>
                            <a:gd name="T103" fmla="*/ 237 h 357"/>
                            <a:gd name="T104" fmla="*/ 23 w 573"/>
                            <a:gd name="T105" fmla="*/ 270 h 357"/>
                            <a:gd name="T106" fmla="*/ 2 w 573"/>
                            <a:gd name="T107" fmla="*/ 291 h 357"/>
                            <a:gd name="T108" fmla="*/ 19 w 573"/>
                            <a:gd name="T109" fmla="*/ 327 h 357"/>
                            <a:gd name="T110" fmla="*/ 37 w 573"/>
                            <a:gd name="T111" fmla="*/ 329 h 357"/>
                            <a:gd name="T112" fmla="*/ 38 w 573"/>
                            <a:gd name="T113" fmla="*/ 346 h 357"/>
                            <a:gd name="T114" fmla="*/ 59 w 573"/>
                            <a:gd name="T115" fmla="*/ 350 h 357"/>
                            <a:gd name="T116" fmla="*/ 73 w 573"/>
                            <a:gd name="T117" fmla="*/ 357 h 357"/>
                            <a:gd name="T118" fmla="*/ 73 w 573"/>
                            <a:gd name="T119" fmla="*/ 357 h 35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  <a:cxn ang="0">
                              <a:pos x="T116" y="T117"/>
                            </a:cxn>
                            <a:cxn ang="0">
                              <a:pos x="T118" y="T119"/>
                            </a:cxn>
                          </a:cxnLst>
                          <a:rect l="0" t="0" r="r" b="b"/>
                          <a:pathLst>
                            <a:path w="573" h="357">
                              <a:moveTo>
                                <a:pt x="73" y="357"/>
                              </a:moveTo>
                              <a:lnTo>
                                <a:pt x="82" y="270"/>
                              </a:lnTo>
                              <a:lnTo>
                                <a:pt x="89" y="236"/>
                              </a:lnTo>
                              <a:lnTo>
                                <a:pt x="118" y="205"/>
                              </a:lnTo>
                              <a:lnTo>
                                <a:pt x="153" y="193"/>
                              </a:lnTo>
                              <a:lnTo>
                                <a:pt x="166" y="174"/>
                              </a:lnTo>
                              <a:lnTo>
                                <a:pt x="158" y="149"/>
                              </a:lnTo>
                              <a:lnTo>
                                <a:pt x="184" y="166"/>
                              </a:lnTo>
                              <a:lnTo>
                                <a:pt x="207" y="163"/>
                              </a:lnTo>
                              <a:lnTo>
                                <a:pt x="213" y="146"/>
                              </a:lnTo>
                              <a:lnTo>
                                <a:pt x="228" y="147"/>
                              </a:lnTo>
                              <a:lnTo>
                                <a:pt x="228" y="130"/>
                              </a:lnTo>
                              <a:lnTo>
                                <a:pt x="247" y="137"/>
                              </a:lnTo>
                              <a:lnTo>
                                <a:pt x="251" y="119"/>
                              </a:lnTo>
                              <a:lnTo>
                                <a:pt x="264" y="134"/>
                              </a:lnTo>
                              <a:lnTo>
                                <a:pt x="275" y="121"/>
                              </a:lnTo>
                              <a:lnTo>
                                <a:pt x="278" y="100"/>
                              </a:lnTo>
                              <a:lnTo>
                                <a:pt x="298" y="113"/>
                              </a:lnTo>
                              <a:lnTo>
                                <a:pt x="311" y="102"/>
                              </a:lnTo>
                              <a:lnTo>
                                <a:pt x="337" y="108"/>
                              </a:lnTo>
                              <a:lnTo>
                                <a:pt x="359" y="83"/>
                              </a:lnTo>
                              <a:lnTo>
                                <a:pt x="528" y="79"/>
                              </a:lnTo>
                              <a:lnTo>
                                <a:pt x="568" y="57"/>
                              </a:lnTo>
                              <a:lnTo>
                                <a:pt x="573" y="27"/>
                              </a:lnTo>
                              <a:lnTo>
                                <a:pt x="555" y="6"/>
                              </a:lnTo>
                              <a:lnTo>
                                <a:pt x="515" y="17"/>
                              </a:lnTo>
                              <a:lnTo>
                                <a:pt x="508" y="32"/>
                              </a:lnTo>
                              <a:lnTo>
                                <a:pt x="439" y="26"/>
                              </a:lnTo>
                              <a:lnTo>
                                <a:pt x="409" y="0"/>
                              </a:lnTo>
                              <a:lnTo>
                                <a:pt x="382" y="15"/>
                              </a:lnTo>
                              <a:lnTo>
                                <a:pt x="356" y="4"/>
                              </a:lnTo>
                              <a:lnTo>
                                <a:pt x="322" y="26"/>
                              </a:lnTo>
                              <a:lnTo>
                                <a:pt x="294" y="26"/>
                              </a:lnTo>
                              <a:lnTo>
                                <a:pt x="281" y="38"/>
                              </a:lnTo>
                              <a:lnTo>
                                <a:pt x="262" y="18"/>
                              </a:lnTo>
                              <a:lnTo>
                                <a:pt x="253" y="58"/>
                              </a:lnTo>
                              <a:lnTo>
                                <a:pt x="232" y="59"/>
                              </a:lnTo>
                              <a:lnTo>
                                <a:pt x="230" y="75"/>
                              </a:lnTo>
                              <a:lnTo>
                                <a:pt x="178" y="92"/>
                              </a:lnTo>
                              <a:lnTo>
                                <a:pt x="159" y="83"/>
                              </a:lnTo>
                              <a:lnTo>
                                <a:pt x="148" y="98"/>
                              </a:lnTo>
                              <a:lnTo>
                                <a:pt x="163" y="112"/>
                              </a:lnTo>
                              <a:lnTo>
                                <a:pt x="142" y="132"/>
                              </a:lnTo>
                              <a:lnTo>
                                <a:pt x="109" y="118"/>
                              </a:lnTo>
                              <a:lnTo>
                                <a:pt x="104" y="144"/>
                              </a:lnTo>
                              <a:lnTo>
                                <a:pt x="80" y="142"/>
                              </a:lnTo>
                              <a:lnTo>
                                <a:pt x="79" y="162"/>
                              </a:lnTo>
                              <a:lnTo>
                                <a:pt x="45" y="179"/>
                              </a:lnTo>
                              <a:lnTo>
                                <a:pt x="24" y="172"/>
                              </a:lnTo>
                              <a:lnTo>
                                <a:pt x="1" y="190"/>
                              </a:lnTo>
                              <a:lnTo>
                                <a:pt x="0" y="215"/>
                              </a:lnTo>
                              <a:lnTo>
                                <a:pt x="22" y="237"/>
                              </a:lnTo>
                              <a:lnTo>
                                <a:pt x="23" y="270"/>
                              </a:lnTo>
                              <a:lnTo>
                                <a:pt x="2" y="291"/>
                              </a:lnTo>
                              <a:lnTo>
                                <a:pt x="19" y="327"/>
                              </a:lnTo>
                              <a:lnTo>
                                <a:pt x="37" y="329"/>
                              </a:lnTo>
                              <a:lnTo>
                                <a:pt x="38" y="346"/>
                              </a:lnTo>
                              <a:lnTo>
                                <a:pt x="59" y="350"/>
                              </a:lnTo>
                              <a:lnTo>
                                <a:pt x="73" y="357"/>
                              </a:lnTo>
                              <a:lnTo>
                                <a:pt x="73" y="357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06" name="Freeform 217">
                          <a:extLst>
                            <a:ext uri="{FF2B5EF4-FFF2-40B4-BE49-F238E27FC236}">
                              <a16:creationId xmlns:a16="http://schemas.microsoft.com/office/drawing/2014/main" id="{2F7019A9-7872-4C04-A40D-51AC29045650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204550" y="939837"/>
                          <a:ext cx="584833" cy="568417"/>
                        </a:xfrm>
                        <a:custGeom>
                          <a:avLst/>
                          <a:gdLst>
                            <a:gd name="T0" fmla="*/ 439 w 570"/>
                            <a:gd name="T1" fmla="*/ 108 h 554"/>
                            <a:gd name="T2" fmla="*/ 396 w 570"/>
                            <a:gd name="T3" fmla="*/ 64 h 554"/>
                            <a:gd name="T4" fmla="*/ 287 w 570"/>
                            <a:gd name="T5" fmla="*/ 122 h 554"/>
                            <a:gd name="T6" fmla="*/ 245 w 570"/>
                            <a:gd name="T7" fmla="*/ 0 h 554"/>
                            <a:gd name="T8" fmla="*/ 209 w 570"/>
                            <a:gd name="T9" fmla="*/ 69 h 554"/>
                            <a:gd name="T10" fmla="*/ 158 w 570"/>
                            <a:gd name="T11" fmla="*/ 44 h 554"/>
                            <a:gd name="T12" fmla="*/ 141 w 570"/>
                            <a:gd name="T13" fmla="*/ 61 h 554"/>
                            <a:gd name="T14" fmla="*/ 128 w 570"/>
                            <a:gd name="T15" fmla="*/ 58 h 554"/>
                            <a:gd name="T16" fmla="*/ 109 w 570"/>
                            <a:gd name="T17" fmla="*/ 67 h 554"/>
                            <a:gd name="T18" fmla="*/ 77 w 570"/>
                            <a:gd name="T19" fmla="*/ 115 h 554"/>
                            <a:gd name="T20" fmla="*/ 93 w 570"/>
                            <a:gd name="T21" fmla="*/ 142 h 554"/>
                            <a:gd name="T22" fmla="*/ 58 w 570"/>
                            <a:gd name="T23" fmla="*/ 200 h 554"/>
                            <a:gd name="T24" fmla="*/ 41 w 570"/>
                            <a:gd name="T25" fmla="*/ 201 h 554"/>
                            <a:gd name="T26" fmla="*/ 5 w 570"/>
                            <a:gd name="T27" fmla="*/ 243 h 554"/>
                            <a:gd name="T28" fmla="*/ 86 w 570"/>
                            <a:gd name="T29" fmla="*/ 371 h 554"/>
                            <a:gd name="T30" fmla="*/ 109 w 570"/>
                            <a:gd name="T31" fmla="*/ 386 h 554"/>
                            <a:gd name="T32" fmla="*/ 173 w 570"/>
                            <a:gd name="T33" fmla="*/ 415 h 554"/>
                            <a:gd name="T34" fmla="*/ 200 w 570"/>
                            <a:gd name="T35" fmla="*/ 449 h 554"/>
                            <a:gd name="T36" fmla="*/ 223 w 570"/>
                            <a:gd name="T37" fmla="*/ 457 h 554"/>
                            <a:gd name="T38" fmla="*/ 218 w 570"/>
                            <a:gd name="T39" fmla="*/ 477 h 554"/>
                            <a:gd name="T40" fmla="*/ 239 w 570"/>
                            <a:gd name="T41" fmla="*/ 489 h 554"/>
                            <a:gd name="T42" fmla="*/ 261 w 570"/>
                            <a:gd name="T43" fmla="*/ 507 h 554"/>
                            <a:gd name="T44" fmla="*/ 279 w 570"/>
                            <a:gd name="T45" fmla="*/ 528 h 554"/>
                            <a:gd name="T46" fmla="*/ 298 w 570"/>
                            <a:gd name="T47" fmla="*/ 540 h 554"/>
                            <a:gd name="T48" fmla="*/ 326 w 570"/>
                            <a:gd name="T49" fmla="*/ 550 h 554"/>
                            <a:gd name="T50" fmla="*/ 346 w 570"/>
                            <a:gd name="T51" fmla="*/ 509 h 554"/>
                            <a:gd name="T52" fmla="*/ 391 w 570"/>
                            <a:gd name="T53" fmla="*/ 433 h 554"/>
                            <a:gd name="T54" fmla="*/ 355 w 570"/>
                            <a:gd name="T55" fmla="*/ 456 h 554"/>
                            <a:gd name="T56" fmla="*/ 323 w 570"/>
                            <a:gd name="T57" fmla="*/ 443 h 554"/>
                            <a:gd name="T58" fmla="*/ 325 w 570"/>
                            <a:gd name="T59" fmla="*/ 421 h 554"/>
                            <a:gd name="T60" fmla="*/ 349 w 570"/>
                            <a:gd name="T61" fmla="*/ 389 h 554"/>
                            <a:gd name="T62" fmla="*/ 376 w 570"/>
                            <a:gd name="T63" fmla="*/ 376 h 554"/>
                            <a:gd name="T64" fmla="*/ 368 w 570"/>
                            <a:gd name="T65" fmla="*/ 359 h 554"/>
                            <a:gd name="T66" fmla="*/ 371 w 570"/>
                            <a:gd name="T67" fmla="*/ 281 h 554"/>
                            <a:gd name="T68" fmla="*/ 381 w 570"/>
                            <a:gd name="T69" fmla="*/ 264 h 554"/>
                            <a:gd name="T70" fmla="*/ 458 w 570"/>
                            <a:gd name="T71" fmla="*/ 321 h 554"/>
                            <a:gd name="T72" fmla="*/ 464 w 570"/>
                            <a:gd name="T73" fmla="*/ 343 h 554"/>
                            <a:gd name="T74" fmla="*/ 492 w 570"/>
                            <a:gd name="T75" fmla="*/ 342 h 554"/>
                            <a:gd name="T76" fmla="*/ 537 w 570"/>
                            <a:gd name="T77" fmla="*/ 325 h 554"/>
                            <a:gd name="T78" fmla="*/ 545 w 570"/>
                            <a:gd name="T79" fmla="*/ 308 h 554"/>
                            <a:gd name="T80" fmla="*/ 533 w 570"/>
                            <a:gd name="T81" fmla="*/ 286 h 554"/>
                            <a:gd name="T82" fmla="*/ 527 w 570"/>
                            <a:gd name="T83" fmla="*/ 213 h 554"/>
                            <a:gd name="T84" fmla="*/ 494 w 570"/>
                            <a:gd name="T85" fmla="*/ 165 h 554"/>
                            <a:gd name="T86" fmla="*/ 483 w 570"/>
                            <a:gd name="T87" fmla="*/ 107 h 5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</a:cxnLst>
                          <a:rect l="0" t="0" r="r" b="b"/>
                          <a:pathLst>
                            <a:path w="570" h="554">
                              <a:moveTo>
                                <a:pt x="483" y="107"/>
                              </a:moveTo>
                              <a:lnTo>
                                <a:pt x="453" y="134"/>
                              </a:lnTo>
                              <a:lnTo>
                                <a:pt x="439" y="108"/>
                              </a:lnTo>
                              <a:lnTo>
                                <a:pt x="459" y="104"/>
                              </a:lnTo>
                              <a:lnTo>
                                <a:pt x="434" y="58"/>
                              </a:lnTo>
                              <a:lnTo>
                                <a:pt x="396" y="64"/>
                              </a:lnTo>
                              <a:lnTo>
                                <a:pt x="359" y="51"/>
                              </a:lnTo>
                              <a:lnTo>
                                <a:pt x="312" y="58"/>
                              </a:lnTo>
                              <a:lnTo>
                                <a:pt x="287" y="122"/>
                              </a:lnTo>
                              <a:lnTo>
                                <a:pt x="268" y="111"/>
                              </a:lnTo>
                              <a:lnTo>
                                <a:pt x="242" y="49"/>
                              </a:lnTo>
                              <a:lnTo>
                                <a:pt x="245" y="0"/>
                              </a:lnTo>
                              <a:lnTo>
                                <a:pt x="202" y="5"/>
                              </a:lnTo>
                              <a:lnTo>
                                <a:pt x="190" y="47"/>
                              </a:lnTo>
                              <a:lnTo>
                                <a:pt x="209" y="69"/>
                              </a:lnTo>
                              <a:lnTo>
                                <a:pt x="191" y="93"/>
                              </a:lnTo>
                              <a:lnTo>
                                <a:pt x="163" y="78"/>
                              </a:lnTo>
                              <a:lnTo>
                                <a:pt x="158" y="44"/>
                              </a:lnTo>
                              <a:lnTo>
                                <a:pt x="157" y="44"/>
                              </a:lnTo>
                              <a:lnTo>
                                <a:pt x="142" y="60"/>
                              </a:lnTo>
                              <a:lnTo>
                                <a:pt x="141" y="61"/>
                              </a:lnTo>
                              <a:lnTo>
                                <a:pt x="140" y="61"/>
                              </a:lnTo>
                              <a:lnTo>
                                <a:pt x="128" y="58"/>
                              </a:lnTo>
                              <a:lnTo>
                                <a:pt x="128" y="58"/>
                              </a:lnTo>
                              <a:lnTo>
                                <a:pt x="112" y="54"/>
                              </a:lnTo>
                              <a:lnTo>
                                <a:pt x="109" y="67"/>
                              </a:lnTo>
                              <a:lnTo>
                                <a:pt x="109" y="67"/>
                              </a:lnTo>
                              <a:lnTo>
                                <a:pt x="109" y="68"/>
                              </a:lnTo>
                              <a:lnTo>
                                <a:pt x="83" y="94"/>
                              </a:lnTo>
                              <a:lnTo>
                                <a:pt x="77" y="115"/>
                              </a:lnTo>
                              <a:lnTo>
                                <a:pt x="85" y="129"/>
                              </a:lnTo>
                              <a:lnTo>
                                <a:pt x="92" y="141"/>
                              </a:lnTo>
                              <a:lnTo>
                                <a:pt x="93" y="142"/>
                              </a:lnTo>
                              <a:lnTo>
                                <a:pt x="92" y="143"/>
                              </a:lnTo>
                              <a:lnTo>
                                <a:pt x="64" y="172"/>
                              </a:lnTo>
                              <a:lnTo>
                                <a:pt x="58" y="200"/>
                              </a:lnTo>
                              <a:lnTo>
                                <a:pt x="58" y="201"/>
                              </a:lnTo>
                              <a:lnTo>
                                <a:pt x="56" y="201"/>
                              </a:lnTo>
                              <a:lnTo>
                                <a:pt x="41" y="201"/>
                              </a:lnTo>
                              <a:lnTo>
                                <a:pt x="30" y="214"/>
                              </a:lnTo>
                              <a:lnTo>
                                <a:pt x="30" y="214"/>
                              </a:lnTo>
                              <a:lnTo>
                                <a:pt x="5" y="243"/>
                              </a:lnTo>
                              <a:lnTo>
                                <a:pt x="0" y="278"/>
                              </a:lnTo>
                              <a:lnTo>
                                <a:pt x="64" y="351"/>
                              </a:lnTo>
                              <a:lnTo>
                                <a:pt x="86" y="371"/>
                              </a:lnTo>
                              <a:lnTo>
                                <a:pt x="109" y="386"/>
                              </a:lnTo>
                              <a:lnTo>
                                <a:pt x="109" y="386"/>
                              </a:lnTo>
                              <a:lnTo>
                                <a:pt x="109" y="386"/>
                              </a:lnTo>
                              <a:lnTo>
                                <a:pt x="133" y="413"/>
                              </a:lnTo>
                              <a:lnTo>
                                <a:pt x="171" y="415"/>
                              </a:lnTo>
                              <a:lnTo>
                                <a:pt x="173" y="415"/>
                              </a:lnTo>
                              <a:lnTo>
                                <a:pt x="173" y="416"/>
                              </a:lnTo>
                              <a:lnTo>
                                <a:pt x="188" y="454"/>
                              </a:lnTo>
                              <a:lnTo>
                                <a:pt x="200" y="449"/>
                              </a:lnTo>
                              <a:lnTo>
                                <a:pt x="201" y="449"/>
                              </a:lnTo>
                              <a:lnTo>
                                <a:pt x="201" y="449"/>
                              </a:lnTo>
                              <a:lnTo>
                                <a:pt x="223" y="457"/>
                              </a:lnTo>
                              <a:lnTo>
                                <a:pt x="225" y="457"/>
                              </a:lnTo>
                              <a:lnTo>
                                <a:pt x="224" y="459"/>
                              </a:lnTo>
                              <a:lnTo>
                                <a:pt x="218" y="477"/>
                              </a:lnTo>
                              <a:lnTo>
                                <a:pt x="238" y="487"/>
                              </a:lnTo>
                              <a:lnTo>
                                <a:pt x="239" y="487"/>
                              </a:lnTo>
                              <a:lnTo>
                                <a:pt x="239" y="489"/>
                              </a:lnTo>
                              <a:lnTo>
                                <a:pt x="239" y="510"/>
                              </a:lnTo>
                              <a:lnTo>
                                <a:pt x="260" y="507"/>
                              </a:lnTo>
                              <a:lnTo>
                                <a:pt x="261" y="507"/>
                              </a:lnTo>
                              <a:lnTo>
                                <a:pt x="262" y="507"/>
                              </a:lnTo>
                              <a:lnTo>
                                <a:pt x="279" y="528"/>
                              </a:lnTo>
                              <a:lnTo>
                                <a:pt x="279" y="528"/>
                              </a:lnTo>
                              <a:lnTo>
                                <a:pt x="279" y="529"/>
                              </a:lnTo>
                              <a:lnTo>
                                <a:pt x="282" y="554"/>
                              </a:lnTo>
                              <a:lnTo>
                                <a:pt x="298" y="540"/>
                              </a:lnTo>
                              <a:lnTo>
                                <a:pt x="299" y="539"/>
                              </a:lnTo>
                              <a:lnTo>
                                <a:pt x="300" y="540"/>
                              </a:lnTo>
                              <a:lnTo>
                                <a:pt x="326" y="550"/>
                              </a:lnTo>
                              <a:lnTo>
                                <a:pt x="346" y="536"/>
                              </a:lnTo>
                              <a:lnTo>
                                <a:pt x="346" y="509"/>
                              </a:lnTo>
                              <a:lnTo>
                                <a:pt x="346" y="509"/>
                              </a:lnTo>
                              <a:lnTo>
                                <a:pt x="347" y="508"/>
                              </a:lnTo>
                              <a:lnTo>
                                <a:pt x="406" y="462"/>
                              </a:lnTo>
                              <a:lnTo>
                                <a:pt x="391" y="433"/>
                              </a:lnTo>
                              <a:lnTo>
                                <a:pt x="368" y="440"/>
                              </a:lnTo>
                              <a:lnTo>
                                <a:pt x="356" y="454"/>
                              </a:lnTo>
                              <a:lnTo>
                                <a:pt x="355" y="456"/>
                              </a:lnTo>
                              <a:lnTo>
                                <a:pt x="354" y="455"/>
                              </a:lnTo>
                              <a:lnTo>
                                <a:pt x="325" y="443"/>
                              </a:lnTo>
                              <a:lnTo>
                                <a:pt x="323" y="443"/>
                              </a:lnTo>
                              <a:lnTo>
                                <a:pt x="323" y="441"/>
                              </a:lnTo>
                              <a:lnTo>
                                <a:pt x="325" y="422"/>
                              </a:lnTo>
                              <a:lnTo>
                                <a:pt x="325" y="421"/>
                              </a:lnTo>
                              <a:lnTo>
                                <a:pt x="325" y="420"/>
                              </a:lnTo>
                              <a:lnTo>
                                <a:pt x="348" y="390"/>
                              </a:lnTo>
                              <a:lnTo>
                                <a:pt x="349" y="389"/>
                              </a:lnTo>
                              <a:lnTo>
                                <a:pt x="350" y="389"/>
                              </a:lnTo>
                              <a:lnTo>
                                <a:pt x="377" y="388"/>
                              </a:lnTo>
                              <a:lnTo>
                                <a:pt x="376" y="376"/>
                              </a:lnTo>
                              <a:lnTo>
                                <a:pt x="368" y="361"/>
                              </a:lnTo>
                              <a:lnTo>
                                <a:pt x="367" y="360"/>
                              </a:lnTo>
                              <a:lnTo>
                                <a:pt x="368" y="359"/>
                              </a:lnTo>
                              <a:lnTo>
                                <a:pt x="386" y="341"/>
                              </a:lnTo>
                              <a:lnTo>
                                <a:pt x="392" y="315"/>
                              </a:lnTo>
                              <a:lnTo>
                                <a:pt x="371" y="281"/>
                              </a:lnTo>
                              <a:lnTo>
                                <a:pt x="370" y="280"/>
                              </a:lnTo>
                              <a:lnTo>
                                <a:pt x="371" y="279"/>
                              </a:lnTo>
                              <a:lnTo>
                                <a:pt x="381" y="264"/>
                              </a:lnTo>
                              <a:lnTo>
                                <a:pt x="382" y="263"/>
                              </a:lnTo>
                              <a:lnTo>
                                <a:pt x="384" y="264"/>
                              </a:lnTo>
                              <a:lnTo>
                                <a:pt x="458" y="321"/>
                              </a:lnTo>
                              <a:lnTo>
                                <a:pt x="459" y="322"/>
                              </a:lnTo>
                              <a:lnTo>
                                <a:pt x="459" y="322"/>
                              </a:lnTo>
                              <a:lnTo>
                                <a:pt x="464" y="343"/>
                              </a:lnTo>
                              <a:lnTo>
                                <a:pt x="491" y="342"/>
                              </a:lnTo>
                              <a:lnTo>
                                <a:pt x="492" y="342"/>
                              </a:lnTo>
                              <a:lnTo>
                                <a:pt x="492" y="342"/>
                              </a:lnTo>
                              <a:lnTo>
                                <a:pt x="522" y="361"/>
                              </a:lnTo>
                              <a:lnTo>
                                <a:pt x="543" y="349"/>
                              </a:lnTo>
                              <a:lnTo>
                                <a:pt x="537" y="325"/>
                              </a:lnTo>
                              <a:lnTo>
                                <a:pt x="537" y="324"/>
                              </a:lnTo>
                              <a:lnTo>
                                <a:pt x="538" y="323"/>
                              </a:lnTo>
                              <a:lnTo>
                                <a:pt x="545" y="308"/>
                              </a:lnTo>
                              <a:lnTo>
                                <a:pt x="533" y="288"/>
                              </a:lnTo>
                              <a:lnTo>
                                <a:pt x="532" y="287"/>
                              </a:lnTo>
                              <a:lnTo>
                                <a:pt x="533" y="286"/>
                              </a:lnTo>
                              <a:lnTo>
                                <a:pt x="570" y="238"/>
                              </a:lnTo>
                              <a:lnTo>
                                <a:pt x="555" y="217"/>
                              </a:lnTo>
                              <a:lnTo>
                                <a:pt x="527" y="213"/>
                              </a:lnTo>
                              <a:lnTo>
                                <a:pt x="526" y="213"/>
                              </a:lnTo>
                              <a:lnTo>
                                <a:pt x="525" y="212"/>
                              </a:lnTo>
                              <a:lnTo>
                                <a:pt x="494" y="165"/>
                              </a:lnTo>
                              <a:lnTo>
                                <a:pt x="493" y="165"/>
                              </a:lnTo>
                              <a:lnTo>
                                <a:pt x="493" y="164"/>
                              </a:lnTo>
                              <a:lnTo>
                                <a:pt x="483" y="107"/>
                              </a:lnTo>
                              <a:lnTo>
                                <a:pt x="483" y="107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07" name="Freeform 218">
                          <a:extLst>
                            <a:ext uri="{FF2B5EF4-FFF2-40B4-BE49-F238E27FC236}">
                              <a16:creationId xmlns:a16="http://schemas.microsoft.com/office/drawing/2014/main" id="{4179FA38-294B-4986-967E-40454A4CDA7A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712804" y="342692"/>
                          <a:ext cx="29755" cy="26677"/>
                        </a:xfrm>
                        <a:custGeom>
                          <a:avLst/>
                          <a:gdLst>
                            <a:gd name="T0" fmla="*/ 0 w 29"/>
                            <a:gd name="T1" fmla="*/ 15 h 26"/>
                            <a:gd name="T2" fmla="*/ 12 w 29"/>
                            <a:gd name="T3" fmla="*/ 26 h 26"/>
                            <a:gd name="T4" fmla="*/ 29 w 29"/>
                            <a:gd name="T5" fmla="*/ 12 h 26"/>
                            <a:gd name="T6" fmla="*/ 21 w 29"/>
                            <a:gd name="T7" fmla="*/ 0 h 26"/>
                            <a:gd name="T8" fmla="*/ 9 w 29"/>
                            <a:gd name="T9" fmla="*/ 3 h 26"/>
                            <a:gd name="T10" fmla="*/ 0 w 29"/>
                            <a:gd name="T11" fmla="*/ 15 h 26"/>
                            <a:gd name="T12" fmla="*/ 0 w 29"/>
                            <a:gd name="T13" fmla="*/ 15 h 2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29" h="26">
                              <a:moveTo>
                                <a:pt x="0" y="15"/>
                              </a:moveTo>
                              <a:lnTo>
                                <a:pt x="12" y="26"/>
                              </a:lnTo>
                              <a:lnTo>
                                <a:pt x="29" y="12"/>
                              </a:lnTo>
                              <a:lnTo>
                                <a:pt x="21" y="0"/>
                              </a:lnTo>
                              <a:lnTo>
                                <a:pt x="9" y="3"/>
                              </a:lnTo>
                              <a:lnTo>
                                <a:pt x="0" y="15"/>
                              </a:lnTo>
                              <a:lnTo>
                                <a:pt x="0" y="15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08" name="Freeform 219">
                          <a:extLst>
                            <a:ext uri="{FF2B5EF4-FFF2-40B4-BE49-F238E27FC236}">
                              <a16:creationId xmlns:a16="http://schemas.microsoft.com/office/drawing/2014/main" id="{693A4FEE-8120-4860-A628-7B4982A66842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740506" y="344744"/>
                          <a:ext cx="30781" cy="31807"/>
                        </a:xfrm>
                        <a:custGeom>
                          <a:avLst/>
                          <a:gdLst>
                            <a:gd name="T0" fmla="*/ 0 w 30"/>
                            <a:gd name="T1" fmla="*/ 23 h 31"/>
                            <a:gd name="T2" fmla="*/ 9 w 30"/>
                            <a:gd name="T3" fmla="*/ 31 h 31"/>
                            <a:gd name="T4" fmla="*/ 25 w 30"/>
                            <a:gd name="T5" fmla="*/ 22 h 31"/>
                            <a:gd name="T6" fmla="*/ 30 w 30"/>
                            <a:gd name="T7" fmla="*/ 3 h 31"/>
                            <a:gd name="T8" fmla="*/ 17 w 30"/>
                            <a:gd name="T9" fmla="*/ 0 h 31"/>
                            <a:gd name="T10" fmla="*/ 0 w 30"/>
                            <a:gd name="T11" fmla="*/ 23 h 31"/>
                            <a:gd name="T12" fmla="*/ 0 w 30"/>
                            <a:gd name="T13" fmla="*/ 23 h 31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30" h="31">
                              <a:moveTo>
                                <a:pt x="0" y="23"/>
                              </a:moveTo>
                              <a:lnTo>
                                <a:pt x="9" y="31"/>
                              </a:lnTo>
                              <a:lnTo>
                                <a:pt x="25" y="22"/>
                              </a:lnTo>
                              <a:lnTo>
                                <a:pt x="30" y="3"/>
                              </a:lnTo>
                              <a:lnTo>
                                <a:pt x="17" y="0"/>
                              </a:lnTo>
                              <a:lnTo>
                                <a:pt x="0" y="23"/>
                              </a:lnTo>
                              <a:lnTo>
                                <a:pt x="0" y="23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09" name="Freeform 220">
                          <a:extLst>
                            <a:ext uri="{FF2B5EF4-FFF2-40B4-BE49-F238E27FC236}">
                              <a16:creationId xmlns:a16="http://schemas.microsoft.com/office/drawing/2014/main" id="{CBE434F1-D7E2-4A99-B1C4-346DF4F645C2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785651" y="336536"/>
                          <a:ext cx="49249" cy="44119"/>
                        </a:xfrm>
                        <a:custGeom>
                          <a:avLst/>
                          <a:gdLst>
                            <a:gd name="T0" fmla="*/ 0 w 48"/>
                            <a:gd name="T1" fmla="*/ 29 h 43"/>
                            <a:gd name="T2" fmla="*/ 16 w 48"/>
                            <a:gd name="T3" fmla="*/ 43 h 43"/>
                            <a:gd name="T4" fmla="*/ 48 w 48"/>
                            <a:gd name="T5" fmla="*/ 27 h 43"/>
                            <a:gd name="T6" fmla="*/ 42 w 48"/>
                            <a:gd name="T7" fmla="*/ 9 h 43"/>
                            <a:gd name="T8" fmla="*/ 20 w 48"/>
                            <a:gd name="T9" fmla="*/ 0 h 43"/>
                            <a:gd name="T10" fmla="*/ 0 w 48"/>
                            <a:gd name="T11" fmla="*/ 16 h 43"/>
                            <a:gd name="T12" fmla="*/ 0 w 48"/>
                            <a:gd name="T13" fmla="*/ 29 h 43"/>
                            <a:gd name="T14" fmla="*/ 0 w 48"/>
                            <a:gd name="T15" fmla="*/ 29 h 4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</a:cxnLst>
                          <a:rect l="0" t="0" r="r" b="b"/>
                          <a:pathLst>
                            <a:path w="48" h="43">
                              <a:moveTo>
                                <a:pt x="0" y="29"/>
                              </a:moveTo>
                              <a:lnTo>
                                <a:pt x="16" y="43"/>
                              </a:lnTo>
                              <a:lnTo>
                                <a:pt x="48" y="27"/>
                              </a:lnTo>
                              <a:lnTo>
                                <a:pt x="42" y="9"/>
                              </a:lnTo>
                              <a:lnTo>
                                <a:pt x="20" y="0"/>
                              </a:lnTo>
                              <a:lnTo>
                                <a:pt x="0" y="16"/>
                              </a:lnTo>
                              <a:lnTo>
                                <a:pt x="0" y="29"/>
                              </a:lnTo>
                              <a:lnTo>
                                <a:pt x="0" y="29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10" name="Freeform 221">
                          <a:extLst>
                            <a:ext uri="{FF2B5EF4-FFF2-40B4-BE49-F238E27FC236}">
                              <a16:creationId xmlns:a16="http://schemas.microsoft.com/office/drawing/2014/main" id="{F18C7578-BE4C-45CA-955D-D063270707B7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820536" y="316015"/>
                          <a:ext cx="23599" cy="21547"/>
                        </a:xfrm>
                        <a:custGeom>
                          <a:avLst/>
                          <a:gdLst>
                            <a:gd name="T0" fmla="*/ 0 w 23"/>
                            <a:gd name="T1" fmla="*/ 14 h 21"/>
                            <a:gd name="T2" fmla="*/ 14 w 23"/>
                            <a:gd name="T3" fmla="*/ 21 h 21"/>
                            <a:gd name="T4" fmla="*/ 23 w 23"/>
                            <a:gd name="T5" fmla="*/ 10 h 21"/>
                            <a:gd name="T6" fmla="*/ 12 w 23"/>
                            <a:gd name="T7" fmla="*/ 0 h 21"/>
                            <a:gd name="T8" fmla="*/ 0 w 23"/>
                            <a:gd name="T9" fmla="*/ 14 h 21"/>
                            <a:gd name="T10" fmla="*/ 0 w 23"/>
                            <a:gd name="T11" fmla="*/ 14 h 21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</a:cxnLst>
                          <a:rect l="0" t="0" r="r" b="b"/>
                          <a:pathLst>
                            <a:path w="23" h="21">
                              <a:moveTo>
                                <a:pt x="0" y="14"/>
                              </a:moveTo>
                              <a:lnTo>
                                <a:pt x="14" y="21"/>
                              </a:lnTo>
                              <a:lnTo>
                                <a:pt x="23" y="10"/>
                              </a:lnTo>
                              <a:lnTo>
                                <a:pt x="12" y="0"/>
                              </a:lnTo>
                              <a:lnTo>
                                <a:pt x="0" y="14"/>
                              </a:lnTo>
                              <a:lnTo>
                                <a:pt x="0" y="14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11" name="Freeform 222">
                          <a:extLst>
                            <a:ext uri="{FF2B5EF4-FFF2-40B4-BE49-F238E27FC236}">
                              <a16:creationId xmlns:a16="http://schemas.microsoft.com/office/drawing/2014/main" id="{2EA8B312-B31D-4EAB-9320-F7743401AA5B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883123" y="283183"/>
                          <a:ext cx="18468" cy="22572"/>
                        </a:xfrm>
                        <a:custGeom>
                          <a:avLst/>
                          <a:gdLst>
                            <a:gd name="T0" fmla="*/ 0 w 18"/>
                            <a:gd name="T1" fmla="*/ 8 h 22"/>
                            <a:gd name="T2" fmla="*/ 4 w 18"/>
                            <a:gd name="T3" fmla="*/ 22 h 22"/>
                            <a:gd name="T4" fmla="*/ 18 w 18"/>
                            <a:gd name="T5" fmla="*/ 17 h 22"/>
                            <a:gd name="T6" fmla="*/ 13 w 18"/>
                            <a:gd name="T7" fmla="*/ 0 h 22"/>
                            <a:gd name="T8" fmla="*/ 0 w 18"/>
                            <a:gd name="T9" fmla="*/ 8 h 22"/>
                            <a:gd name="T10" fmla="*/ 0 w 18"/>
                            <a:gd name="T11" fmla="*/ 8 h 2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</a:cxnLst>
                          <a:rect l="0" t="0" r="r" b="b"/>
                          <a:pathLst>
                            <a:path w="18" h="22">
                              <a:moveTo>
                                <a:pt x="0" y="8"/>
                              </a:moveTo>
                              <a:lnTo>
                                <a:pt x="4" y="22"/>
                              </a:lnTo>
                              <a:lnTo>
                                <a:pt x="18" y="17"/>
                              </a:lnTo>
                              <a:lnTo>
                                <a:pt x="13" y="0"/>
                              </a:lnTo>
                              <a:lnTo>
                                <a:pt x="0" y="8"/>
                              </a:lnTo>
                              <a:lnTo>
                                <a:pt x="0" y="8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12" name="Freeform 223">
                          <a:extLst>
                            <a:ext uri="{FF2B5EF4-FFF2-40B4-BE49-F238E27FC236}">
                              <a16:creationId xmlns:a16="http://schemas.microsoft.com/office/drawing/2014/main" id="{B006F792-B894-4D54-AA8A-49A76B72B703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830796" y="239063"/>
                          <a:ext cx="22572" cy="22572"/>
                        </a:xfrm>
                        <a:custGeom>
                          <a:avLst/>
                          <a:gdLst>
                            <a:gd name="T0" fmla="*/ 5 w 22"/>
                            <a:gd name="T1" fmla="*/ 15 h 22"/>
                            <a:gd name="T2" fmla="*/ 13 w 22"/>
                            <a:gd name="T3" fmla="*/ 22 h 22"/>
                            <a:gd name="T4" fmla="*/ 22 w 22"/>
                            <a:gd name="T5" fmla="*/ 14 h 22"/>
                            <a:gd name="T6" fmla="*/ 8 w 22"/>
                            <a:gd name="T7" fmla="*/ 0 h 22"/>
                            <a:gd name="T8" fmla="*/ 0 w 22"/>
                            <a:gd name="T9" fmla="*/ 6 h 22"/>
                            <a:gd name="T10" fmla="*/ 5 w 22"/>
                            <a:gd name="T11" fmla="*/ 15 h 22"/>
                            <a:gd name="T12" fmla="*/ 5 w 22"/>
                            <a:gd name="T13" fmla="*/ 15 h 2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22" h="22">
                              <a:moveTo>
                                <a:pt x="5" y="15"/>
                              </a:moveTo>
                              <a:lnTo>
                                <a:pt x="13" y="22"/>
                              </a:lnTo>
                              <a:lnTo>
                                <a:pt x="22" y="14"/>
                              </a:lnTo>
                              <a:lnTo>
                                <a:pt x="8" y="0"/>
                              </a:lnTo>
                              <a:lnTo>
                                <a:pt x="0" y="6"/>
                              </a:lnTo>
                              <a:lnTo>
                                <a:pt x="5" y="15"/>
                              </a:lnTo>
                              <a:lnTo>
                                <a:pt x="5" y="15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13" name="Freeform 224">
                          <a:extLst>
                            <a:ext uri="{FF2B5EF4-FFF2-40B4-BE49-F238E27FC236}">
                              <a16:creationId xmlns:a16="http://schemas.microsoft.com/office/drawing/2014/main" id="{E815B182-60C3-4F30-A54C-34C0263084AE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793860" y="254454"/>
                          <a:ext cx="26677" cy="30781"/>
                        </a:xfrm>
                        <a:custGeom>
                          <a:avLst/>
                          <a:gdLst>
                            <a:gd name="T0" fmla="*/ 0 w 26"/>
                            <a:gd name="T1" fmla="*/ 9 h 30"/>
                            <a:gd name="T2" fmla="*/ 2 w 26"/>
                            <a:gd name="T3" fmla="*/ 21 h 30"/>
                            <a:gd name="T4" fmla="*/ 17 w 26"/>
                            <a:gd name="T5" fmla="*/ 30 h 30"/>
                            <a:gd name="T6" fmla="*/ 26 w 26"/>
                            <a:gd name="T7" fmla="*/ 17 h 30"/>
                            <a:gd name="T8" fmla="*/ 18 w 26"/>
                            <a:gd name="T9" fmla="*/ 0 h 30"/>
                            <a:gd name="T10" fmla="*/ 0 w 26"/>
                            <a:gd name="T11" fmla="*/ 9 h 30"/>
                            <a:gd name="T12" fmla="*/ 0 w 26"/>
                            <a:gd name="T13" fmla="*/ 9 h 3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26" h="30">
                              <a:moveTo>
                                <a:pt x="0" y="9"/>
                              </a:moveTo>
                              <a:lnTo>
                                <a:pt x="2" y="21"/>
                              </a:lnTo>
                              <a:lnTo>
                                <a:pt x="17" y="30"/>
                              </a:lnTo>
                              <a:lnTo>
                                <a:pt x="26" y="17"/>
                              </a:lnTo>
                              <a:lnTo>
                                <a:pt x="18" y="0"/>
                              </a:lnTo>
                              <a:lnTo>
                                <a:pt x="0" y="9"/>
                              </a:lnTo>
                              <a:lnTo>
                                <a:pt x="0" y="9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14" name="Freeform 225">
                          <a:extLst>
                            <a:ext uri="{FF2B5EF4-FFF2-40B4-BE49-F238E27FC236}">
                              <a16:creationId xmlns:a16="http://schemas.microsoft.com/office/drawing/2014/main" id="{A89B6F27-C118-448E-B8C5-C631B570F9CC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738454" y="276000"/>
                          <a:ext cx="54380" cy="50275"/>
                        </a:xfrm>
                        <a:custGeom>
                          <a:avLst/>
                          <a:gdLst>
                            <a:gd name="T0" fmla="*/ 24 w 53"/>
                            <a:gd name="T1" fmla="*/ 0 h 49"/>
                            <a:gd name="T2" fmla="*/ 53 w 53"/>
                            <a:gd name="T3" fmla="*/ 27 h 49"/>
                            <a:gd name="T4" fmla="*/ 49 w 53"/>
                            <a:gd name="T5" fmla="*/ 49 h 49"/>
                            <a:gd name="T6" fmla="*/ 19 w 53"/>
                            <a:gd name="T7" fmla="*/ 39 h 49"/>
                            <a:gd name="T8" fmla="*/ 0 w 53"/>
                            <a:gd name="T9" fmla="*/ 17 h 49"/>
                            <a:gd name="T10" fmla="*/ 24 w 53"/>
                            <a:gd name="T11" fmla="*/ 0 h 49"/>
                            <a:gd name="T12" fmla="*/ 24 w 53"/>
                            <a:gd name="T13" fmla="*/ 0 h 49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53" h="49">
                              <a:moveTo>
                                <a:pt x="24" y="0"/>
                              </a:moveTo>
                              <a:lnTo>
                                <a:pt x="53" y="27"/>
                              </a:lnTo>
                              <a:lnTo>
                                <a:pt x="49" y="49"/>
                              </a:lnTo>
                              <a:lnTo>
                                <a:pt x="19" y="39"/>
                              </a:lnTo>
                              <a:lnTo>
                                <a:pt x="0" y="17"/>
                              </a:lnTo>
                              <a:lnTo>
                                <a:pt x="24" y="0"/>
                              </a:lnTo>
                              <a:lnTo>
                                <a:pt x="24" y="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15" name="Freeform 226">
                          <a:extLst>
                            <a:ext uri="{FF2B5EF4-FFF2-40B4-BE49-F238E27FC236}">
                              <a16:creationId xmlns:a16="http://schemas.microsoft.com/office/drawing/2014/main" id="{BAEB48A9-1535-47EE-AF1F-3F7DA56E5675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846186" y="338588"/>
                          <a:ext cx="50275" cy="40015"/>
                        </a:xfrm>
                        <a:custGeom>
                          <a:avLst/>
                          <a:gdLst>
                            <a:gd name="T0" fmla="*/ 0 w 49"/>
                            <a:gd name="T1" fmla="*/ 23 h 39"/>
                            <a:gd name="T2" fmla="*/ 3 w 49"/>
                            <a:gd name="T3" fmla="*/ 39 h 39"/>
                            <a:gd name="T4" fmla="*/ 36 w 49"/>
                            <a:gd name="T5" fmla="*/ 39 h 39"/>
                            <a:gd name="T6" fmla="*/ 49 w 49"/>
                            <a:gd name="T7" fmla="*/ 17 h 39"/>
                            <a:gd name="T8" fmla="*/ 38 w 49"/>
                            <a:gd name="T9" fmla="*/ 0 h 39"/>
                            <a:gd name="T10" fmla="*/ 24 w 49"/>
                            <a:gd name="T11" fmla="*/ 20 h 39"/>
                            <a:gd name="T12" fmla="*/ 3 w 49"/>
                            <a:gd name="T13" fmla="*/ 15 h 39"/>
                            <a:gd name="T14" fmla="*/ 0 w 49"/>
                            <a:gd name="T15" fmla="*/ 23 h 39"/>
                            <a:gd name="T16" fmla="*/ 0 w 49"/>
                            <a:gd name="T17" fmla="*/ 23 h 39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49" h="39">
                              <a:moveTo>
                                <a:pt x="0" y="23"/>
                              </a:moveTo>
                              <a:lnTo>
                                <a:pt x="3" y="39"/>
                              </a:lnTo>
                              <a:lnTo>
                                <a:pt x="36" y="39"/>
                              </a:lnTo>
                              <a:lnTo>
                                <a:pt x="49" y="17"/>
                              </a:lnTo>
                              <a:lnTo>
                                <a:pt x="38" y="0"/>
                              </a:lnTo>
                              <a:lnTo>
                                <a:pt x="24" y="20"/>
                              </a:lnTo>
                              <a:lnTo>
                                <a:pt x="3" y="15"/>
                              </a:lnTo>
                              <a:lnTo>
                                <a:pt x="0" y="23"/>
                              </a:lnTo>
                              <a:lnTo>
                                <a:pt x="0" y="23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16" name="Freeform 227">
                          <a:extLst>
                            <a:ext uri="{FF2B5EF4-FFF2-40B4-BE49-F238E27FC236}">
                              <a16:creationId xmlns:a16="http://schemas.microsoft.com/office/drawing/2014/main" id="{B61E1712-748C-4E3B-8701-8A3F90319A9A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755896" y="389889"/>
                          <a:ext cx="16416" cy="24625"/>
                        </a:xfrm>
                        <a:custGeom>
                          <a:avLst/>
                          <a:gdLst>
                            <a:gd name="T0" fmla="*/ 0 w 16"/>
                            <a:gd name="T1" fmla="*/ 11 h 24"/>
                            <a:gd name="T2" fmla="*/ 8 w 16"/>
                            <a:gd name="T3" fmla="*/ 24 h 24"/>
                            <a:gd name="T4" fmla="*/ 16 w 16"/>
                            <a:gd name="T5" fmla="*/ 14 h 24"/>
                            <a:gd name="T6" fmla="*/ 8 w 16"/>
                            <a:gd name="T7" fmla="*/ 0 h 24"/>
                            <a:gd name="T8" fmla="*/ 0 w 16"/>
                            <a:gd name="T9" fmla="*/ 11 h 24"/>
                            <a:gd name="T10" fmla="*/ 0 w 16"/>
                            <a:gd name="T11" fmla="*/ 11 h 2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</a:cxnLst>
                          <a:rect l="0" t="0" r="r" b="b"/>
                          <a:pathLst>
                            <a:path w="16" h="24">
                              <a:moveTo>
                                <a:pt x="0" y="11"/>
                              </a:moveTo>
                              <a:lnTo>
                                <a:pt x="8" y="24"/>
                              </a:lnTo>
                              <a:lnTo>
                                <a:pt x="16" y="14"/>
                              </a:lnTo>
                              <a:lnTo>
                                <a:pt x="8" y="0"/>
                              </a:lnTo>
                              <a:lnTo>
                                <a:pt x="0" y="11"/>
                              </a:lnTo>
                              <a:lnTo>
                                <a:pt x="0" y="11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17" name="Freeform 228">
                          <a:extLst>
                            <a:ext uri="{FF2B5EF4-FFF2-40B4-BE49-F238E27FC236}">
                              <a16:creationId xmlns:a16="http://schemas.microsoft.com/office/drawing/2014/main" id="{04AF2E20-A12E-4E3E-B67F-2EDD442695C1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673815" y="303703"/>
                          <a:ext cx="28729" cy="33859"/>
                        </a:xfrm>
                        <a:custGeom>
                          <a:avLst/>
                          <a:gdLst>
                            <a:gd name="T0" fmla="*/ 0 w 28"/>
                            <a:gd name="T1" fmla="*/ 11 h 33"/>
                            <a:gd name="T2" fmla="*/ 13 w 28"/>
                            <a:gd name="T3" fmla="*/ 33 h 33"/>
                            <a:gd name="T4" fmla="*/ 28 w 28"/>
                            <a:gd name="T5" fmla="*/ 19 h 33"/>
                            <a:gd name="T6" fmla="*/ 21 w 28"/>
                            <a:gd name="T7" fmla="*/ 0 h 33"/>
                            <a:gd name="T8" fmla="*/ 0 w 28"/>
                            <a:gd name="T9" fmla="*/ 11 h 33"/>
                            <a:gd name="T10" fmla="*/ 0 w 28"/>
                            <a:gd name="T11" fmla="*/ 11 h 3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</a:cxnLst>
                          <a:rect l="0" t="0" r="r" b="b"/>
                          <a:pathLst>
                            <a:path w="28" h="33">
                              <a:moveTo>
                                <a:pt x="0" y="11"/>
                              </a:moveTo>
                              <a:lnTo>
                                <a:pt x="13" y="33"/>
                              </a:lnTo>
                              <a:lnTo>
                                <a:pt x="28" y="19"/>
                              </a:lnTo>
                              <a:lnTo>
                                <a:pt x="21" y="0"/>
                              </a:lnTo>
                              <a:lnTo>
                                <a:pt x="0" y="11"/>
                              </a:lnTo>
                              <a:lnTo>
                                <a:pt x="0" y="11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18" name="Freeform 229">
                          <a:extLst>
                            <a:ext uri="{FF2B5EF4-FFF2-40B4-BE49-F238E27FC236}">
                              <a16:creationId xmlns:a16="http://schemas.microsoft.com/office/drawing/2014/main" id="{F46A0DD1-A05A-4A53-BFFD-64C6C66036C6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712804" y="299599"/>
                          <a:ext cx="11287" cy="21547"/>
                        </a:xfrm>
                        <a:custGeom>
                          <a:avLst/>
                          <a:gdLst>
                            <a:gd name="T0" fmla="*/ 0 w 11"/>
                            <a:gd name="T1" fmla="*/ 8 h 21"/>
                            <a:gd name="T2" fmla="*/ 2 w 11"/>
                            <a:gd name="T3" fmla="*/ 21 h 21"/>
                            <a:gd name="T4" fmla="*/ 11 w 11"/>
                            <a:gd name="T5" fmla="*/ 15 h 21"/>
                            <a:gd name="T6" fmla="*/ 4 w 11"/>
                            <a:gd name="T7" fmla="*/ 0 h 21"/>
                            <a:gd name="T8" fmla="*/ 0 w 11"/>
                            <a:gd name="T9" fmla="*/ 8 h 21"/>
                            <a:gd name="T10" fmla="*/ 0 w 11"/>
                            <a:gd name="T11" fmla="*/ 8 h 21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</a:cxnLst>
                          <a:rect l="0" t="0" r="r" b="b"/>
                          <a:pathLst>
                            <a:path w="11" h="21">
                              <a:moveTo>
                                <a:pt x="0" y="8"/>
                              </a:moveTo>
                              <a:lnTo>
                                <a:pt x="2" y="21"/>
                              </a:lnTo>
                              <a:lnTo>
                                <a:pt x="11" y="15"/>
                              </a:lnTo>
                              <a:lnTo>
                                <a:pt x="4" y="0"/>
                              </a:lnTo>
                              <a:lnTo>
                                <a:pt x="0" y="8"/>
                              </a:lnTo>
                              <a:lnTo>
                                <a:pt x="0" y="8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19" name="Freeform 230">
                          <a:extLst>
                            <a:ext uri="{FF2B5EF4-FFF2-40B4-BE49-F238E27FC236}">
                              <a16:creationId xmlns:a16="http://schemas.microsoft.com/office/drawing/2014/main" id="{8439431C-1497-4075-B0EA-08AE0E89C486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697414" y="223673"/>
                          <a:ext cx="20520" cy="23599"/>
                        </a:xfrm>
                        <a:custGeom>
                          <a:avLst/>
                          <a:gdLst>
                            <a:gd name="T0" fmla="*/ 0 w 20"/>
                            <a:gd name="T1" fmla="*/ 9 h 23"/>
                            <a:gd name="T2" fmla="*/ 10 w 20"/>
                            <a:gd name="T3" fmla="*/ 23 h 23"/>
                            <a:gd name="T4" fmla="*/ 20 w 20"/>
                            <a:gd name="T5" fmla="*/ 14 h 23"/>
                            <a:gd name="T6" fmla="*/ 5 w 20"/>
                            <a:gd name="T7" fmla="*/ 0 h 23"/>
                            <a:gd name="T8" fmla="*/ 0 w 20"/>
                            <a:gd name="T9" fmla="*/ 9 h 23"/>
                            <a:gd name="T10" fmla="*/ 0 w 20"/>
                            <a:gd name="T11" fmla="*/ 9 h 2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</a:cxnLst>
                          <a:rect l="0" t="0" r="r" b="b"/>
                          <a:pathLst>
                            <a:path w="20" h="23">
                              <a:moveTo>
                                <a:pt x="0" y="9"/>
                              </a:moveTo>
                              <a:lnTo>
                                <a:pt x="10" y="23"/>
                              </a:lnTo>
                              <a:lnTo>
                                <a:pt x="20" y="14"/>
                              </a:lnTo>
                              <a:lnTo>
                                <a:pt x="5" y="0"/>
                              </a:lnTo>
                              <a:lnTo>
                                <a:pt x="0" y="9"/>
                              </a:lnTo>
                              <a:lnTo>
                                <a:pt x="0" y="9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20" name="Freeform 231">
                          <a:extLst>
                            <a:ext uri="{FF2B5EF4-FFF2-40B4-BE49-F238E27FC236}">
                              <a16:creationId xmlns:a16="http://schemas.microsoft.com/office/drawing/2014/main" id="{581195D1-9FCD-42B1-BC1D-48424BE0C612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605071" y="205205"/>
                          <a:ext cx="59509" cy="37963"/>
                        </a:xfrm>
                        <a:custGeom>
                          <a:avLst/>
                          <a:gdLst>
                            <a:gd name="T0" fmla="*/ 0 w 58"/>
                            <a:gd name="T1" fmla="*/ 0 h 37"/>
                            <a:gd name="T2" fmla="*/ 5 w 58"/>
                            <a:gd name="T3" fmla="*/ 18 h 37"/>
                            <a:gd name="T4" fmla="*/ 19 w 58"/>
                            <a:gd name="T5" fmla="*/ 29 h 37"/>
                            <a:gd name="T6" fmla="*/ 39 w 58"/>
                            <a:gd name="T7" fmla="*/ 27 h 37"/>
                            <a:gd name="T8" fmla="*/ 51 w 58"/>
                            <a:gd name="T9" fmla="*/ 37 h 37"/>
                            <a:gd name="T10" fmla="*/ 58 w 58"/>
                            <a:gd name="T11" fmla="*/ 28 h 37"/>
                            <a:gd name="T12" fmla="*/ 43 w 58"/>
                            <a:gd name="T13" fmla="*/ 14 h 37"/>
                            <a:gd name="T14" fmla="*/ 29 w 58"/>
                            <a:gd name="T15" fmla="*/ 18 h 37"/>
                            <a:gd name="T16" fmla="*/ 0 w 58"/>
                            <a:gd name="T17" fmla="*/ 0 h 37"/>
                            <a:gd name="T18" fmla="*/ 0 w 58"/>
                            <a:gd name="T19" fmla="*/ 0 h 3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</a:cxnLst>
                          <a:rect l="0" t="0" r="r" b="b"/>
                          <a:pathLst>
                            <a:path w="58" h="37">
                              <a:moveTo>
                                <a:pt x="0" y="0"/>
                              </a:moveTo>
                              <a:lnTo>
                                <a:pt x="5" y="18"/>
                              </a:lnTo>
                              <a:lnTo>
                                <a:pt x="19" y="29"/>
                              </a:lnTo>
                              <a:lnTo>
                                <a:pt x="39" y="27"/>
                              </a:lnTo>
                              <a:lnTo>
                                <a:pt x="51" y="37"/>
                              </a:lnTo>
                              <a:lnTo>
                                <a:pt x="58" y="28"/>
                              </a:lnTo>
                              <a:lnTo>
                                <a:pt x="43" y="14"/>
                              </a:lnTo>
                              <a:lnTo>
                                <a:pt x="29" y="18"/>
                              </a:lnTo>
                              <a:lnTo>
                                <a:pt x="0" y="0"/>
                              </a:lnTo>
                              <a:lnTo>
                                <a:pt x="0" y="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21" name="Freeform 232">
                          <a:extLst>
                            <a:ext uri="{FF2B5EF4-FFF2-40B4-BE49-F238E27FC236}">
                              <a16:creationId xmlns:a16="http://schemas.microsoft.com/office/drawing/2014/main" id="{C8A829E9-58C8-4DBA-BF56-5C72DB4BC04E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607124" y="242142"/>
                          <a:ext cx="94394" cy="61561"/>
                        </a:xfrm>
                        <a:custGeom>
                          <a:avLst/>
                          <a:gdLst>
                            <a:gd name="T0" fmla="*/ 2 w 92"/>
                            <a:gd name="T1" fmla="*/ 10 h 60"/>
                            <a:gd name="T2" fmla="*/ 0 w 92"/>
                            <a:gd name="T3" fmla="*/ 26 h 60"/>
                            <a:gd name="T4" fmla="*/ 15 w 92"/>
                            <a:gd name="T5" fmla="*/ 41 h 60"/>
                            <a:gd name="T6" fmla="*/ 29 w 92"/>
                            <a:gd name="T7" fmla="*/ 60 h 60"/>
                            <a:gd name="T8" fmla="*/ 34 w 92"/>
                            <a:gd name="T9" fmla="*/ 51 h 60"/>
                            <a:gd name="T10" fmla="*/ 30 w 92"/>
                            <a:gd name="T11" fmla="*/ 33 h 60"/>
                            <a:gd name="T12" fmla="*/ 50 w 92"/>
                            <a:gd name="T13" fmla="*/ 29 h 60"/>
                            <a:gd name="T14" fmla="*/ 76 w 92"/>
                            <a:gd name="T15" fmla="*/ 37 h 60"/>
                            <a:gd name="T16" fmla="*/ 92 w 92"/>
                            <a:gd name="T17" fmla="*/ 21 h 60"/>
                            <a:gd name="T18" fmla="*/ 77 w 92"/>
                            <a:gd name="T19" fmla="*/ 4 h 60"/>
                            <a:gd name="T20" fmla="*/ 65 w 92"/>
                            <a:gd name="T21" fmla="*/ 0 h 60"/>
                            <a:gd name="T22" fmla="*/ 52 w 92"/>
                            <a:gd name="T23" fmla="*/ 10 h 60"/>
                            <a:gd name="T24" fmla="*/ 34 w 92"/>
                            <a:gd name="T25" fmla="*/ 12 h 60"/>
                            <a:gd name="T26" fmla="*/ 24 w 92"/>
                            <a:gd name="T27" fmla="*/ 16 h 60"/>
                            <a:gd name="T28" fmla="*/ 2 w 92"/>
                            <a:gd name="T29" fmla="*/ 10 h 60"/>
                            <a:gd name="T30" fmla="*/ 2 w 92"/>
                            <a:gd name="T31" fmla="*/ 10 h 6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</a:cxnLst>
                          <a:rect l="0" t="0" r="r" b="b"/>
                          <a:pathLst>
                            <a:path w="92" h="60">
                              <a:moveTo>
                                <a:pt x="2" y="10"/>
                              </a:moveTo>
                              <a:lnTo>
                                <a:pt x="0" y="26"/>
                              </a:lnTo>
                              <a:lnTo>
                                <a:pt x="15" y="41"/>
                              </a:lnTo>
                              <a:lnTo>
                                <a:pt x="29" y="60"/>
                              </a:lnTo>
                              <a:lnTo>
                                <a:pt x="34" y="51"/>
                              </a:lnTo>
                              <a:lnTo>
                                <a:pt x="30" y="33"/>
                              </a:lnTo>
                              <a:lnTo>
                                <a:pt x="50" y="29"/>
                              </a:lnTo>
                              <a:lnTo>
                                <a:pt x="76" y="37"/>
                              </a:lnTo>
                              <a:lnTo>
                                <a:pt x="92" y="21"/>
                              </a:lnTo>
                              <a:lnTo>
                                <a:pt x="77" y="4"/>
                              </a:lnTo>
                              <a:lnTo>
                                <a:pt x="65" y="0"/>
                              </a:lnTo>
                              <a:lnTo>
                                <a:pt x="52" y="10"/>
                              </a:lnTo>
                              <a:lnTo>
                                <a:pt x="34" y="12"/>
                              </a:lnTo>
                              <a:lnTo>
                                <a:pt x="24" y="16"/>
                              </a:lnTo>
                              <a:lnTo>
                                <a:pt x="2" y="10"/>
                              </a:lnTo>
                              <a:lnTo>
                                <a:pt x="2" y="1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22" name="Freeform 233">
                          <a:extLst>
                            <a:ext uri="{FF2B5EF4-FFF2-40B4-BE49-F238E27FC236}">
                              <a16:creationId xmlns:a16="http://schemas.microsoft.com/office/drawing/2014/main" id="{B060839C-B41C-45A3-A192-1D4B37704BDD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637904" y="314989"/>
                          <a:ext cx="13339" cy="18468"/>
                        </a:xfrm>
                        <a:custGeom>
                          <a:avLst/>
                          <a:gdLst>
                            <a:gd name="T0" fmla="*/ 4 w 13"/>
                            <a:gd name="T1" fmla="*/ 0 h 18"/>
                            <a:gd name="T2" fmla="*/ 0 w 13"/>
                            <a:gd name="T3" fmla="*/ 11 h 18"/>
                            <a:gd name="T4" fmla="*/ 12 w 13"/>
                            <a:gd name="T5" fmla="*/ 18 h 18"/>
                            <a:gd name="T6" fmla="*/ 13 w 13"/>
                            <a:gd name="T7" fmla="*/ 3 h 18"/>
                            <a:gd name="T8" fmla="*/ 4 w 13"/>
                            <a:gd name="T9" fmla="*/ 0 h 18"/>
                            <a:gd name="T10" fmla="*/ 4 w 13"/>
                            <a:gd name="T11" fmla="*/ 0 h 1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</a:cxnLst>
                          <a:rect l="0" t="0" r="r" b="b"/>
                          <a:pathLst>
                            <a:path w="13" h="18">
                              <a:moveTo>
                                <a:pt x="4" y="0"/>
                              </a:moveTo>
                              <a:lnTo>
                                <a:pt x="0" y="11"/>
                              </a:lnTo>
                              <a:lnTo>
                                <a:pt x="12" y="18"/>
                              </a:lnTo>
                              <a:lnTo>
                                <a:pt x="13" y="3"/>
                              </a:lnTo>
                              <a:lnTo>
                                <a:pt x="4" y="0"/>
                              </a:lnTo>
                              <a:lnTo>
                                <a:pt x="4" y="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23" name="Freeform 234">
                          <a:extLst>
                            <a:ext uri="{FF2B5EF4-FFF2-40B4-BE49-F238E27FC236}">
                              <a16:creationId xmlns:a16="http://schemas.microsoft.com/office/drawing/2014/main" id="{E26BEFA0-EF1A-41A9-A182-CD1B079EBAE8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78003" y="896612"/>
                          <a:ext cx="114915" cy="160060"/>
                        </a:xfrm>
                        <a:custGeom>
                          <a:avLst/>
                          <a:gdLst>
                            <a:gd name="T0" fmla="*/ 0 w 112"/>
                            <a:gd name="T1" fmla="*/ 11 h 156"/>
                            <a:gd name="T2" fmla="*/ 67 w 112"/>
                            <a:gd name="T3" fmla="*/ 156 h 156"/>
                            <a:gd name="T4" fmla="*/ 108 w 112"/>
                            <a:gd name="T5" fmla="*/ 134 h 156"/>
                            <a:gd name="T6" fmla="*/ 112 w 112"/>
                            <a:gd name="T7" fmla="*/ 54 h 156"/>
                            <a:gd name="T8" fmla="*/ 92 w 112"/>
                            <a:gd name="T9" fmla="*/ 24 h 156"/>
                            <a:gd name="T10" fmla="*/ 83 w 112"/>
                            <a:gd name="T11" fmla="*/ 60 h 156"/>
                            <a:gd name="T12" fmla="*/ 63 w 112"/>
                            <a:gd name="T13" fmla="*/ 47 h 156"/>
                            <a:gd name="T14" fmla="*/ 47 w 112"/>
                            <a:gd name="T15" fmla="*/ 0 h 156"/>
                            <a:gd name="T16" fmla="*/ 27 w 112"/>
                            <a:gd name="T17" fmla="*/ 13 h 156"/>
                            <a:gd name="T18" fmla="*/ 0 w 112"/>
                            <a:gd name="T19" fmla="*/ 11 h 156"/>
                            <a:gd name="T20" fmla="*/ 0 w 112"/>
                            <a:gd name="T21" fmla="*/ 11 h 15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</a:cxnLst>
                          <a:rect l="0" t="0" r="r" b="b"/>
                          <a:pathLst>
                            <a:path w="112" h="156">
                              <a:moveTo>
                                <a:pt x="0" y="11"/>
                              </a:moveTo>
                              <a:lnTo>
                                <a:pt x="67" y="156"/>
                              </a:lnTo>
                              <a:lnTo>
                                <a:pt x="108" y="134"/>
                              </a:lnTo>
                              <a:lnTo>
                                <a:pt x="112" y="54"/>
                              </a:lnTo>
                              <a:lnTo>
                                <a:pt x="92" y="24"/>
                              </a:lnTo>
                              <a:lnTo>
                                <a:pt x="83" y="60"/>
                              </a:lnTo>
                              <a:lnTo>
                                <a:pt x="63" y="47"/>
                              </a:lnTo>
                              <a:lnTo>
                                <a:pt x="47" y="0"/>
                              </a:lnTo>
                              <a:lnTo>
                                <a:pt x="27" y="13"/>
                              </a:lnTo>
                              <a:lnTo>
                                <a:pt x="0" y="11"/>
                              </a:lnTo>
                              <a:lnTo>
                                <a:pt x="0" y="11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24" name="Freeform 235">
                          <a:extLst>
                            <a:ext uri="{FF2B5EF4-FFF2-40B4-BE49-F238E27FC236}">
                              <a16:creationId xmlns:a16="http://schemas.microsoft.com/office/drawing/2014/main" id="{BC7F11C7-DAAE-46B1-B568-4406DE112CA1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29354" y="1895064"/>
                          <a:ext cx="314989" cy="333458"/>
                        </a:xfrm>
                        <a:custGeom>
                          <a:avLst/>
                          <a:gdLst>
                            <a:gd name="T0" fmla="*/ 215 w 307"/>
                            <a:gd name="T1" fmla="*/ 10 h 325"/>
                            <a:gd name="T2" fmla="*/ 173 w 307"/>
                            <a:gd name="T3" fmla="*/ 27 h 325"/>
                            <a:gd name="T4" fmla="*/ 139 w 307"/>
                            <a:gd name="T5" fmla="*/ 63 h 325"/>
                            <a:gd name="T6" fmla="*/ 84 w 307"/>
                            <a:gd name="T7" fmla="*/ 41 h 325"/>
                            <a:gd name="T8" fmla="*/ 6 w 307"/>
                            <a:gd name="T9" fmla="*/ 60 h 325"/>
                            <a:gd name="T10" fmla="*/ 44 w 307"/>
                            <a:gd name="T11" fmla="*/ 102 h 325"/>
                            <a:gd name="T12" fmla="*/ 0 w 307"/>
                            <a:gd name="T13" fmla="*/ 98 h 325"/>
                            <a:gd name="T14" fmla="*/ 29 w 307"/>
                            <a:gd name="T15" fmla="*/ 117 h 325"/>
                            <a:gd name="T16" fmla="*/ 30 w 307"/>
                            <a:gd name="T17" fmla="*/ 117 h 325"/>
                            <a:gd name="T18" fmla="*/ 55 w 307"/>
                            <a:gd name="T19" fmla="*/ 147 h 325"/>
                            <a:gd name="T20" fmla="*/ 37 w 307"/>
                            <a:gd name="T21" fmla="*/ 181 h 325"/>
                            <a:gd name="T22" fmla="*/ 60 w 307"/>
                            <a:gd name="T23" fmla="*/ 210 h 325"/>
                            <a:gd name="T24" fmla="*/ 54 w 307"/>
                            <a:gd name="T25" fmla="*/ 222 h 325"/>
                            <a:gd name="T26" fmla="*/ 66 w 307"/>
                            <a:gd name="T27" fmla="*/ 260 h 325"/>
                            <a:gd name="T28" fmla="*/ 79 w 307"/>
                            <a:gd name="T29" fmla="*/ 245 h 325"/>
                            <a:gd name="T30" fmla="*/ 101 w 307"/>
                            <a:gd name="T31" fmla="*/ 254 h 325"/>
                            <a:gd name="T32" fmla="*/ 109 w 307"/>
                            <a:gd name="T33" fmla="*/ 240 h 325"/>
                            <a:gd name="T34" fmla="*/ 127 w 307"/>
                            <a:gd name="T35" fmla="*/ 247 h 325"/>
                            <a:gd name="T36" fmla="*/ 128 w 307"/>
                            <a:gd name="T37" fmla="*/ 249 h 325"/>
                            <a:gd name="T38" fmla="*/ 148 w 307"/>
                            <a:gd name="T39" fmla="*/ 283 h 325"/>
                            <a:gd name="T40" fmla="*/ 149 w 307"/>
                            <a:gd name="T41" fmla="*/ 285 h 325"/>
                            <a:gd name="T42" fmla="*/ 159 w 307"/>
                            <a:gd name="T43" fmla="*/ 325 h 325"/>
                            <a:gd name="T44" fmla="*/ 191 w 307"/>
                            <a:gd name="T45" fmla="*/ 308 h 325"/>
                            <a:gd name="T46" fmla="*/ 192 w 307"/>
                            <a:gd name="T47" fmla="*/ 307 h 325"/>
                            <a:gd name="T48" fmla="*/ 255 w 307"/>
                            <a:gd name="T49" fmla="*/ 281 h 325"/>
                            <a:gd name="T50" fmla="*/ 232 w 307"/>
                            <a:gd name="T51" fmla="*/ 266 h 325"/>
                            <a:gd name="T52" fmla="*/ 230 w 307"/>
                            <a:gd name="T53" fmla="*/ 264 h 325"/>
                            <a:gd name="T54" fmla="*/ 208 w 307"/>
                            <a:gd name="T55" fmla="*/ 217 h 325"/>
                            <a:gd name="T56" fmla="*/ 208 w 307"/>
                            <a:gd name="T57" fmla="*/ 216 h 325"/>
                            <a:gd name="T58" fmla="*/ 206 w 307"/>
                            <a:gd name="T59" fmla="*/ 157 h 325"/>
                            <a:gd name="T60" fmla="*/ 206 w 307"/>
                            <a:gd name="T61" fmla="*/ 154 h 325"/>
                            <a:gd name="T62" fmla="*/ 237 w 307"/>
                            <a:gd name="T63" fmla="*/ 137 h 325"/>
                            <a:gd name="T64" fmla="*/ 248 w 307"/>
                            <a:gd name="T65" fmla="*/ 148 h 325"/>
                            <a:gd name="T66" fmla="*/ 280 w 307"/>
                            <a:gd name="T67" fmla="*/ 124 h 325"/>
                            <a:gd name="T68" fmla="*/ 275 w 307"/>
                            <a:gd name="T69" fmla="*/ 83 h 325"/>
                            <a:gd name="T70" fmla="*/ 307 w 307"/>
                            <a:gd name="T71" fmla="*/ 63 h 325"/>
                            <a:gd name="T72" fmla="*/ 278 w 307"/>
                            <a:gd name="T73" fmla="*/ 14 h 325"/>
                            <a:gd name="T74" fmla="*/ 259 w 307"/>
                            <a:gd name="T75" fmla="*/ 26 h 325"/>
                            <a:gd name="T76" fmla="*/ 239 w 307"/>
                            <a:gd name="T77" fmla="*/ 13 h 325"/>
                            <a:gd name="T78" fmla="*/ 216 w 307"/>
                            <a:gd name="T79" fmla="*/ 0 h 3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</a:cxnLst>
                          <a:rect l="0" t="0" r="r" b="b"/>
                          <a:pathLst>
                            <a:path w="307" h="325">
                              <a:moveTo>
                                <a:pt x="216" y="0"/>
                              </a:moveTo>
                              <a:lnTo>
                                <a:pt x="215" y="10"/>
                              </a:lnTo>
                              <a:lnTo>
                                <a:pt x="185" y="9"/>
                              </a:lnTo>
                              <a:lnTo>
                                <a:pt x="173" y="27"/>
                              </a:lnTo>
                              <a:lnTo>
                                <a:pt x="157" y="29"/>
                              </a:lnTo>
                              <a:lnTo>
                                <a:pt x="139" y="63"/>
                              </a:lnTo>
                              <a:lnTo>
                                <a:pt x="107" y="75"/>
                              </a:lnTo>
                              <a:lnTo>
                                <a:pt x="84" y="41"/>
                              </a:lnTo>
                              <a:lnTo>
                                <a:pt x="31" y="34"/>
                              </a:lnTo>
                              <a:lnTo>
                                <a:pt x="6" y="60"/>
                              </a:lnTo>
                              <a:lnTo>
                                <a:pt x="60" y="92"/>
                              </a:lnTo>
                              <a:lnTo>
                                <a:pt x="44" y="102"/>
                              </a:lnTo>
                              <a:lnTo>
                                <a:pt x="16" y="86"/>
                              </a:lnTo>
                              <a:lnTo>
                                <a:pt x="0" y="98"/>
                              </a:lnTo>
                              <a:lnTo>
                                <a:pt x="10" y="117"/>
                              </a:lnTo>
                              <a:lnTo>
                                <a:pt x="29" y="117"/>
                              </a:lnTo>
                              <a:lnTo>
                                <a:pt x="30" y="117"/>
                              </a:lnTo>
                              <a:lnTo>
                                <a:pt x="30" y="117"/>
                              </a:lnTo>
                              <a:lnTo>
                                <a:pt x="54" y="146"/>
                              </a:lnTo>
                              <a:lnTo>
                                <a:pt x="55" y="147"/>
                              </a:lnTo>
                              <a:lnTo>
                                <a:pt x="54" y="148"/>
                              </a:lnTo>
                              <a:lnTo>
                                <a:pt x="37" y="181"/>
                              </a:lnTo>
                              <a:lnTo>
                                <a:pt x="59" y="209"/>
                              </a:lnTo>
                              <a:lnTo>
                                <a:pt x="60" y="210"/>
                              </a:lnTo>
                              <a:lnTo>
                                <a:pt x="60" y="211"/>
                              </a:lnTo>
                              <a:lnTo>
                                <a:pt x="54" y="222"/>
                              </a:lnTo>
                              <a:lnTo>
                                <a:pt x="53" y="244"/>
                              </a:lnTo>
                              <a:lnTo>
                                <a:pt x="66" y="260"/>
                              </a:lnTo>
                              <a:lnTo>
                                <a:pt x="78" y="246"/>
                              </a:lnTo>
                              <a:lnTo>
                                <a:pt x="79" y="245"/>
                              </a:lnTo>
                              <a:lnTo>
                                <a:pt x="80" y="246"/>
                              </a:lnTo>
                              <a:lnTo>
                                <a:pt x="101" y="254"/>
                              </a:lnTo>
                              <a:lnTo>
                                <a:pt x="108" y="241"/>
                              </a:lnTo>
                              <a:lnTo>
                                <a:pt x="109" y="240"/>
                              </a:lnTo>
                              <a:lnTo>
                                <a:pt x="110" y="240"/>
                              </a:lnTo>
                              <a:lnTo>
                                <a:pt x="127" y="247"/>
                              </a:lnTo>
                              <a:lnTo>
                                <a:pt x="128" y="248"/>
                              </a:lnTo>
                              <a:lnTo>
                                <a:pt x="128" y="249"/>
                              </a:lnTo>
                              <a:lnTo>
                                <a:pt x="128" y="274"/>
                              </a:lnTo>
                              <a:lnTo>
                                <a:pt x="148" y="283"/>
                              </a:lnTo>
                              <a:lnTo>
                                <a:pt x="149" y="283"/>
                              </a:lnTo>
                              <a:lnTo>
                                <a:pt x="149" y="285"/>
                              </a:lnTo>
                              <a:lnTo>
                                <a:pt x="149" y="309"/>
                              </a:lnTo>
                              <a:lnTo>
                                <a:pt x="159" y="325"/>
                              </a:lnTo>
                              <a:lnTo>
                                <a:pt x="183" y="323"/>
                              </a:lnTo>
                              <a:lnTo>
                                <a:pt x="191" y="308"/>
                              </a:lnTo>
                              <a:lnTo>
                                <a:pt x="191" y="307"/>
                              </a:lnTo>
                              <a:lnTo>
                                <a:pt x="192" y="307"/>
                              </a:lnTo>
                              <a:lnTo>
                                <a:pt x="231" y="307"/>
                              </a:lnTo>
                              <a:lnTo>
                                <a:pt x="255" y="281"/>
                              </a:lnTo>
                              <a:lnTo>
                                <a:pt x="254" y="268"/>
                              </a:lnTo>
                              <a:lnTo>
                                <a:pt x="232" y="266"/>
                              </a:lnTo>
                              <a:lnTo>
                                <a:pt x="230" y="265"/>
                              </a:lnTo>
                              <a:lnTo>
                                <a:pt x="230" y="264"/>
                              </a:lnTo>
                              <a:lnTo>
                                <a:pt x="229" y="245"/>
                              </a:lnTo>
                              <a:lnTo>
                                <a:pt x="208" y="217"/>
                              </a:lnTo>
                              <a:lnTo>
                                <a:pt x="208" y="216"/>
                              </a:lnTo>
                              <a:lnTo>
                                <a:pt x="208" y="216"/>
                              </a:lnTo>
                              <a:lnTo>
                                <a:pt x="219" y="176"/>
                              </a:lnTo>
                              <a:lnTo>
                                <a:pt x="206" y="157"/>
                              </a:lnTo>
                              <a:lnTo>
                                <a:pt x="205" y="155"/>
                              </a:lnTo>
                              <a:lnTo>
                                <a:pt x="206" y="154"/>
                              </a:lnTo>
                              <a:lnTo>
                                <a:pt x="235" y="137"/>
                              </a:lnTo>
                              <a:lnTo>
                                <a:pt x="237" y="137"/>
                              </a:lnTo>
                              <a:lnTo>
                                <a:pt x="237" y="138"/>
                              </a:lnTo>
                              <a:lnTo>
                                <a:pt x="248" y="148"/>
                              </a:lnTo>
                              <a:lnTo>
                                <a:pt x="268" y="147"/>
                              </a:lnTo>
                              <a:lnTo>
                                <a:pt x="280" y="124"/>
                              </a:lnTo>
                              <a:lnTo>
                                <a:pt x="276" y="84"/>
                              </a:lnTo>
                              <a:lnTo>
                                <a:pt x="275" y="83"/>
                              </a:lnTo>
                              <a:lnTo>
                                <a:pt x="276" y="83"/>
                              </a:lnTo>
                              <a:lnTo>
                                <a:pt x="307" y="63"/>
                              </a:lnTo>
                              <a:lnTo>
                                <a:pt x="301" y="14"/>
                              </a:lnTo>
                              <a:lnTo>
                                <a:pt x="278" y="14"/>
                              </a:lnTo>
                              <a:lnTo>
                                <a:pt x="261" y="25"/>
                              </a:lnTo>
                              <a:lnTo>
                                <a:pt x="259" y="26"/>
                              </a:lnTo>
                              <a:lnTo>
                                <a:pt x="258" y="25"/>
                              </a:lnTo>
                              <a:lnTo>
                                <a:pt x="239" y="13"/>
                              </a:lnTo>
                              <a:lnTo>
                                <a:pt x="216" y="0"/>
                              </a:lnTo>
                              <a:lnTo>
                                <a:pt x="216" y="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25" name="Freeform 236">
                          <a:extLst>
                            <a:ext uri="{FF2B5EF4-FFF2-40B4-BE49-F238E27FC236}">
                              <a16:creationId xmlns:a16="http://schemas.microsoft.com/office/drawing/2014/main" id="{28FB8013-4E47-441A-8B21-D916357991E1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44818" y="1870439"/>
                          <a:ext cx="329354" cy="325249"/>
                        </a:xfrm>
                        <a:custGeom>
                          <a:avLst/>
                          <a:gdLst>
                            <a:gd name="T0" fmla="*/ 245 w 321"/>
                            <a:gd name="T1" fmla="*/ 306 h 317"/>
                            <a:gd name="T2" fmla="*/ 279 w 321"/>
                            <a:gd name="T3" fmla="*/ 264 h 317"/>
                            <a:gd name="T4" fmla="*/ 321 w 321"/>
                            <a:gd name="T5" fmla="*/ 253 h 317"/>
                            <a:gd name="T6" fmla="*/ 301 w 321"/>
                            <a:gd name="T7" fmla="*/ 208 h 317"/>
                            <a:gd name="T8" fmla="*/ 300 w 321"/>
                            <a:gd name="T9" fmla="*/ 207 h 317"/>
                            <a:gd name="T10" fmla="*/ 290 w 321"/>
                            <a:gd name="T11" fmla="*/ 193 h 317"/>
                            <a:gd name="T12" fmla="*/ 289 w 321"/>
                            <a:gd name="T13" fmla="*/ 168 h 317"/>
                            <a:gd name="T14" fmla="*/ 277 w 321"/>
                            <a:gd name="T15" fmla="*/ 173 h 317"/>
                            <a:gd name="T16" fmla="*/ 263 w 321"/>
                            <a:gd name="T17" fmla="*/ 172 h 317"/>
                            <a:gd name="T18" fmla="*/ 261 w 321"/>
                            <a:gd name="T19" fmla="*/ 170 h 317"/>
                            <a:gd name="T20" fmla="*/ 262 w 321"/>
                            <a:gd name="T21" fmla="*/ 151 h 317"/>
                            <a:gd name="T22" fmla="*/ 277 w 321"/>
                            <a:gd name="T23" fmla="*/ 134 h 317"/>
                            <a:gd name="T24" fmla="*/ 245 w 321"/>
                            <a:gd name="T25" fmla="*/ 80 h 317"/>
                            <a:gd name="T26" fmla="*/ 225 w 321"/>
                            <a:gd name="T27" fmla="*/ 76 h 317"/>
                            <a:gd name="T28" fmla="*/ 212 w 321"/>
                            <a:gd name="T29" fmla="*/ 58 h 317"/>
                            <a:gd name="T30" fmla="*/ 211 w 321"/>
                            <a:gd name="T31" fmla="*/ 58 h 317"/>
                            <a:gd name="T32" fmla="*/ 182 w 321"/>
                            <a:gd name="T33" fmla="*/ 23 h 317"/>
                            <a:gd name="T34" fmla="*/ 181 w 321"/>
                            <a:gd name="T35" fmla="*/ 23 h 317"/>
                            <a:gd name="T36" fmla="*/ 155 w 321"/>
                            <a:gd name="T37" fmla="*/ 4 h 317"/>
                            <a:gd name="T38" fmla="*/ 155 w 321"/>
                            <a:gd name="T39" fmla="*/ 4 h 317"/>
                            <a:gd name="T40" fmla="*/ 123 w 321"/>
                            <a:gd name="T41" fmla="*/ 20 h 317"/>
                            <a:gd name="T42" fmla="*/ 122 w 321"/>
                            <a:gd name="T43" fmla="*/ 21 h 317"/>
                            <a:gd name="T44" fmla="*/ 101 w 321"/>
                            <a:gd name="T45" fmla="*/ 87 h 317"/>
                            <a:gd name="T46" fmla="*/ 100 w 321"/>
                            <a:gd name="T47" fmla="*/ 89 h 317"/>
                            <a:gd name="T48" fmla="*/ 73 w 321"/>
                            <a:gd name="T49" fmla="*/ 148 h 317"/>
                            <a:gd name="T50" fmla="*/ 73 w 321"/>
                            <a:gd name="T51" fmla="*/ 149 h 317"/>
                            <a:gd name="T52" fmla="*/ 60 w 321"/>
                            <a:gd name="T53" fmla="*/ 175 h 317"/>
                            <a:gd name="T54" fmla="*/ 37 w 321"/>
                            <a:gd name="T55" fmla="*/ 176 h 317"/>
                            <a:gd name="T56" fmla="*/ 36 w 321"/>
                            <a:gd name="T57" fmla="*/ 176 h 317"/>
                            <a:gd name="T58" fmla="*/ 0 w 321"/>
                            <a:gd name="T59" fmla="*/ 180 h 317"/>
                            <a:gd name="T60" fmla="*/ 13 w 321"/>
                            <a:gd name="T61" fmla="*/ 200 h 317"/>
                            <a:gd name="T62" fmla="*/ 2 w 321"/>
                            <a:gd name="T63" fmla="*/ 240 h 317"/>
                            <a:gd name="T64" fmla="*/ 70 w 321"/>
                            <a:gd name="T65" fmla="*/ 272 h 317"/>
                            <a:gd name="T66" fmla="*/ 76 w 321"/>
                            <a:gd name="T67" fmla="*/ 257 h 317"/>
                            <a:gd name="T68" fmla="*/ 93 w 321"/>
                            <a:gd name="T69" fmla="*/ 259 h 317"/>
                            <a:gd name="T70" fmla="*/ 95 w 321"/>
                            <a:gd name="T71" fmla="*/ 260 h 317"/>
                            <a:gd name="T72" fmla="*/ 119 w 321"/>
                            <a:gd name="T73" fmla="*/ 287 h 317"/>
                            <a:gd name="T74" fmla="*/ 136 w 321"/>
                            <a:gd name="T75" fmla="*/ 277 h 317"/>
                            <a:gd name="T76" fmla="*/ 195 w 321"/>
                            <a:gd name="T77" fmla="*/ 289 h 317"/>
                            <a:gd name="T78" fmla="*/ 197 w 321"/>
                            <a:gd name="T79" fmla="*/ 290 h 317"/>
                            <a:gd name="T80" fmla="*/ 212 w 321"/>
                            <a:gd name="T81" fmla="*/ 317 h 31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</a:cxnLst>
                          <a:rect l="0" t="0" r="r" b="b"/>
                          <a:pathLst>
                            <a:path w="321" h="317">
                              <a:moveTo>
                                <a:pt x="212" y="317"/>
                              </a:moveTo>
                              <a:lnTo>
                                <a:pt x="245" y="306"/>
                              </a:lnTo>
                              <a:lnTo>
                                <a:pt x="250" y="280"/>
                              </a:lnTo>
                              <a:lnTo>
                                <a:pt x="279" y="264"/>
                              </a:lnTo>
                              <a:lnTo>
                                <a:pt x="309" y="257"/>
                              </a:lnTo>
                              <a:lnTo>
                                <a:pt x="321" y="253"/>
                              </a:lnTo>
                              <a:lnTo>
                                <a:pt x="319" y="211"/>
                              </a:lnTo>
                              <a:lnTo>
                                <a:pt x="301" y="208"/>
                              </a:lnTo>
                              <a:lnTo>
                                <a:pt x="300" y="207"/>
                              </a:lnTo>
                              <a:lnTo>
                                <a:pt x="300" y="207"/>
                              </a:lnTo>
                              <a:lnTo>
                                <a:pt x="291" y="194"/>
                              </a:lnTo>
                              <a:lnTo>
                                <a:pt x="290" y="193"/>
                              </a:lnTo>
                              <a:lnTo>
                                <a:pt x="290" y="193"/>
                              </a:lnTo>
                              <a:lnTo>
                                <a:pt x="289" y="168"/>
                              </a:lnTo>
                              <a:lnTo>
                                <a:pt x="278" y="173"/>
                              </a:lnTo>
                              <a:lnTo>
                                <a:pt x="277" y="173"/>
                              </a:lnTo>
                              <a:lnTo>
                                <a:pt x="277" y="173"/>
                              </a:lnTo>
                              <a:lnTo>
                                <a:pt x="263" y="172"/>
                              </a:lnTo>
                              <a:lnTo>
                                <a:pt x="261" y="172"/>
                              </a:lnTo>
                              <a:lnTo>
                                <a:pt x="261" y="170"/>
                              </a:lnTo>
                              <a:lnTo>
                                <a:pt x="262" y="152"/>
                              </a:lnTo>
                              <a:lnTo>
                                <a:pt x="262" y="151"/>
                              </a:lnTo>
                              <a:lnTo>
                                <a:pt x="263" y="151"/>
                              </a:lnTo>
                              <a:lnTo>
                                <a:pt x="277" y="134"/>
                              </a:lnTo>
                              <a:lnTo>
                                <a:pt x="277" y="112"/>
                              </a:lnTo>
                              <a:lnTo>
                                <a:pt x="245" y="80"/>
                              </a:lnTo>
                              <a:lnTo>
                                <a:pt x="226" y="76"/>
                              </a:lnTo>
                              <a:lnTo>
                                <a:pt x="225" y="76"/>
                              </a:lnTo>
                              <a:lnTo>
                                <a:pt x="225" y="76"/>
                              </a:lnTo>
                              <a:lnTo>
                                <a:pt x="212" y="58"/>
                              </a:lnTo>
                              <a:lnTo>
                                <a:pt x="211" y="58"/>
                              </a:lnTo>
                              <a:lnTo>
                                <a:pt x="211" y="58"/>
                              </a:lnTo>
                              <a:lnTo>
                                <a:pt x="210" y="33"/>
                              </a:lnTo>
                              <a:lnTo>
                                <a:pt x="182" y="23"/>
                              </a:lnTo>
                              <a:lnTo>
                                <a:pt x="182" y="23"/>
                              </a:lnTo>
                              <a:lnTo>
                                <a:pt x="181" y="23"/>
                              </a:lnTo>
                              <a:lnTo>
                                <a:pt x="170" y="0"/>
                              </a:lnTo>
                              <a:lnTo>
                                <a:pt x="155" y="4"/>
                              </a:lnTo>
                              <a:lnTo>
                                <a:pt x="155" y="4"/>
                              </a:lnTo>
                              <a:lnTo>
                                <a:pt x="155" y="4"/>
                              </a:lnTo>
                              <a:lnTo>
                                <a:pt x="126" y="1"/>
                              </a:lnTo>
                              <a:lnTo>
                                <a:pt x="123" y="20"/>
                              </a:lnTo>
                              <a:lnTo>
                                <a:pt x="123" y="21"/>
                              </a:lnTo>
                              <a:lnTo>
                                <a:pt x="122" y="21"/>
                              </a:lnTo>
                              <a:lnTo>
                                <a:pt x="95" y="38"/>
                              </a:lnTo>
                              <a:lnTo>
                                <a:pt x="101" y="87"/>
                              </a:lnTo>
                              <a:lnTo>
                                <a:pt x="101" y="88"/>
                              </a:lnTo>
                              <a:lnTo>
                                <a:pt x="100" y="89"/>
                              </a:lnTo>
                              <a:lnTo>
                                <a:pt x="69" y="109"/>
                              </a:lnTo>
                              <a:lnTo>
                                <a:pt x="73" y="148"/>
                              </a:lnTo>
                              <a:lnTo>
                                <a:pt x="73" y="148"/>
                              </a:lnTo>
                              <a:lnTo>
                                <a:pt x="73" y="149"/>
                              </a:lnTo>
                              <a:lnTo>
                                <a:pt x="61" y="174"/>
                              </a:lnTo>
                              <a:lnTo>
                                <a:pt x="60" y="175"/>
                              </a:lnTo>
                              <a:lnTo>
                                <a:pt x="59" y="175"/>
                              </a:lnTo>
                              <a:lnTo>
                                <a:pt x="37" y="176"/>
                              </a:lnTo>
                              <a:lnTo>
                                <a:pt x="37" y="176"/>
                              </a:lnTo>
                              <a:lnTo>
                                <a:pt x="36" y="176"/>
                              </a:lnTo>
                              <a:lnTo>
                                <a:pt x="26" y="166"/>
                              </a:lnTo>
                              <a:lnTo>
                                <a:pt x="0" y="180"/>
                              </a:lnTo>
                              <a:lnTo>
                                <a:pt x="13" y="199"/>
                              </a:lnTo>
                              <a:lnTo>
                                <a:pt x="13" y="200"/>
                              </a:lnTo>
                              <a:lnTo>
                                <a:pt x="13" y="200"/>
                              </a:lnTo>
                              <a:lnTo>
                                <a:pt x="2" y="240"/>
                              </a:lnTo>
                              <a:lnTo>
                                <a:pt x="22" y="267"/>
                              </a:lnTo>
                              <a:lnTo>
                                <a:pt x="70" y="272"/>
                              </a:lnTo>
                              <a:lnTo>
                                <a:pt x="75" y="259"/>
                              </a:lnTo>
                              <a:lnTo>
                                <a:pt x="76" y="257"/>
                              </a:lnTo>
                              <a:lnTo>
                                <a:pt x="77" y="257"/>
                              </a:lnTo>
                              <a:lnTo>
                                <a:pt x="93" y="259"/>
                              </a:lnTo>
                              <a:lnTo>
                                <a:pt x="95" y="259"/>
                              </a:lnTo>
                              <a:lnTo>
                                <a:pt x="95" y="260"/>
                              </a:lnTo>
                              <a:lnTo>
                                <a:pt x="100" y="285"/>
                              </a:lnTo>
                              <a:lnTo>
                                <a:pt x="119" y="287"/>
                              </a:lnTo>
                              <a:lnTo>
                                <a:pt x="136" y="277"/>
                              </a:lnTo>
                              <a:lnTo>
                                <a:pt x="136" y="277"/>
                              </a:lnTo>
                              <a:lnTo>
                                <a:pt x="137" y="277"/>
                              </a:lnTo>
                              <a:lnTo>
                                <a:pt x="195" y="289"/>
                              </a:lnTo>
                              <a:lnTo>
                                <a:pt x="196" y="289"/>
                              </a:lnTo>
                              <a:lnTo>
                                <a:pt x="197" y="290"/>
                              </a:lnTo>
                              <a:lnTo>
                                <a:pt x="212" y="317"/>
                              </a:lnTo>
                              <a:lnTo>
                                <a:pt x="212" y="317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26" name="Freeform 237">
                          <a:extLst>
                            <a:ext uri="{FF2B5EF4-FFF2-40B4-BE49-F238E27FC236}">
                              <a16:creationId xmlns:a16="http://schemas.microsoft.com/office/drawing/2014/main" id="{F2A84341-1D18-483C-AF16-3B83E5112747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94067" y="2157726"/>
                          <a:ext cx="168268" cy="281130"/>
                        </a:xfrm>
                        <a:custGeom>
                          <a:avLst/>
                          <a:gdLst>
                            <a:gd name="T0" fmla="*/ 20 w 164"/>
                            <a:gd name="T1" fmla="*/ 263 h 274"/>
                            <a:gd name="T2" fmla="*/ 51 w 164"/>
                            <a:gd name="T3" fmla="*/ 274 h 274"/>
                            <a:gd name="T4" fmla="*/ 134 w 164"/>
                            <a:gd name="T5" fmla="*/ 272 h 274"/>
                            <a:gd name="T6" fmla="*/ 127 w 164"/>
                            <a:gd name="T7" fmla="*/ 239 h 274"/>
                            <a:gd name="T8" fmla="*/ 148 w 164"/>
                            <a:gd name="T9" fmla="*/ 235 h 274"/>
                            <a:gd name="T10" fmla="*/ 164 w 164"/>
                            <a:gd name="T11" fmla="*/ 147 h 274"/>
                            <a:gd name="T12" fmla="*/ 150 w 164"/>
                            <a:gd name="T13" fmla="*/ 128 h 274"/>
                            <a:gd name="T14" fmla="*/ 129 w 164"/>
                            <a:gd name="T15" fmla="*/ 123 h 274"/>
                            <a:gd name="T16" fmla="*/ 132 w 164"/>
                            <a:gd name="T17" fmla="*/ 106 h 274"/>
                            <a:gd name="T18" fmla="*/ 158 w 164"/>
                            <a:gd name="T19" fmla="*/ 82 h 274"/>
                            <a:gd name="T20" fmla="*/ 135 w 164"/>
                            <a:gd name="T21" fmla="*/ 50 h 274"/>
                            <a:gd name="T22" fmla="*/ 146 w 164"/>
                            <a:gd name="T23" fmla="*/ 45 h 274"/>
                            <a:gd name="T24" fmla="*/ 161 w 164"/>
                            <a:gd name="T25" fmla="*/ 38 h 274"/>
                            <a:gd name="T26" fmla="*/ 146 w 164"/>
                            <a:gd name="T27" fmla="*/ 12 h 274"/>
                            <a:gd name="T28" fmla="*/ 89 w 164"/>
                            <a:gd name="T29" fmla="*/ 0 h 274"/>
                            <a:gd name="T30" fmla="*/ 73 w 164"/>
                            <a:gd name="T31" fmla="*/ 10 h 274"/>
                            <a:gd name="T32" fmla="*/ 84 w 164"/>
                            <a:gd name="T33" fmla="*/ 38 h 274"/>
                            <a:gd name="T34" fmla="*/ 84 w 164"/>
                            <a:gd name="T35" fmla="*/ 38 h 274"/>
                            <a:gd name="T36" fmla="*/ 84 w 164"/>
                            <a:gd name="T37" fmla="*/ 38 h 274"/>
                            <a:gd name="T38" fmla="*/ 73 w 164"/>
                            <a:gd name="T39" fmla="*/ 90 h 274"/>
                            <a:gd name="T40" fmla="*/ 87 w 164"/>
                            <a:gd name="T41" fmla="*/ 114 h 274"/>
                            <a:gd name="T42" fmla="*/ 87 w 164"/>
                            <a:gd name="T43" fmla="*/ 115 h 274"/>
                            <a:gd name="T44" fmla="*/ 87 w 164"/>
                            <a:gd name="T45" fmla="*/ 116 h 274"/>
                            <a:gd name="T46" fmla="*/ 73 w 164"/>
                            <a:gd name="T47" fmla="*/ 155 h 274"/>
                            <a:gd name="T48" fmla="*/ 78 w 164"/>
                            <a:gd name="T49" fmla="*/ 179 h 274"/>
                            <a:gd name="T50" fmla="*/ 79 w 164"/>
                            <a:gd name="T51" fmla="*/ 181 h 274"/>
                            <a:gd name="T52" fmla="*/ 77 w 164"/>
                            <a:gd name="T53" fmla="*/ 181 h 274"/>
                            <a:gd name="T54" fmla="*/ 53 w 164"/>
                            <a:gd name="T55" fmla="*/ 178 h 274"/>
                            <a:gd name="T56" fmla="*/ 40 w 164"/>
                            <a:gd name="T57" fmla="*/ 184 h 274"/>
                            <a:gd name="T58" fmla="*/ 39 w 164"/>
                            <a:gd name="T59" fmla="*/ 185 h 274"/>
                            <a:gd name="T60" fmla="*/ 38 w 164"/>
                            <a:gd name="T61" fmla="*/ 183 h 274"/>
                            <a:gd name="T62" fmla="*/ 29 w 164"/>
                            <a:gd name="T63" fmla="*/ 170 h 274"/>
                            <a:gd name="T64" fmla="*/ 21 w 164"/>
                            <a:gd name="T65" fmla="*/ 180 h 274"/>
                            <a:gd name="T66" fmla="*/ 34 w 164"/>
                            <a:gd name="T67" fmla="*/ 210 h 274"/>
                            <a:gd name="T68" fmla="*/ 34 w 164"/>
                            <a:gd name="T69" fmla="*/ 211 h 274"/>
                            <a:gd name="T70" fmla="*/ 33 w 164"/>
                            <a:gd name="T71" fmla="*/ 212 h 274"/>
                            <a:gd name="T72" fmla="*/ 16 w 164"/>
                            <a:gd name="T73" fmla="*/ 226 h 274"/>
                            <a:gd name="T74" fmla="*/ 16 w 164"/>
                            <a:gd name="T75" fmla="*/ 226 h 274"/>
                            <a:gd name="T76" fmla="*/ 15 w 164"/>
                            <a:gd name="T77" fmla="*/ 226 h 274"/>
                            <a:gd name="T78" fmla="*/ 0 w 164"/>
                            <a:gd name="T79" fmla="*/ 235 h 274"/>
                            <a:gd name="T80" fmla="*/ 20 w 164"/>
                            <a:gd name="T81" fmla="*/ 263 h 274"/>
                            <a:gd name="T82" fmla="*/ 20 w 164"/>
                            <a:gd name="T83" fmla="*/ 263 h 27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</a:cxnLst>
                          <a:rect l="0" t="0" r="r" b="b"/>
                          <a:pathLst>
                            <a:path w="164" h="274">
                              <a:moveTo>
                                <a:pt x="20" y="263"/>
                              </a:moveTo>
                              <a:lnTo>
                                <a:pt x="51" y="274"/>
                              </a:lnTo>
                              <a:lnTo>
                                <a:pt x="134" y="272"/>
                              </a:lnTo>
                              <a:lnTo>
                                <a:pt x="127" y="239"/>
                              </a:lnTo>
                              <a:lnTo>
                                <a:pt x="148" y="235"/>
                              </a:lnTo>
                              <a:lnTo>
                                <a:pt x="164" y="147"/>
                              </a:lnTo>
                              <a:lnTo>
                                <a:pt x="150" y="128"/>
                              </a:lnTo>
                              <a:lnTo>
                                <a:pt x="129" y="123"/>
                              </a:lnTo>
                              <a:lnTo>
                                <a:pt x="132" y="106"/>
                              </a:lnTo>
                              <a:lnTo>
                                <a:pt x="158" y="82"/>
                              </a:lnTo>
                              <a:lnTo>
                                <a:pt x="135" y="50"/>
                              </a:lnTo>
                              <a:lnTo>
                                <a:pt x="146" y="45"/>
                              </a:lnTo>
                              <a:lnTo>
                                <a:pt x="161" y="38"/>
                              </a:lnTo>
                              <a:lnTo>
                                <a:pt x="146" y="12"/>
                              </a:lnTo>
                              <a:lnTo>
                                <a:pt x="89" y="0"/>
                              </a:lnTo>
                              <a:lnTo>
                                <a:pt x="73" y="10"/>
                              </a:lnTo>
                              <a:lnTo>
                                <a:pt x="84" y="38"/>
                              </a:lnTo>
                              <a:lnTo>
                                <a:pt x="84" y="38"/>
                              </a:lnTo>
                              <a:lnTo>
                                <a:pt x="84" y="38"/>
                              </a:lnTo>
                              <a:lnTo>
                                <a:pt x="73" y="90"/>
                              </a:lnTo>
                              <a:lnTo>
                                <a:pt x="87" y="114"/>
                              </a:lnTo>
                              <a:lnTo>
                                <a:pt x="87" y="115"/>
                              </a:lnTo>
                              <a:lnTo>
                                <a:pt x="87" y="116"/>
                              </a:lnTo>
                              <a:lnTo>
                                <a:pt x="73" y="155"/>
                              </a:lnTo>
                              <a:lnTo>
                                <a:pt x="78" y="179"/>
                              </a:lnTo>
                              <a:lnTo>
                                <a:pt x="79" y="181"/>
                              </a:lnTo>
                              <a:lnTo>
                                <a:pt x="77" y="181"/>
                              </a:lnTo>
                              <a:lnTo>
                                <a:pt x="53" y="178"/>
                              </a:lnTo>
                              <a:lnTo>
                                <a:pt x="40" y="184"/>
                              </a:lnTo>
                              <a:lnTo>
                                <a:pt x="39" y="185"/>
                              </a:lnTo>
                              <a:lnTo>
                                <a:pt x="38" y="183"/>
                              </a:lnTo>
                              <a:lnTo>
                                <a:pt x="29" y="170"/>
                              </a:lnTo>
                              <a:lnTo>
                                <a:pt x="21" y="180"/>
                              </a:lnTo>
                              <a:lnTo>
                                <a:pt x="34" y="210"/>
                              </a:lnTo>
                              <a:lnTo>
                                <a:pt x="34" y="211"/>
                              </a:lnTo>
                              <a:lnTo>
                                <a:pt x="33" y="212"/>
                              </a:lnTo>
                              <a:lnTo>
                                <a:pt x="16" y="226"/>
                              </a:lnTo>
                              <a:lnTo>
                                <a:pt x="16" y="226"/>
                              </a:lnTo>
                              <a:lnTo>
                                <a:pt x="15" y="226"/>
                              </a:lnTo>
                              <a:lnTo>
                                <a:pt x="0" y="235"/>
                              </a:lnTo>
                              <a:lnTo>
                                <a:pt x="20" y="263"/>
                              </a:lnTo>
                              <a:lnTo>
                                <a:pt x="20" y="263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27" name="Freeform 238">
                          <a:extLst>
                            <a:ext uri="{FF2B5EF4-FFF2-40B4-BE49-F238E27FC236}">
                              <a16:creationId xmlns:a16="http://schemas.microsoft.com/office/drawing/2014/main" id="{E721F1A1-7D22-48F9-92CF-C4A1F00DB120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00149" y="2138231"/>
                          <a:ext cx="279078" cy="302677"/>
                        </a:xfrm>
                        <a:custGeom>
                          <a:avLst/>
                          <a:gdLst>
                            <a:gd name="T0" fmla="*/ 175 w 272"/>
                            <a:gd name="T1" fmla="*/ 295 h 295"/>
                            <a:gd name="T2" fmla="*/ 185 w 272"/>
                            <a:gd name="T3" fmla="*/ 254 h 295"/>
                            <a:gd name="T4" fmla="*/ 186 w 272"/>
                            <a:gd name="T5" fmla="*/ 251 h 295"/>
                            <a:gd name="T6" fmla="*/ 219 w 272"/>
                            <a:gd name="T7" fmla="*/ 229 h 295"/>
                            <a:gd name="T8" fmla="*/ 206 w 272"/>
                            <a:gd name="T9" fmla="*/ 198 h 295"/>
                            <a:gd name="T10" fmla="*/ 217 w 272"/>
                            <a:gd name="T11" fmla="*/ 185 h 295"/>
                            <a:gd name="T12" fmla="*/ 219 w 272"/>
                            <a:gd name="T13" fmla="*/ 185 h 295"/>
                            <a:gd name="T14" fmla="*/ 241 w 272"/>
                            <a:gd name="T15" fmla="*/ 194 h 295"/>
                            <a:gd name="T16" fmla="*/ 242 w 272"/>
                            <a:gd name="T17" fmla="*/ 194 h 295"/>
                            <a:gd name="T18" fmla="*/ 258 w 272"/>
                            <a:gd name="T19" fmla="*/ 174 h 295"/>
                            <a:gd name="T20" fmla="*/ 259 w 272"/>
                            <a:gd name="T21" fmla="*/ 173 h 295"/>
                            <a:gd name="T22" fmla="*/ 259 w 272"/>
                            <a:gd name="T23" fmla="*/ 110 h 295"/>
                            <a:gd name="T24" fmla="*/ 258 w 272"/>
                            <a:gd name="T25" fmla="*/ 109 h 295"/>
                            <a:gd name="T26" fmla="*/ 259 w 272"/>
                            <a:gd name="T27" fmla="*/ 30 h 295"/>
                            <a:gd name="T28" fmla="*/ 238 w 272"/>
                            <a:gd name="T29" fmla="*/ 27 h 295"/>
                            <a:gd name="T30" fmla="*/ 233 w 272"/>
                            <a:gd name="T31" fmla="*/ 1 h 295"/>
                            <a:gd name="T32" fmla="*/ 214 w 272"/>
                            <a:gd name="T33" fmla="*/ 14 h 295"/>
                            <a:gd name="T34" fmla="*/ 212 w 272"/>
                            <a:gd name="T35" fmla="*/ 15 h 295"/>
                            <a:gd name="T36" fmla="*/ 165 w 272"/>
                            <a:gd name="T37" fmla="*/ 25 h 295"/>
                            <a:gd name="T38" fmla="*/ 188 w 272"/>
                            <a:gd name="T39" fmla="*/ 28 h 295"/>
                            <a:gd name="T40" fmla="*/ 189 w 272"/>
                            <a:gd name="T41" fmla="*/ 45 h 295"/>
                            <a:gd name="T42" fmla="*/ 189 w 272"/>
                            <a:gd name="T43" fmla="*/ 46 h 295"/>
                            <a:gd name="T44" fmla="*/ 164 w 272"/>
                            <a:gd name="T45" fmla="*/ 74 h 295"/>
                            <a:gd name="T46" fmla="*/ 124 w 272"/>
                            <a:gd name="T47" fmla="*/ 74 h 295"/>
                            <a:gd name="T48" fmla="*/ 116 w 272"/>
                            <a:gd name="T49" fmla="*/ 89 h 295"/>
                            <a:gd name="T50" fmla="*/ 89 w 272"/>
                            <a:gd name="T51" fmla="*/ 92 h 295"/>
                            <a:gd name="T52" fmla="*/ 87 w 272"/>
                            <a:gd name="T53" fmla="*/ 91 h 295"/>
                            <a:gd name="T54" fmla="*/ 76 w 272"/>
                            <a:gd name="T55" fmla="*/ 72 h 295"/>
                            <a:gd name="T56" fmla="*/ 76 w 272"/>
                            <a:gd name="T57" fmla="*/ 48 h 295"/>
                            <a:gd name="T58" fmla="*/ 55 w 272"/>
                            <a:gd name="T59" fmla="*/ 39 h 295"/>
                            <a:gd name="T60" fmla="*/ 55 w 272"/>
                            <a:gd name="T61" fmla="*/ 13 h 295"/>
                            <a:gd name="T62" fmla="*/ 34 w 272"/>
                            <a:gd name="T63" fmla="*/ 20 h 295"/>
                            <a:gd name="T64" fmla="*/ 32 w 272"/>
                            <a:gd name="T65" fmla="*/ 20 h 295"/>
                            <a:gd name="T66" fmla="*/ 0 w 272"/>
                            <a:gd name="T67" fmla="*/ 26 h 295"/>
                            <a:gd name="T68" fmla="*/ 27 w 272"/>
                            <a:gd name="T69" fmla="*/ 40 h 295"/>
                            <a:gd name="T70" fmla="*/ 29 w 272"/>
                            <a:gd name="T71" fmla="*/ 41 h 295"/>
                            <a:gd name="T72" fmla="*/ 56 w 272"/>
                            <a:gd name="T73" fmla="*/ 59 h 295"/>
                            <a:gd name="T74" fmla="*/ 58 w 272"/>
                            <a:gd name="T75" fmla="*/ 61 h 295"/>
                            <a:gd name="T76" fmla="*/ 85 w 272"/>
                            <a:gd name="T77" fmla="*/ 115 h 295"/>
                            <a:gd name="T78" fmla="*/ 85 w 272"/>
                            <a:gd name="T79" fmla="*/ 117 h 295"/>
                            <a:gd name="T80" fmla="*/ 100 w 272"/>
                            <a:gd name="T81" fmla="*/ 185 h 295"/>
                            <a:gd name="T82" fmla="*/ 100 w 272"/>
                            <a:gd name="T83" fmla="*/ 185 h 295"/>
                            <a:gd name="T84" fmla="*/ 107 w 272"/>
                            <a:gd name="T85" fmla="*/ 215 h 295"/>
                            <a:gd name="T86" fmla="*/ 106 w 272"/>
                            <a:gd name="T87" fmla="*/ 244 h 295"/>
                            <a:gd name="T88" fmla="*/ 137 w 272"/>
                            <a:gd name="T89" fmla="*/ 275 h 295"/>
                            <a:gd name="T90" fmla="*/ 144 w 272"/>
                            <a:gd name="T91" fmla="*/ 294 h 29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</a:cxnLst>
                          <a:rect l="0" t="0" r="r" b="b"/>
                          <a:pathLst>
                            <a:path w="272" h="295">
                              <a:moveTo>
                                <a:pt x="144" y="294"/>
                              </a:moveTo>
                              <a:lnTo>
                                <a:pt x="175" y="295"/>
                              </a:lnTo>
                              <a:lnTo>
                                <a:pt x="204" y="281"/>
                              </a:lnTo>
                              <a:lnTo>
                                <a:pt x="185" y="254"/>
                              </a:lnTo>
                              <a:lnTo>
                                <a:pt x="184" y="252"/>
                              </a:lnTo>
                              <a:lnTo>
                                <a:pt x="186" y="251"/>
                              </a:lnTo>
                              <a:lnTo>
                                <a:pt x="203" y="242"/>
                              </a:lnTo>
                              <a:lnTo>
                                <a:pt x="219" y="229"/>
                              </a:lnTo>
                              <a:lnTo>
                                <a:pt x="206" y="199"/>
                              </a:lnTo>
                              <a:lnTo>
                                <a:pt x="206" y="198"/>
                              </a:lnTo>
                              <a:lnTo>
                                <a:pt x="206" y="197"/>
                              </a:lnTo>
                              <a:lnTo>
                                <a:pt x="217" y="185"/>
                              </a:lnTo>
                              <a:lnTo>
                                <a:pt x="218" y="183"/>
                              </a:lnTo>
                              <a:lnTo>
                                <a:pt x="219" y="185"/>
                              </a:lnTo>
                              <a:lnTo>
                                <a:pt x="229" y="199"/>
                              </a:lnTo>
                              <a:lnTo>
                                <a:pt x="241" y="194"/>
                              </a:lnTo>
                              <a:lnTo>
                                <a:pt x="241" y="194"/>
                              </a:lnTo>
                              <a:lnTo>
                                <a:pt x="242" y="194"/>
                              </a:lnTo>
                              <a:lnTo>
                                <a:pt x="263" y="196"/>
                              </a:lnTo>
                              <a:lnTo>
                                <a:pt x="258" y="174"/>
                              </a:lnTo>
                              <a:lnTo>
                                <a:pt x="258" y="174"/>
                              </a:lnTo>
                              <a:lnTo>
                                <a:pt x="259" y="173"/>
                              </a:lnTo>
                              <a:lnTo>
                                <a:pt x="272" y="134"/>
                              </a:lnTo>
                              <a:lnTo>
                                <a:pt x="259" y="110"/>
                              </a:lnTo>
                              <a:lnTo>
                                <a:pt x="258" y="110"/>
                              </a:lnTo>
                              <a:lnTo>
                                <a:pt x="258" y="109"/>
                              </a:lnTo>
                              <a:lnTo>
                                <a:pt x="269" y="57"/>
                              </a:lnTo>
                              <a:lnTo>
                                <a:pt x="259" y="30"/>
                              </a:lnTo>
                              <a:lnTo>
                                <a:pt x="240" y="28"/>
                              </a:lnTo>
                              <a:lnTo>
                                <a:pt x="238" y="27"/>
                              </a:lnTo>
                              <a:lnTo>
                                <a:pt x="238" y="26"/>
                              </a:lnTo>
                              <a:lnTo>
                                <a:pt x="233" y="1"/>
                              </a:lnTo>
                              <a:lnTo>
                                <a:pt x="219" y="0"/>
                              </a:lnTo>
                              <a:lnTo>
                                <a:pt x="214" y="14"/>
                              </a:lnTo>
                              <a:lnTo>
                                <a:pt x="213" y="15"/>
                              </a:lnTo>
                              <a:lnTo>
                                <a:pt x="212" y="15"/>
                              </a:lnTo>
                              <a:lnTo>
                                <a:pt x="163" y="10"/>
                              </a:lnTo>
                              <a:lnTo>
                                <a:pt x="165" y="25"/>
                              </a:lnTo>
                              <a:lnTo>
                                <a:pt x="187" y="28"/>
                              </a:lnTo>
                              <a:lnTo>
                                <a:pt x="188" y="28"/>
                              </a:lnTo>
                              <a:lnTo>
                                <a:pt x="188" y="29"/>
                              </a:lnTo>
                              <a:lnTo>
                                <a:pt x="189" y="45"/>
                              </a:lnTo>
                              <a:lnTo>
                                <a:pt x="189" y="45"/>
                              </a:lnTo>
                              <a:lnTo>
                                <a:pt x="189" y="46"/>
                              </a:lnTo>
                              <a:lnTo>
                                <a:pt x="164" y="73"/>
                              </a:lnTo>
                              <a:lnTo>
                                <a:pt x="164" y="74"/>
                              </a:lnTo>
                              <a:lnTo>
                                <a:pt x="163" y="74"/>
                              </a:lnTo>
                              <a:lnTo>
                                <a:pt x="124" y="74"/>
                              </a:lnTo>
                              <a:lnTo>
                                <a:pt x="117" y="88"/>
                              </a:lnTo>
                              <a:lnTo>
                                <a:pt x="116" y="89"/>
                              </a:lnTo>
                              <a:lnTo>
                                <a:pt x="115" y="89"/>
                              </a:lnTo>
                              <a:lnTo>
                                <a:pt x="89" y="92"/>
                              </a:lnTo>
                              <a:lnTo>
                                <a:pt x="88" y="92"/>
                              </a:lnTo>
                              <a:lnTo>
                                <a:pt x="87" y="91"/>
                              </a:lnTo>
                              <a:lnTo>
                                <a:pt x="76" y="73"/>
                              </a:lnTo>
                              <a:lnTo>
                                <a:pt x="76" y="72"/>
                              </a:lnTo>
                              <a:lnTo>
                                <a:pt x="76" y="72"/>
                              </a:lnTo>
                              <a:lnTo>
                                <a:pt x="76" y="48"/>
                              </a:lnTo>
                              <a:lnTo>
                                <a:pt x="57" y="39"/>
                              </a:lnTo>
                              <a:lnTo>
                                <a:pt x="55" y="39"/>
                              </a:lnTo>
                              <a:lnTo>
                                <a:pt x="55" y="38"/>
                              </a:lnTo>
                              <a:lnTo>
                                <a:pt x="55" y="13"/>
                              </a:lnTo>
                              <a:lnTo>
                                <a:pt x="42" y="7"/>
                              </a:lnTo>
                              <a:lnTo>
                                <a:pt x="34" y="20"/>
                              </a:lnTo>
                              <a:lnTo>
                                <a:pt x="34" y="21"/>
                              </a:lnTo>
                              <a:lnTo>
                                <a:pt x="32" y="20"/>
                              </a:lnTo>
                              <a:lnTo>
                                <a:pt x="11" y="13"/>
                              </a:lnTo>
                              <a:lnTo>
                                <a:pt x="0" y="26"/>
                              </a:lnTo>
                              <a:lnTo>
                                <a:pt x="13" y="43"/>
                              </a:lnTo>
                              <a:lnTo>
                                <a:pt x="27" y="40"/>
                              </a:lnTo>
                              <a:lnTo>
                                <a:pt x="28" y="40"/>
                              </a:lnTo>
                              <a:lnTo>
                                <a:pt x="29" y="41"/>
                              </a:lnTo>
                              <a:lnTo>
                                <a:pt x="38" y="54"/>
                              </a:lnTo>
                              <a:lnTo>
                                <a:pt x="56" y="59"/>
                              </a:lnTo>
                              <a:lnTo>
                                <a:pt x="57" y="60"/>
                              </a:lnTo>
                              <a:lnTo>
                                <a:pt x="58" y="61"/>
                              </a:lnTo>
                              <a:lnTo>
                                <a:pt x="66" y="82"/>
                              </a:lnTo>
                              <a:lnTo>
                                <a:pt x="85" y="115"/>
                              </a:lnTo>
                              <a:lnTo>
                                <a:pt x="85" y="116"/>
                              </a:lnTo>
                              <a:lnTo>
                                <a:pt x="85" y="117"/>
                              </a:lnTo>
                              <a:lnTo>
                                <a:pt x="80" y="149"/>
                              </a:lnTo>
                              <a:lnTo>
                                <a:pt x="100" y="185"/>
                              </a:lnTo>
                              <a:lnTo>
                                <a:pt x="100" y="185"/>
                              </a:lnTo>
                              <a:lnTo>
                                <a:pt x="100" y="185"/>
                              </a:lnTo>
                              <a:lnTo>
                                <a:pt x="107" y="215"/>
                              </a:lnTo>
                              <a:lnTo>
                                <a:pt x="107" y="215"/>
                              </a:lnTo>
                              <a:lnTo>
                                <a:pt x="107" y="215"/>
                              </a:lnTo>
                              <a:lnTo>
                                <a:pt x="106" y="244"/>
                              </a:lnTo>
                              <a:lnTo>
                                <a:pt x="137" y="275"/>
                              </a:lnTo>
                              <a:lnTo>
                                <a:pt x="137" y="275"/>
                              </a:lnTo>
                              <a:lnTo>
                                <a:pt x="137" y="276"/>
                              </a:lnTo>
                              <a:lnTo>
                                <a:pt x="144" y="294"/>
                              </a:lnTo>
                              <a:lnTo>
                                <a:pt x="144" y="294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28" name="Freeform 239">
                          <a:extLst>
                            <a:ext uri="{FF2B5EF4-FFF2-40B4-BE49-F238E27FC236}">
                              <a16:creationId xmlns:a16="http://schemas.microsoft.com/office/drawing/2014/main" id="{C6800040-974E-4F78-A587-CD7DE6C015EF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41666" y="2391659"/>
                          <a:ext cx="203152" cy="330379"/>
                        </a:xfrm>
                        <a:custGeom>
                          <a:avLst/>
                          <a:gdLst>
                            <a:gd name="T0" fmla="*/ 10 w 198"/>
                            <a:gd name="T1" fmla="*/ 150 h 322"/>
                            <a:gd name="T2" fmla="*/ 0 w 198"/>
                            <a:gd name="T3" fmla="*/ 160 h 322"/>
                            <a:gd name="T4" fmla="*/ 2 w 198"/>
                            <a:gd name="T5" fmla="*/ 190 h 322"/>
                            <a:gd name="T6" fmla="*/ 29 w 198"/>
                            <a:gd name="T7" fmla="*/ 229 h 322"/>
                            <a:gd name="T8" fmla="*/ 28 w 198"/>
                            <a:gd name="T9" fmla="*/ 271 h 322"/>
                            <a:gd name="T10" fmla="*/ 23 w 198"/>
                            <a:gd name="T11" fmla="*/ 291 h 322"/>
                            <a:gd name="T12" fmla="*/ 48 w 198"/>
                            <a:gd name="T13" fmla="*/ 322 h 322"/>
                            <a:gd name="T14" fmla="*/ 59 w 198"/>
                            <a:gd name="T15" fmla="*/ 317 h 322"/>
                            <a:gd name="T16" fmla="*/ 66 w 198"/>
                            <a:gd name="T17" fmla="*/ 305 h 322"/>
                            <a:gd name="T18" fmla="*/ 81 w 198"/>
                            <a:gd name="T19" fmla="*/ 313 h 322"/>
                            <a:gd name="T20" fmla="*/ 97 w 198"/>
                            <a:gd name="T21" fmla="*/ 317 h 322"/>
                            <a:gd name="T22" fmla="*/ 116 w 198"/>
                            <a:gd name="T23" fmla="*/ 306 h 322"/>
                            <a:gd name="T24" fmla="*/ 116 w 198"/>
                            <a:gd name="T25" fmla="*/ 253 h 322"/>
                            <a:gd name="T26" fmla="*/ 128 w 198"/>
                            <a:gd name="T27" fmla="*/ 179 h 322"/>
                            <a:gd name="T28" fmla="*/ 176 w 198"/>
                            <a:gd name="T29" fmla="*/ 134 h 322"/>
                            <a:gd name="T30" fmla="*/ 180 w 198"/>
                            <a:gd name="T31" fmla="*/ 86 h 322"/>
                            <a:gd name="T32" fmla="*/ 175 w 198"/>
                            <a:gd name="T33" fmla="*/ 66 h 322"/>
                            <a:gd name="T34" fmla="*/ 198 w 198"/>
                            <a:gd name="T35" fmla="*/ 48 h 322"/>
                            <a:gd name="T36" fmla="*/ 191 w 198"/>
                            <a:gd name="T37" fmla="*/ 31 h 322"/>
                            <a:gd name="T38" fmla="*/ 161 w 198"/>
                            <a:gd name="T39" fmla="*/ 0 h 322"/>
                            <a:gd name="T40" fmla="*/ 150 w 198"/>
                            <a:gd name="T41" fmla="*/ 9 h 322"/>
                            <a:gd name="T42" fmla="*/ 149 w 198"/>
                            <a:gd name="T43" fmla="*/ 9 h 322"/>
                            <a:gd name="T44" fmla="*/ 149 w 198"/>
                            <a:gd name="T45" fmla="*/ 9 h 322"/>
                            <a:gd name="T46" fmla="*/ 117 w 198"/>
                            <a:gd name="T47" fmla="*/ 8 h 322"/>
                            <a:gd name="T48" fmla="*/ 99 w 198"/>
                            <a:gd name="T49" fmla="*/ 22 h 322"/>
                            <a:gd name="T50" fmla="*/ 105 w 198"/>
                            <a:gd name="T51" fmla="*/ 34 h 322"/>
                            <a:gd name="T52" fmla="*/ 106 w 198"/>
                            <a:gd name="T53" fmla="*/ 36 h 322"/>
                            <a:gd name="T54" fmla="*/ 104 w 198"/>
                            <a:gd name="T55" fmla="*/ 37 h 322"/>
                            <a:gd name="T56" fmla="*/ 89 w 198"/>
                            <a:gd name="T57" fmla="*/ 46 h 322"/>
                            <a:gd name="T58" fmla="*/ 108 w 198"/>
                            <a:gd name="T59" fmla="*/ 75 h 322"/>
                            <a:gd name="T60" fmla="*/ 130 w 198"/>
                            <a:gd name="T61" fmla="*/ 78 h 322"/>
                            <a:gd name="T62" fmla="*/ 131 w 198"/>
                            <a:gd name="T63" fmla="*/ 79 h 322"/>
                            <a:gd name="T64" fmla="*/ 131 w 198"/>
                            <a:gd name="T65" fmla="*/ 80 h 322"/>
                            <a:gd name="T66" fmla="*/ 138 w 198"/>
                            <a:gd name="T67" fmla="*/ 106 h 322"/>
                            <a:gd name="T68" fmla="*/ 138 w 198"/>
                            <a:gd name="T69" fmla="*/ 107 h 322"/>
                            <a:gd name="T70" fmla="*/ 137 w 198"/>
                            <a:gd name="T71" fmla="*/ 108 h 322"/>
                            <a:gd name="T72" fmla="*/ 121 w 198"/>
                            <a:gd name="T73" fmla="*/ 115 h 322"/>
                            <a:gd name="T74" fmla="*/ 120 w 198"/>
                            <a:gd name="T75" fmla="*/ 115 h 322"/>
                            <a:gd name="T76" fmla="*/ 120 w 198"/>
                            <a:gd name="T77" fmla="*/ 115 h 322"/>
                            <a:gd name="T78" fmla="*/ 103 w 198"/>
                            <a:gd name="T79" fmla="*/ 114 h 322"/>
                            <a:gd name="T80" fmla="*/ 82 w 198"/>
                            <a:gd name="T81" fmla="*/ 155 h 322"/>
                            <a:gd name="T82" fmla="*/ 81 w 198"/>
                            <a:gd name="T83" fmla="*/ 157 h 322"/>
                            <a:gd name="T84" fmla="*/ 79 w 198"/>
                            <a:gd name="T85" fmla="*/ 156 h 322"/>
                            <a:gd name="T86" fmla="*/ 63 w 198"/>
                            <a:gd name="T87" fmla="*/ 142 h 322"/>
                            <a:gd name="T88" fmla="*/ 53 w 198"/>
                            <a:gd name="T89" fmla="*/ 153 h 322"/>
                            <a:gd name="T90" fmla="*/ 52 w 198"/>
                            <a:gd name="T91" fmla="*/ 154 h 322"/>
                            <a:gd name="T92" fmla="*/ 51 w 198"/>
                            <a:gd name="T93" fmla="*/ 154 h 322"/>
                            <a:gd name="T94" fmla="*/ 10 w 198"/>
                            <a:gd name="T95" fmla="*/ 150 h 322"/>
                            <a:gd name="T96" fmla="*/ 10 w 198"/>
                            <a:gd name="T97" fmla="*/ 150 h 32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</a:cxnLst>
                          <a:rect l="0" t="0" r="r" b="b"/>
                          <a:pathLst>
                            <a:path w="198" h="322">
                              <a:moveTo>
                                <a:pt x="10" y="150"/>
                              </a:moveTo>
                              <a:lnTo>
                                <a:pt x="0" y="160"/>
                              </a:lnTo>
                              <a:lnTo>
                                <a:pt x="2" y="190"/>
                              </a:lnTo>
                              <a:lnTo>
                                <a:pt x="29" y="229"/>
                              </a:lnTo>
                              <a:lnTo>
                                <a:pt x="28" y="271"/>
                              </a:lnTo>
                              <a:lnTo>
                                <a:pt x="23" y="291"/>
                              </a:lnTo>
                              <a:lnTo>
                                <a:pt x="48" y="322"/>
                              </a:lnTo>
                              <a:lnTo>
                                <a:pt x="59" y="317"/>
                              </a:lnTo>
                              <a:lnTo>
                                <a:pt x="66" y="305"/>
                              </a:lnTo>
                              <a:lnTo>
                                <a:pt x="81" y="313"/>
                              </a:lnTo>
                              <a:lnTo>
                                <a:pt x="97" y="317"/>
                              </a:lnTo>
                              <a:lnTo>
                                <a:pt x="116" y="306"/>
                              </a:lnTo>
                              <a:lnTo>
                                <a:pt x="116" y="253"/>
                              </a:lnTo>
                              <a:lnTo>
                                <a:pt x="128" y="179"/>
                              </a:lnTo>
                              <a:lnTo>
                                <a:pt x="176" y="134"/>
                              </a:lnTo>
                              <a:lnTo>
                                <a:pt x="180" y="86"/>
                              </a:lnTo>
                              <a:lnTo>
                                <a:pt x="175" y="66"/>
                              </a:lnTo>
                              <a:lnTo>
                                <a:pt x="198" y="48"/>
                              </a:lnTo>
                              <a:lnTo>
                                <a:pt x="191" y="31"/>
                              </a:lnTo>
                              <a:lnTo>
                                <a:pt x="161" y="0"/>
                              </a:lnTo>
                              <a:lnTo>
                                <a:pt x="150" y="9"/>
                              </a:lnTo>
                              <a:lnTo>
                                <a:pt x="149" y="9"/>
                              </a:lnTo>
                              <a:lnTo>
                                <a:pt x="149" y="9"/>
                              </a:lnTo>
                              <a:lnTo>
                                <a:pt x="117" y="8"/>
                              </a:lnTo>
                              <a:lnTo>
                                <a:pt x="99" y="22"/>
                              </a:lnTo>
                              <a:lnTo>
                                <a:pt x="105" y="34"/>
                              </a:lnTo>
                              <a:lnTo>
                                <a:pt x="106" y="36"/>
                              </a:lnTo>
                              <a:lnTo>
                                <a:pt x="104" y="37"/>
                              </a:lnTo>
                              <a:lnTo>
                                <a:pt x="89" y="46"/>
                              </a:lnTo>
                              <a:lnTo>
                                <a:pt x="108" y="75"/>
                              </a:lnTo>
                              <a:lnTo>
                                <a:pt x="130" y="78"/>
                              </a:lnTo>
                              <a:lnTo>
                                <a:pt x="131" y="79"/>
                              </a:lnTo>
                              <a:lnTo>
                                <a:pt x="131" y="80"/>
                              </a:lnTo>
                              <a:lnTo>
                                <a:pt x="138" y="106"/>
                              </a:lnTo>
                              <a:lnTo>
                                <a:pt x="138" y="107"/>
                              </a:lnTo>
                              <a:lnTo>
                                <a:pt x="137" y="108"/>
                              </a:lnTo>
                              <a:lnTo>
                                <a:pt x="121" y="115"/>
                              </a:lnTo>
                              <a:lnTo>
                                <a:pt x="120" y="115"/>
                              </a:lnTo>
                              <a:lnTo>
                                <a:pt x="120" y="115"/>
                              </a:lnTo>
                              <a:lnTo>
                                <a:pt x="103" y="114"/>
                              </a:lnTo>
                              <a:lnTo>
                                <a:pt x="82" y="155"/>
                              </a:lnTo>
                              <a:lnTo>
                                <a:pt x="81" y="157"/>
                              </a:lnTo>
                              <a:lnTo>
                                <a:pt x="79" y="156"/>
                              </a:lnTo>
                              <a:lnTo>
                                <a:pt x="63" y="142"/>
                              </a:lnTo>
                              <a:lnTo>
                                <a:pt x="53" y="153"/>
                              </a:lnTo>
                              <a:lnTo>
                                <a:pt x="52" y="154"/>
                              </a:lnTo>
                              <a:lnTo>
                                <a:pt x="51" y="154"/>
                              </a:lnTo>
                              <a:lnTo>
                                <a:pt x="10" y="150"/>
                              </a:lnTo>
                              <a:lnTo>
                                <a:pt x="10" y="15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29" name="Freeform 240">
                          <a:extLst>
                            <a:ext uri="{FF2B5EF4-FFF2-40B4-BE49-F238E27FC236}">
                              <a16:creationId xmlns:a16="http://schemas.microsoft.com/office/drawing/2014/main" id="{C6605D42-A504-4887-8694-8D77BCE5C336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43718" y="2428596"/>
                          <a:ext cx="135435" cy="117993"/>
                        </a:xfrm>
                        <a:custGeom>
                          <a:avLst/>
                          <a:gdLst>
                            <a:gd name="T0" fmla="*/ 0 w 132"/>
                            <a:gd name="T1" fmla="*/ 77 h 115"/>
                            <a:gd name="T2" fmla="*/ 7 w 132"/>
                            <a:gd name="T3" fmla="*/ 96 h 115"/>
                            <a:gd name="T4" fmla="*/ 10 w 132"/>
                            <a:gd name="T5" fmla="*/ 110 h 115"/>
                            <a:gd name="T6" fmla="*/ 49 w 132"/>
                            <a:gd name="T7" fmla="*/ 114 h 115"/>
                            <a:gd name="T8" fmla="*/ 59 w 132"/>
                            <a:gd name="T9" fmla="*/ 102 h 115"/>
                            <a:gd name="T10" fmla="*/ 60 w 132"/>
                            <a:gd name="T11" fmla="*/ 101 h 115"/>
                            <a:gd name="T12" fmla="*/ 61 w 132"/>
                            <a:gd name="T13" fmla="*/ 102 h 115"/>
                            <a:gd name="T14" fmla="*/ 77 w 132"/>
                            <a:gd name="T15" fmla="*/ 115 h 115"/>
                            <a:gd name="T16" fmla="*/ 98 w 132"/>
                            <a:gd name="T17" fmla="*/ 75 h 115"/>
                            <a:gd name="T18" fmla="*/ 99 w 132"/>
                            <a:gd name="T19" fmla="*/ 74 h 115"/>
                            <a:gd name="T20" fmla="*/ 100 w 132"/>
                            <a:gd name="T21" fmla="*/ 74 h 115"/>
                            <a:gd name="T22" fmla="*/ 118 w 132"/>
                            <a:gd name="T23" fmla="*/ 75 h 115"/>
                            <a:gd name="T24" fmla="*/ 132 w 132"/>
                            <a:gd name="T25" fmla="*/ 69 h 115"/>
                            <a:gd name="T26" fmla="*/ 126 w 132"/>
                            <a:gd name="T27" fmla="*/ 46 h 115"/>
                            <a:gd name="T28" fmla="*/ 105 w 132"/>
                            <a:gd name="T29" fmla="*/ 42 h 115"/>
                            <a:gd name="T30" fmla="*/ 105 w 132"/>
                            <a:gd name="T31" fmla="*/ 42 h 115"/>
                            <a:gd name="T32" fmla="*/ 104 w 132"/>
                            <a:gd name="T33" fmla="*/ 41 h 115"/>
                            <a:gd name="T34" fmla="*/ 75 w 132"/>
                            <a:gd name="T35" fmla="*/ 1 h 115"/>
                            <a:gd name="T36" fmla="*/ 54 w 132"/>
                            <a:gd name="T37" fmla="*/ 0 h 115"/>
                            <a:gd name="T38" fmla="*/ 43 w 132"/>
                            <a:gd name="T39" fmla="*/ 4 h 115"/>
                            <a:gd name="T40" fmla="*/ 55 w 132"/>
                            <a:gd name="T41" fmla="*/ 49 h 115"/>
                            <a:gd name="T42" fmla="*/ 56 w 132"/>
                            <a:gd name="T43" fmla="*/ 51 h 115"/>
                            <a:gd name="T44" fmla="*/ 54 w 132"/>
                            <a:gd name="T45" fmla="*/ 51 h 115"/>
                            <a:gd name="T46" fmla="*/ 0 w 132"/>
                            <a:gd name="T47" fmla="*/ 77 h 115"/>
                            <a:gd name="T48" fmla="*/ 0 w 132"/>
                            <a:gd name="T49" fmla="*/ 77 h 11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</a:cxnLst>
                          <a:rect l="0" t="0" r="r" b="b"/>
                          <a:pathLst>
                            <a:path w="132" h="115">
                              <a:moveTo>
                                <a:pt x="0" y="77"/>
                              </a:moveTo>
                              <a:lnTo>
                                <a:pt x="7" y="96"/>
                              </a:lnTo>
                              <a:lnTo>
                                <a:pt x="10" y="110"/>
                              </a:lnTo>
                              <a:lnTo>
                                <a:pt x="49" y="114"/>
                              </a:lnTo>
                              <a:lnTo>
                                <a:pt x="59" y="102"/>
                              </a:lnTo>
                              <a:lnTo>
                                <a:pt x="60" y="101"/>
                              </a:lnTo>
                              <a:lnTo>
                                <a:pt x="61" y="102"/>
                              </a:lnTo>
                              <a:lnTo>
                                <a:pt x="77" y="115"/>
                              </a:lnTo>
                              <a:lnTo>
                                <a:pt x="98" y="75"/>
                              </a:lnTo>
                              <a:lnTo>
                                <a:pt x="99" y="74"/>
                              </a:lnTo>
                              <a:lnTo>
                                <a:pt x="100" y="74"/>
                              </a:lnTo>
                              <a:lnTo>
                                <a:pt x="118" y="75"/>
                              </a:lnTo>
                              <a:lnTo>
                                <a:pt x="132" y="69"/>
                              </a:lnTo>
                              <a:lnTo>
                                <a:pt x="126" y="46"/>
                              </a:lnTo>
                              <a:lnTo>
                                <a:pt x="105" y="42"/>
                              </a:lnTo>
                              <a:lnTo>
                                <a:pt x="105" y="42"/>
                              </a:lnTo>
                              <a:lnTo>
                                <a:pt x="104" y="41"/>
                              </a:lnTo>
                              <a:lnTo>
                                <a:pt x="75" y="1"/>
                              </a:lnTo>
                              <a:lnTo>
                                <a:pt x="54" y="0"/>
                              </a:lnTo>
                              <a:lnTo>
                                <a:pt x="43" y="4"/>
                              </a:lnTo>
                              <a:lnTo>
                                <a:pt x="55" y="49"/>
                              </a:lnTo>
                              <a:lnTo>
                                <a:pt x="56" y="51"/>
                              </a:lnTo>
                              <a:lnTo>
                                <a:pt x="54" y="51"/>
                              </a:lnTo>
                              <a:lnTo>
                                <a:pt x="0" y="77"/>
                              </a:lnTo>
                              <a:lnTo>
                                <a:pt x="0" y="77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30" name="Freeform 241">
                          <a:extLst>
                            <a:ext uri="{FF2B5EF4-FFF2-40B4-BE49-F238E27FC236}">
                              <a16:creationId xmlns:a16="http://schemas.microsoft.com/office/drawing/2014/main" id="{ACC157DA-C4B5-46CE-AE89-DA0C9D02421F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30379" y="2434752"/>
                          <a:ext cx="65665" cy="69770"/>
                        </a:xfrm>
                        <a:custGeom>
                          <a:avLst/>
                          <a:gdLst>
                            <a:gd name="T0" fmla="*/ 0 w 64"/>
                            <a:gd name="T1" fmla="*/ 52 h 68"/>
                            <a:gd name="T2" fmla="*/ 0 w 64"/>
                            <a:gd name="T3" fmla="*/ 60 h 68"/>
                            <a:gd name="T4" fmla="*/ 10 w 64"/>
                            <a:gd name="T5" fmla="*/ 68 h 68"/>
                            <a:gd name="T6" fmla="*/ 64 w 64"/>
                            <a:gd name="T7" fmla="*/ 43 h 68"/>
                            <a:gd name="T8" fmla="*/ 53 w 64"/>
                            <a:gd name="T9" fmla="*/ 0 h 68"/>
                            <a:gd name="T10" fmla="*/ 43 w 64"/>
                            <a:gd name="T11" fmla="*/ 4 h 68"/>
                            <a:gd name="T12" fmla="*/ 34 w 64"/>
                            <a:gd name="T13" fmla="*/ 33 h 68"/>
                            <a:gd name="T14" fmla="*/ 34 w 64"/>
                            <a:gd name="T15" fmla="*/ 34 h 68"/>
                            <a:gd name="T16" fmla="*/ 33 w 64"/>
                            <a:gd name="T17" fmla="*/ 34 h 68"/>
                            <a:gd name="T18" fmla="*/ 19 w 64"/>
                            <a:gd name="T19" fmla="*/ 45 h 68"/>
                            <a:gd name="T20" fmla="*/ 19 w 64"/>
                            <a:gd name="T21" fmla="*/ 45 h 68"/>
                            <a:gd name="T22" fmla="*/ 19 w 64"/>
                            <a:gd name="T23" fmla="*/ 45 h 68"/>
                            <a:gd name="T24" fmla="*/ 0 w 64"/>
                            <a:gd name="T25" fmla="*/ 52 h 68"/>
                            <a:gd name="T26" fmla="*/ 0 w 64"/>
                            <a:gd name="T27" fmla="*/ 52 h 6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</a:cxnLst>
                          <a:rect l="0" t="0" r="r" b="b"/>
                          <a:pathLst>
                            <a:path w="64" h="68">
                              <a:moveTo>
                                <a:pt x="0" y="52"/>
                              </a:moveTo>
                              <a:lnTo>
                                <a:pt x="0" y="60"/>
                              </a:lnTo>
                              <a:lnTo>
                                <a:pt x="10" y="68"/>
                              </a:lnTo>
                              <a:lnTo>
                                <a:pt x="64" y="43"/>
                              </a:lnTo>
                              <a:lnTo>
                                <a:pt x="53" y="0"/>
                              </a:lnTo>
                              <a:lnTo>
                                <a:pt x="43" y="4"/>
                              </a:lnTo>
                              <a:lnTo>
                                <a:pt x="34" y="33"/>
                              </a:lnTo>
                              <a:lnTo>
                                <a:pt x="34" y="34"/>
                              </a:lnTo>
                              <a:lnTo>
                                <a:pt x="33" y="34"/>
                              </a:lnTo>
                              <a:lnTo>
                                <a:pt x="19" y="45"/>
                              </a:lnTo>
                              <a:lnTo>
                                <a:pt x="19" y="45"/>
                              </a:lnTo>
                              <a:lnTo>
                                <a:pt x="19" y="45"/>
                              </a:lnTo>
                              <a:lnTo>
                                <a:pt x="0" y="52"/>
                              </a:lnTo>
                              <a:lnTo>
                                <a:pt x="0" y="52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31" name="Freeform 242">
                          <a:extLst>
                            <a:ext uri="{FF2B5EF4-FFF2-40B4-BE49-F238E27FC236}">
                              <a16:creationId xmlns:a16="http://schemas.microsoft.com/office/drawing/2014/main" id="{DCD74084-8D70-46F4-97E3-97EE6BB57C34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87286" y="2411153"/>
                          <a:ext cx="107733" cy="72848"/>
                        </a:xfrm>
                        <a:custGeom>
                          <a:avLst/>
                          <a:gdLst>
                            <a:gd name="T0" fmla="*/ 0 w 105"/>
                            <a:gd name="T1" fmla="*/ 13 h 71"/>
                            <a:gd name="T2" fmla="*/ 2 w 105"/>
                            <a:gd name="T3" fmla="*/ 47 h 71"/>
                            <a:gd name="T4" fmla="*/ 41 w 105"/>
                            <a:gd name="T5" fmla="*/ 65 h 71"/>
                            <a:gd name="T6" fmla="*/ 42 w 105"/>
                            <a:gd name="T7" fmla="*/ 71 h 71"/>
                            <a:gd name="T8" fmla="*/ 60 w 105"/>
                            <a:gd name="T9" fmla="*/ 65 h 71"/>
                            <a:gd name="T10" fmla="*/ 72 w 105"/>
                            <a:gd name="T11" fmla="*/ 55 h 71"/>
                            <a:gd name="T12" fmla="*/ 82 w 105"/>
                            <a:gd name="T13" fmla="*/ 25 h 71"/>
                            <a:gd name="T14" fmla="*/ 82 w 105"/>
                            <a:gd name="T15" fmla="*/ 24 h 71"/>
                            <a:gd name="T16" fmla="*/ 83 w 105"/>
                            <a:gd name="T17" fmla="*/ 24 h 71"/>
                            <a:gd name="T18" fmla="*/ 105 w 105"/>
                            <a:gd name="T19" fmla="*/ 14 h 71"/>
                            <a:gd name="T20" fmla="*/ 88 w 105"/>
                            <a:gd name="T21" fmla="*/ 0 h 71"/>
                            <a:gd name="T22" fmla="*/ 81 w 105"/>
                            <a:gd name="T23" fmla="*/ 12 h 71"/>
                            <a:gd name="T24" fmla="*/ 81 w 105"/>
                            <a:gd name="T25" fmla="*/ 13 h 71"/>
                            <a:gd name="T26" fmla="*/ 79 w 105"/>
                            <a:gd name="T27" fmla="*/ 12 h 71"/>
                            <a:gd name="T28" fmla="*/ 34 w 105"/>
                            <a:gd name="T29" fmla="*/ 2 h 71"/>
                            <a:gd name="T30" fmla="*/ 1 w 105"/>
                            <a:gd name="T31" fmla="*/ 12 h 71"/>
                            <a:gd name="T32" fmla="*/ 0 w 105"/>
                            <a:gd name="T33" fmla="*/ 13 h 71"/>
                            <a:gd name="T34" fmla="*/ 0 w 105"/>
                            <a:gd name="T35" fmla="*/ 13 h 71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</a:cxnLst>
                          <a:rect l="0" t="0" r="r" b="b"/>
                          <a:pathLst>
                            <a:path w="105" h="71">
                              <a:moveTo>
                                <a:pt x="0" y="13"/>
                              </a:moveTo>
                              <a:lnTo>
                                <a:pt x="2" y="47"/>
                              </a:lnTo>
                              <a:lnTo>
                                <a:pt x="41" y="65"/>
                              </a:lnTo>
                              <a:lnTo>
                                <a:pt x="42" y="71"/>
                              </a:lnTo>
                              <a:lnTo>
                                <a:pt x="60" y="65"/>
                              </a:lnTo>
                              <a:lnTo>
                                <a:pt x="72" y="55"/>
                              </a:lnTo>
                              <a:lnTo>
                                <a:pt x="82" y="25"/>
                              </a:lnTo>
                              <a:lnTo>
                                <a:pt x="82" y="24"/>
                              </a:lnTo>
                              <a:lnTo>
                                <a:pt x="83" y="24"/>
                              </a:lnTo>
                              <a:lnTo>
                                <a:pt x="105" y="14"/>
                              </a:lnTo>
                              <a:lnTo>
                                <a:pt x="88" y="0"/>
                              </a:lnTo>
                              <a:lnTo>
                                <a:pt x="81" y="12"/>
                              </a:lnTo>
                              <a:lnTo>
                                <a:pt x="81" y="13"/>
                              </a:lnTo>
                              <a:lnTo>
                                <a:pt x="79" y="12"/>
                              </a:lnTo>
                              <a:lnTo>
                                <a:pt x="34" y="2"/>
                              </a:lnTo>
                              <a:lnTo>
                                <a:pt x="1" y="12"/>
                              </a:lnTo>
                              <a:lnTo>
                                <a:pt x="0" y="13"/>
                              </a:lnTo>
                              <a:lnTo>
                                <a:pt x="0" y="13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32" name="Freeform 243">
                          <a:extLst>
                            <a:ext uri="{FF2B5EF4-FFF2-40B4-BE49-F238E27FC236}">
                              <a16:creationId xmlns:a16="http://schemas.microsoft.com/office/drawing/2014/main" id="{9017AC2C-56B3-46EF-8503-9A87B0EDF0A7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57532" y="2335228"/>
                          <a:ext cx="125175" cy="85160"/>
                        </a:xfrm>
                        <a:custGeom>
                          <a:avLst/>
                          <a:gdLst>
                            <a:gd name="T0" fmla="*/ 0 w 122"/>
                            <a:gd name="T1" fmla="*/ 18 h 83"/>
                            <a:gd name="T2" fmla="*/ 21 w 122"/>
                            <a:gd name="T3" fmla="*/ 42 h 83"/>
                            <a:gd name="T4" fmla="*/ 21 w 122"/>
                            <a:gd name="T5" fmla="*/ 73 h 83"/>
                            <a:gd name="T6" fmla="*/ 28 w 122"/>
                            <a:gd name="T7" fmla="*/ 83 h 83"/>
                            <a:gd name="T8" fmla="*/ 28 w 122"/>
                            <a:gd name="T9" fmla="*/ 83 h 83"/>
                            <a:gd name="T10" fmla="*/ 28 w 122"/>
                            <a:gd name="T11" fmla="*/ 83 h 83"/>
                            <a:gd name="T12" fmla="*/ 63 w 122"/>
                            <a:gd name="T13" fmla="*/ 72 h 83"/>
                            <a:gd name="T14" fmla="*/ 63 w 122"/>
                            <a:gd name="T15" fmla="*/ 72 h 83"/>
                            <a:gd name="T16" fmla="*/ 64 w 122"/>
                            <a:gd name="T17" fmla="*/ 72 h 83"/>
                            <a:gd name="T18" fmla="*/ 108 w 122"/>
                            <a:gd name="T19" fmla="*/ 82 h 83"/>
                            <a:gd name="T20" fmla="*/ 122 w 122"/>
                            <a:gd name="T21" fmla="*/ 58 h 83"/>
                            <a:gd name="T22" fmla="*/ 115 w 122"/>
                            <a:gd name="T23" fmla="*/ 38 h 83"/>
                            <a:gd name="T24" fmla="*/ 95 w 122"/>
                            <a:gd name="T25" fmla="*/ 38 h 83"/>
                            <a:gd name="T26" fmla="*/ 94 w 122"/>
                            <a:gd name="T27" fmla="*/ 38 h 83"/>
                            <a:gd name="T28" fmla="*/ 94 w 122"/>
                            <a:gd name="T29" fmla="*/ 38 h 83"/>
                            <a:gd name="T30" fmla="*/ 53 w 122"/>
                            <a:gd name="T31" fmla="*/ 1 h 83"/>
                            <a:gd name="T32" fmla="*/ 24 w 122"/>
                            <a:gd name="T33" fmla="*/ 0 h 83"/>
                            <a:gd name="T34" fmla="*/ 0 w 122"/>
                            <a:gd name="T35" fmla="*/ 18 h 83"/>
                            <a:gd name="T36" fmla="*/ 0 w 122"/>
                            <a:gd name="T37" fmla="*/ 18 h 8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</a:cxnLst>
                          <a:rect l="0" t="0" r="r" b="b"/>
                          <a:pathLst>
                            <a:path w="122" h="83">
                              <a:moveTo>
                                <a:pt x="0" y="18"/>
                              </a:moveTo>
                              <a:lnTo>
                                <a:pt x="21" y="42"/>
                              </a:lnTo>
                              <a:lnTo>
                                <a:pt x="21" y="73"/>
                              </a:lnTo>
                              <a:lnTo>
                                <a:pt x="28" y="83"/>
                              </a:lnTo>
                              <a:lnTo>
                                <a:pt x="28" y="83"/>
                              </a:lnTo>
                              <a:lnTo>
                                <a:pt x="28" y="83"/>
                              </a:lnTo>
                              <a:lnTo>
                                <a:pt x="63" y="72"/>
                              </a:lnTo>
                              <a:lnTo>
                                <a:pt x="63" y="72"/>
                              </a:lnTo>
                              <a:lnTo>
                                <a:pt x="64" y="72"/>
                              </a:lnTo>
                              <a:lnTo>
                                <a:pt x="108" y="82"/>
                              </a:lnTo>
                              <a:lnTo>
                                <a:pt x="122" y="58"/>
                              </a:lnTo>
                              <a:lnTo>
                                <a:pt x="115" y="38"/>
                              </a:lnTo>
                              <a:lnTo>
                                <a:pt x="95" y="38"/>
                              </a:lnTo>
                              <a:lnTo>
                                <a:pt x="94" y="38"/>
                              </a:lnTo>
                              <a:lnTo>
                                <a:pt x="94" y="38"/>
                              </a:lnTo>
                              <a:lnTo>
                                <a:pt x="53" y="1"/>
                              </a:lnTo>
                              <a:lnTo>
                                <a:pt x="24" y="0"/>
                              </a:lnTo>
                              <a:lnTo>
                                <a:pt x="0" y="18"/>
                              </a:lnTo>
                              <a:lnTo>
                                <a:pt x="0" y="18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33" name="Freeform 244">
                          <a:extLst>
                            <a:ext uri="{FF2B5EF4-FFF2-40B4-BE49-F238E27FC236}">
                              <a16:creationId xmlns:a16="http://schemas.microsoft.com/office/drawing/2014/main" id="{D9FCC594-97D3-4EAE-B5B8-20CD17F15377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05205" y="2241859"/>
                          <a:ext cx="120045" cy="109785"/>
                        </a:xfrm>
                        <a:custGeom>
                          <a:avLst/>
                          <a:gdLst>
                            <a:gd name="T0" fmla="*/ 0 w 117"/>
                            <a:gd name="T1" fmla="*/ 15 h 107"/>
                            <a:gd name="T2" fmla="*/ 24 w 117"/>
                            <a:gd name="T3" fmla="*/ 55 h 107"/>
                            <a:gd name="T4" fmla="*/ 24 w 117"/>
                            <a:gd name="T5" fmla="*/ 80 h 107"/>
                            <a:gd name="T6" fmla="*/ 48 w 117"/>
                            <a:gd name="T7" fmla="*/ 107 h 107"/>
                            <a:gd name="T8" fmla="*/ 73 w 117"/>
                            <a:gd name="T9" fmla="*/ 88 h 107"/>
                            <a:gd name="T10" fmla="*/ 74 w 117"/>
                            <a:gd name="T11" fmla="*/ 87 h 107"/>
                            <a:gd name="T12" fmla="*/ 75 w 117"/>
                            <a:gd name="T13" fmla="*/ 87 h 107"/>
                            <a:gd name="T14" fmla="*/ 103 w 117"/>
                            <a:gd name="T15" fmla="*/ 89 h 107"/>
                            <a:gd name="T16" fmla="*/ 102 w 117"/>
                            <a:gd name="T17" fmla="*/ 59 h 107"/>
                            <a:gd name="T18" fmla="*/ 102 w 117"/>
                            <a:gd name="T19" fmla="*/ 58 h 107"/>
                            <a:gd name="T20" fmla="*/ 102 w 117"/>
                            <a:gd name="T21" fmla="*/ 57 h 107"/>
                            <a:gd name="T22" fmla="*/ 117 w 117"/>
                            <a:gd name="T23" fmla="*/ 47 h 107"/>
                            <a:gd name="T24" fmla="*/ 96 w 117"/>
                            <a:gd name="T25" fmla="*/ 7 h 107"/>
                            <a:gd name="T26" fmla="*/ 88 w 117"/>
                            <a:gd name="T27" fmla="*/ 21 h 107"/>
                            <a:gd name="T28" fmla="*/ 88 w 117"/>
                            <a:gd name="T29" fmla="*/ 22 h 107"/>
                            <a:gd name="T30" fmla="*/ 87 w 117"/>
                            <a:gd name="T31" fmla="*/ 22 h 107"/>
                            <a:gd name="T32" fmla="*/ 61 w 117"/>
                            <a:gd name="T33" fmla="*/ 20 h 107"/>
                            <a:gd name="T34" fmla="*/ 60 w 117"/>
                            <a:gd name="T35" fmla="*/ 20 h 107"/>
                            <a:gd name="T36" fmla="*/ 59 w 117"/>
                            <a:gd name="T37" fmla="*/ 19 h 107"/>
                            <a:gd name="T38" fmla="*/ 45 w 117"/>
                            <a:gd name="T39" fmla="*/ 0 h 107"/>
                            <a:gd name="T40" fmla="*/ 0 w 117"/>
                            <a:gd name="T41" fmla="*/ 15 h 107"/>
                            <a:gd name="T42" fmla="*/ 0 w 117"/>
                            <a:gd name="T43" fmla="*/ 15 h 10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</a:cxnLst>
                          <a:rect l="0" t="0" r="r" b="b"/>
                          <a:pathLst>
                            <a:path w="117" h="107">
                              <a:moveTo>
                                <a:pt x="0" y="15"/>
                              </a:moveTo>
                              <a:lnTo>
                                <a:pt x="24" y="55"/>
                              </a:lnTo>
                              <a:lnTo>
                                <a:pt x="24" y="80"/>
                              </a:lnTo>
                              <a:lnTo>
                                <a:pt x="48" y="107"/>
                              </a:lnTo>
                              <a:lnTo>
                                <a:pt x="73" y="88"/>
                              </a:lnTo>
                              <a:lnTo>
                                <a:pt x="74" y="87"/>
                              </a:lnTo>
                              <a:lnTo>
                                <a:pt x="75" y="87"/>
                              </a:lnTo>
                              <a:lnTo>
                                <a:pt x="103" y="89"/>
                              </a:lnTo>
                              <a:lnTo>
                                <a:pt x="102" y="59"/>
                              </a:lnTo>
                              <a:lnTo>
                                <a:pt x="102" y="58"/>
                              </a:lnTo>
                              <a:lnTo>
                                <a:pt x="102" y="57"/>
                              </a:lnTo>
                              <a:lnTo>
                                <a:pt x="117" y="47"/>
                              </a:lnTo>
                              <a:lnTo>
                                <a:pt x="96" y="7"/>
                              </a:lnTo>
                              <a:lnTo>
                                <a:pt x="88" y="21"/>
                              </a:lnTo>
                              <a:lnTo>
                                <a:pt x="88" y="22"/>
                              </a:lnTo>
                              <a:lnTo>
                                <a:pt x="87" y="22"/>
                              </a:lnTo>
                              <a:lnTo>
                                <a:pt x="61" y="20"/>
                              </a:lnTo>
                              <a:lnTo>
                                <a:pt x="60" y="20"/>
                              </a:lnTo>
                              <a:lnTo>
                                <a:pt x="59" y="19"/>
                              </a:lnTo>
                              <a:lnTo>
                                <a:pt x="45" y="0"/>
                              </a:lnTo>
                              <a:lnTo>
                                <a:pt x="0" y="15"/>
                              </a:lnTo>
                              <a:lnTo>
                                <a:pt x="0" y="15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34" name="Freeform 245">
                          <a:extLst>
                            <a:ext uri="{FF2B5EF4-FFF2-40B4-BE49-F238E27FC236}">
                              <a16:creationId xmlns:a16="http://schemas.microsoft.com/office/drawing/2014/main" id="{17FC72ED-55C2-48BE-A099-B1729974E34A}"/>
                            </a:ext>
                          </a:extLst>
                        </p:cNvPr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148774" y="1959704"/>
                          <a:ext cx="237012" cy="301651"/>
                        </a:xfrm>
                        <a:custGeom>
                          <a:avLst/>
                          <a:gdLst>
                            <a:gd name="T0" fmla="*/ 98 w 509"/>
                            <a:gd name="T1" fmla="*/ 494 h 647"/>
                            <a:gd name="T2" fmla="*/ 102 w 509"/>
                            <a:gd name="T3" fmla="*/ 486 h 647"/>
                            <a:gd name="T4" fmla="*/ 159 w 509"/>
                            <a:gd name="T5" fmla="*/ 449 h 647"/>
                            <a:gd name="T6" fmla="*/ 158 w 509"/>
                            <a:gd name="T7" fmla="*/ 445 h 647"/>
                            <a:gd name="T8" fmla="*/ 162 w 509"/>
                            <a:gd name="T9" fmla="*/ 442 h 647"/>
                            <a:gd name="T10" fmla="*/ 183 w 509"/>
                            <a:gd name="T11" fmla="*/ 374 h 647"/>
                            <a:gd name="T12" fmla="*/ 182 w 509"/>
                            <a:gd name="T13" fmla="*/ 373 h 647"/>
                            <a:gd name="T14" fmla="*/ 133 w 509"/>
                            <a:gd name="T15" fmla="*/ 315 h 647"/>
                            <a:gd name="T16" fmla="*/ 131 w 509"/>
                            <a:gd name="T17" fmla="*/ 312 h 647"/>
                            <a:gd name="T18" fmla="*/ 137 w 509"/>
                            <a:gd name="T19" fmla="*/ 263 h 647"/>
                            <a:gd name="T20" fmla="*/ 139 w 509"/>
                            <a:gd name="T21" fmla="*/ 253 h 647"/>
                            <a:gd name="T22" fmla="*/ 190 w 509"/>
                            <a:gd name="T23" fmla="*/ 272 h 647"/>
                            <a:gd name="T24" fmla="*/ 193 w 509"/>
                            <a:gd name="T25" fmla="*/ 273 h 647"/>
                            <a:gd name="T26" fmla="*/ 195 w 509"/>
                            <a:gd name="T27" fmla="*/ 275 h 647"/>
                            <a:gd name="T28" fmla="*/ 275 w 509"/>
                            <a:gd name="T29" fmla="*/ 329 h 647"/>
                            <a:gd name="T30" fmla="*/ 283 w 509"/>
                            <a:gd name="T31" fmla="*/ 333 h 647"/>
                            <a:gd name="T32" fmla="*/ 320 w 509"/>
                            <a:gd name="T33" fmla="*/ 412 h 647"/>
                            <a:gd name="T34" fmla="*/ 323 w 509"/>
                            <a:gd name="T35" fmla="*/ 417 h 647"/>
                            <a:gd name="T36" fmla="*/ 320 w 509"/>
                            <a:gd name="T37" fmla="*/ 487 h 647"/>
                            <a:gd name="T38" fmla="*/ 318 w 509"/>
                            <a:gd name="T39" fmla="*/ 490 h 647"/>
                            <a:gd name="T40" fmla="*/ 258 w 509"/>
                            <a:gd name="T41" fmla="*/ 569 h 647"/>
                            <a:gd name="T42" fmla="*/ 248 w 509"/>
                            <a:gd name="T43" fmla="*/ 494 h 647"/>
                            <a:gd name="T44" fmla="*/ 169 w 509"/>
                            <a:gd name="T45" fmla="*/ 582 h 647"/>
                            <a:gd name="T46" fmla="*/ 106 w 509"/>
                            <a:gd name="T47" fmla="*/ 553 h 647"/>
                            <a:gd name="T48" fmla="*/ 101 w 509"/>
                            <a:gd name="T49" fmla="*/ 548 h 647"/>
                            <a:gd name="T50" fmla="*/ 24 w 509"/>
                            <a:gd name="T51" fmla="*/ 143 h 647"/>
                            <a:gd name="T52" fmla="*/ 46 w 509"/>
                            <a:gd name="T53" fmla="*/ 230 h 647"/>
                            <a:gd name="T54" fmla="*/ 56 w 509"/>
                            <a:gd name="T55" fmla="*/ 452 h 647"/>
                            <a:gd name="T56" fmla="*/ 93 w 509"/>
                            <a:gd name="T57" fmla="*/ 593 h 647"/>
                            <a:gd name="T58" fmla="*/ 223 w 509"/>
                            <a:gd name="T59" fmla="*/ 595 h 647"/>
                            <a:gd name="T60" fmla="*/ 309 w 509"/>
                            <a:gd name="T61" fmla="*/ 647 h 647"/>
                            <a:gd name="T62" fmla="*/ 349 w 509"/>
                            <a:gd name="T63" fmla="*/ 569 h 647"/>
                            <a:gd name="T64" fmla="*/ 373 w 509"/>
                            <a:gd name="T65" fmla="*/ 527 h 647"/>
                            <a:gd name="T66" fmla="*/ 372 w 509"/>
                            <a:gd name="T67" fmla="*/ 461 h 647"/>
                            <a:gd name="T68" fmla="*/ 401 w 509"/>
                            <a:gd name="T69" fmla="*/ 426 h 647"/>
                            <a:gd name="T70" fmla="*/ 407 w 509"/>
                            <a:gd name="T71" fmla="*/ 397 h 647"/>
                            <a:gd name="T72" fmla="*/ 445 w 509"/>
                            <a:gd name="T73" fmla="*/ 383 h 647"/>
                            <a:gd name="T74" fmla="*/ 498 w 509"/>
                            <a:gd name="T75" fmla="*/ 349 h 647"/>
                            <a:gd name="T76" fmla="*/ 509 w 509"/>
                            <a:gd name="T77" fmla="*/ 325 h 647"/>
                            <a:gd name="T78" fmla="*/ 459 w 509"/>
                            <a:gd name="T79" fmla="*/ 259 h 647"/>
                            <a:gd name="T80" fmla="*/ 405 w 509"/>
                            <a:gd name="T81" fmla="*/ 126 h 647"/>
                            <a:gd name="T82" fmla="*/ 375 w 509"/>
                            <a:gd name="T83" fmla="*/ 72 h 647"/>
                            <a:gd name="T84" fmla="*/ 241 w 509"/>
                            <a:gd name="T85" fmla="*/ 82 h 647"/>
                            <a:gd name="T86" fmla="*/ 67 w 509"/>
                            <a:gd name="T87" fmla="*/ 23 h 64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</a:cxnLst>
                          <a:rect l="0" t="0" r="r" b="b"/>
                          <a:pathLst>
                            <a:path w="509" h="647">
                              <a:moveTo>
                                <a:pt x="101" y="546"/>
                              </a:moveTo>
                              <a:lnTo>
                                <a:pt x="98" y="494"/>
                              </a:lnTo>
                              <a:lnTo>
                                <a:pt x="98" y="494"/>
                              </a:lnTo>
                              <a:lnTo>
                                <a:pt x="98" y="491"/>
                              </a:lnTo>
                              <a:lnTo>
                                <a:pt x="98" y="487"/>
                              </a:lnTo>
                              <a:lnTo>
                                <a:pt x="102" y="486"/>
                              </a:lnTo>
                              <a:lnTo>
                                <a:pt x="105" y="486"/>
                              </a:lnTo>
                              <a:lnTo>
                                <a:pt x="159" y="481"/>
                              </a:lnTo>
                              <a:lnTo>
                                <a:pt x="159" y="449"/>
                              </a:lnTo>
                              <a:lnTo>
                                <a:pt x="158" y="449"/>
                              </a:lnTo>
                              <a:lnTo>
                                <a:pt x="158" y="447"/>
                              </a:lnTo>
                              <a:lnTo>
                                <a:pt x="158" y="445"/>
                              </a:lnTo>
                              <a:lnTo>
                                <a:pt x="160" y="443"/>
                              </a:lnTo>
                              <a:lnTo>
                                <a:pt x="162" y="442"/>
                              </a:lnTo>
                              <a:lnTo>
                                <a:pt x="162" y="442"/>
                              </a:lnTo>
                              <a:lnTo>
                                <a:pt x="222" y="398"/>
                              </a:lnTo>
                              <a:lnTo>
                                <a:pt x="183" y="374"/>
                              </a:lnTo>
                              <a:lnTo>
                                <a:pt x="183" y="374"/>
                              </a:lnTo>
                              <a:lnTo>
                                <a:pt x="183" y="374"/>
                              </a:lnTo>
                              <a:lnTo>
                                <a:pt x="182" y="373"/>
                              </a:lnTo>
                              <a:lnTo>
                                <a:pt x="182" y="373"/>
                              </a:lnTo>
                              <a:lnTo>
                                <a:pt x="182" y="372"/>
                              </a:lnTo>
                              <a:lnTo>
                                <a:pt x="182" y="372"/>
                              </a:lnTo>
                              <a:lnTo>
                                <a:pt x="133" y="315"/>
                              </a:lnTo>
                              <a:lnTo>
                                <a:pt x="133" y="315"/>
                              </a:lnTo>
                              <a:lnTo>
                                <a:pt x="132" y="313"/>
                              </a:lnTo>
                              <a:lnTo>
                                <a:pt x="131" y="312"/>
                              </a:lnTo>
                              <a:lnTo>
                                <a:pt x="131" y="310"/>
                              </a:lnTo>
                              <a:lnTo>
                                <a:pt x="131" y="309"/>
                              </a:lnTo>
                              <a:lnTo>
                                <a:pt x="137" y="263"/>
                              </a:lnTo>
                              <a:lnTo>
                                <a:pt x="137" y="263"/>
                              </a:lnTo>
                              <a:lnTo>
                                <a:pt x="138" y="258"/>
                              </a:lnTo>
                              <a:lnTo>
                                <a:pt x="139" y="253"/>
                              </a:lnTo>
                              <a:lnTo>
                                <a:pt x="143" y="255"/>
                              </a:lnTo>
                              <a:lnTo>
                                <a:pt x="148" y="257"/>
                              </a:lnTo>
                              <a:lnTo>
                                <a:pt x="190" y="272"/>
                              </a:lnTo>
                              <a:lnTo>
                                <a:pt x="190" y="272"/>
                              </a:lnTo>
                              <a:lnTo>
                                <a:pt x="192" y="272"/>
                              </a:lnTo>
                              <a:lnTo>
                                <a:pt x="193" y="273"/>
                              </a:lnTo>
                              <a:lnTo>
                                <a:pt x="194" y="274"/>
                              </a:lnTo>
                              <a:lnTo>
                                <a:pt x="195" y="275"/>
                              </a:lnTo>
                              <a:lnTo>
                                <a:pt x="195" y="275"/>
                              </a:lnTo>
                              <a:lnTo>
                                <a:pt x="228" y="329"/>
                              </a:lnTo>
                              <a:lnTo>
                                <a:pt x="275" y="329"/>
                              </a:lnTo>
                              <a:lnTo>
                                <a:pt x="275" y="329"/>
                              </a:lnTo>
                              <a:lnTo>
                                <a:pt x="279" y="329"/>
                              </a:lnTo>
                              <a:lnTo>
                                <a:pt x="283" y="329"/>
                              </a:lnTo>
                              <a:lnTo>
                                <a:pt x="283" y="333"/>
                              </a:lnTo>
                              <a:lnTo>
                                <a:pt x="283" y="336"/>
                              </a:lnTo>
                              <a:lnTo>
                                <a:pt x="286" y="384"/>
                              </a:lnTo>
                              <a:lnTo>
                                <a:pt x="320" y="412"/>
                              </a:lnTo>
                              <a:lnTo>
                                <a:pt x="321" y="414"/>
                              </a:lnTo>
                              <a:lnTo>
                                <a:pt x="323" y="415"/>
                              </a:lnTo>
                              <a:lnTo>
                                <a:pt x="323" y="417"/>
                              </a:lnTo>
                              <a:lnTo>
                                <a:pt x="323" y="419"/>
                              </a:lnTo>
                              <a:lnTo>
                                <a:pt x="320" y="485"/>
                              </a:lnTo>
                              <a:lnTo>
                                <a:pt x="320" y="487"/>
                              </a:lnTo>
                              <a:lnTo>
                                <a:pt x="320" y="488"/>
                              </a:lnTo>
                              <a:lnTo>
                                <a:pt x="319" y="489"/>
                              </a:lnTo>
                              <a:lnTo>
                                <a:pt x="318" y="490"/>
                              </a:lnTo>
                              <a:lnTo>
                                <a:pt x="270" y="553"/>
                              </a:lnTo>
                              <a:lnTo>
                                <a:pt x="264" y="561"/>
                              </a:lnTo>
                              <a:lnTo>
                                <a:pt x="258" y="569"/>
                              </a:lnTo>
                              <a:lnTo>
                                <a:pt x="256" y="559"/>
                              </a:lnTo>
                              <a:lnTo>
                                <a:pt x="255" y="549"/>
                              </a:lnTo>
                              <a:lnTo>
                                <a:pt x="248" y="494"/>
                              </a:lnTo>
                              <a:lnTo>
                                <a:pt x="173" y="578"/>
                              </a:lnTo>
                              <a:lnTo>
                                <a:pt x="171" y="580"/>
                              </a:lnTo>
                              <a:lnTo>
                                <a:pt x="169" y="582"/>
                              </a:lnTo>
                              <a:lnTo>
                                <a:pt x="166" y="581"/>
                              </a:lnTo>
                              <a:lnTo>
                                <a:pt x="163" y="580"/>
                              </a:lnTo>
                              <a:lnTo>
                                <a:pt x="106" y="553"/>
                              </a:lnTo>
                              <a:lnTo>
                                <a:pt x="104" y="552"/>
                              </a:lnTo>
                              <a:lnTo>
                                <a:pt x="101" y="551"/>
                              </a:lnTo>
                              <a:lnTo>
                                <a:pt x="101" y="548"/>
                              </a:lnTo>
                              <a:lnTo>
                                <a:pt x="101" y="546"/>
                              </a:lnTo>
                              <a:close/>
                              <a:moveTo>
                                <a:pt x="19" y="67"/>
                              </a:moveTo>
                              <a:lnTo>
                                <a:pt x="24" y="143"/>
                              </a:lnTo>
                              <a:lnTo>
                                <a:pt x="0" y="171"/>
                              </a:lnTo>
                              <a:lnTo>
                                <a:pt x="11" y="204"/>
                              </a:lnTo>
                              <a:lnTo>
                                <a:pt x="46" y="230"/>
                              </a:lnTo>
                              <a:lnTo>
                                <a:pt x="43" y="285"/>
                              </a:lnTo>
                              <a:lnTo>
                                <a:pt x="63" y="372"/>
                              </a:lnTo>
                              <a:lnTo>
                                <a:pt x="56" y="452"/>
                              </a:lnTo>
                              <a:lnTo>
                                <a:pt x="41" y="585"/>
                              </a:lnTo>
                              <a:lnTo>
                                <a:pt x="59" y="609"/>
                              </a:lnTo>
                              <a:lnTo>
                                <a:pt x="93" y="593"/>
                              </a:lnTo>
                              <a:lnTo>
                                <a:pt x="116" y="632"/>
                              </a:lnTo>
                              <a:lnTo>
                                <a:pt x="220" y="596"/>
                              </a:lnTo>
                              <a:lnTo>
                                <a:pt x="223" y="595"/>
                              </a:lnTo>
                              <a:lnTo>
                                <a:pt x="224" y="597"/>
                              </a:lnTo>
                              <a:lnTo>
                                <a:pt x="256" y="641"/>
                              </a:lnTo>
                              <a:lnTo>
                                <a:pt x="309" y="647"/>
                              </a:lnTo>
                              <a:lnTo>
                                <a:pt x="347" y="571"/>
                              </a:lnTo>
                              <a:lnTo>
                                <a:pt x="348" y="569"/>
                              </a:lnTo>
                              <a:lnTo>
                                <a:pt x="349" y="569"/>
                              </a:lnTo>
                              <a:lnTo>
                                <a:pt x="390" y="552"/>
                              </a:lnTo>
                              <a:lnTo>
                                <a:pt x="375" y="529"/>
                              </a:lnTo>
                              <a:lnTo>
                                <a:pt x="373" y="527"/>
                              </a:lnTo>
                              <a:lnTo>
                                <a:pt x="375" y="525"/>
                              </a:lnTo>
                              <a:lnTo>
                                <a:pt x="397" y="483"/>
                              </a:lnTo>
                              <a:lnTo>
                                <a:pt x="372" y="461"/>
                              </a:lnTo>
                              <a:lnTo>
                                <a:pt x="369" y="458"/>
                              </a:lnTo>
                              <a:lnTo>
                                <a:pt x="372" y="455"/>
                              </a:lnTo>
                              <a:lnTo>
                                <a:pt x="401" y="426"/>
                              </a:lnTo>
                              <a:lnTo>
                                <a:pt x="404" y="400"/>
                              </a:lnTo>
                              <a:lnTo>
                                <a:pt x="405" y="398"/>
                              </a:lnTo>
                              <a:lnTo>
                                <a:pt x="407" y="397"/>
                              </a:lnTo>
                              <a:lnTo>
                                <a:pt x="440" y="381"/>
                              </a:lnTo>
                              <a:lnTo>
                                <a:pt x="443" y="380"/>
                              </a:lnTo>
                              <a:lnTo>
                                <a:pt x="445" y="383"/>
                              </a:lnTo>
                              <a:lnTo>
                                <a:pt x="467" y="421"/>
                              </a:lnTo>
                              <a:lnTo>
                                <a:pt x="495" y="398"/>
                              </a:lnTo>
                              <a:lnTo>
                                <a:pt x="498" y="349"/>
                              </a:lnTo>
                              <a:lnTo>
                                <a:pt x="498" y="348"/>
                              </a:lnTo>
                              <a:lnTo>
                                <a:pt x="498" y="347"/>
                              </a:lnTo>
                              <a:lnTo>
                                <a:pt x="509" y="325"/>
                              </a:lnTo>
                              <a:lnTo>
                                <a:pt x="460" y="264"/>
                              </a:lnTo>
                              <a:lnTo>
                                <a:pt x="458" y="262"/>
                              </a:lnTo>
                              <a:lnTo>
                                <a:pt x="459" y="259"/>
                              </a:lnTo>
                              <a:lnTo>
                                <a:pt x="497" y="186"/>
                              </a:lnTo>
                              <a:lnTo>
                                <a:pt x="449" y="126"/>
                              </a:lnTo>
                              <a:lnTo>
                                <a:pt x="405" y="126"/>
                              </a:lnTo>
                              <a:lnTo>
                                <a:pt x="403" y="126"/>
                              </a:lnTo>
                              <a:lnTo>
                                <a:pt x="402" y="124"/>
                              </a:lnTo>
                              <a:lnTo>
                                <a:pt x="375" y="72"/>
                              </a:lnTo>
                              <a:lnTo>
                                <a:pt x="296" y="0"/>
                              </a:lnTo>
                              <a:lnTo>
                                <a:pt x="285" y="104"/>
                              </a:lnTo>
                              <a:lnTo>
                                <a:pt x="241" y="82"/>
                              </a:lnTo>
                              <a:lnTo>
                                <a:pt x="159" y="87"/>
                              </a:lnTo>
                              <a:lnTo>
                                <a:pt x="128" y="126"/>
                              </a:lnTo>
                              <a:lnTo>
                                <a:pt x="67" y="23"/>
                              </a:lnTo>
                              <a:lnTo>
                                <a:pt x="19" y="67"/>
                              </a:lnTo>
                              <a:lnTo>
                                <a:pt x="19" y="67"/>
                              </a:lnTo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35" name="Freeform 246">
                          <a:extLst>
                            <a:ext uri="{FF2B5EF4-FFF2-40B4-BE49-F238E27FC236}">
                              <a16:creationId xmlns:a16="http://schemas.microsoft.com/office/drawing/2014/main" id="{501261AD-CAB5-4A00-AB9F-6CA6EDAD2AB8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05755" y="2141309"/>
                          <a:ext cx="201100" cy="294469"/>
                        </a:xfrm>
                        <a:custGeom>
                          <a:avLst/>
                          <a:gdLst>
                            <a:gd name="T0" fmla="*/ 60 w 196"/>
                            <a:gd name="T1" fmla="*/ 19 h 287"/>
                            <a:gd name="T2" fmla="*/ 57 w 196"/>
                            <a:gd name="T3" fmla="*/ 18 h 287"/>
                            <a:gd name="T4" fmla="*/ 34 w 196"/>
                            <a:gd name="T5" fmla="*/ 6 h 287"/>
                            <a:gd name="T6" fmla="*/ 33 w 196"/>
                            <a:gd name="T7" fmla="*/ 18 h 287"/>
                            <a:gd name="T8" fmla="*/ 20 w 196"/>
                            <a:gd name="T9" fmla="*/ 31 h 287"/>
                            <a:gd name="T10" fmla="*/ 32 w 196"/>
                            <a:gd name="T11" fmla="*/ 41 h 287"/>
                            <a:gd name="T12" fmla="*/ 21 w 196"/>
                            <a:gd name="T13" fmla="*/ 62 h 287"/>
                            <a:gd name="T14" fmla="*/ 30 w 196"/>
                            <a:gd name="T15" fmla="*/ 75 h 287"/>
                            <a:gd name="T16" fmla="*/ 8 w 196"/>
                            <a:gd name="T17" fmla="*/ 84 h 287"/>
                            <a:gd name="T18" fmla="*/ 24 w 196"/>
                            <a:gd name="T19" fmla="*/ 145 h 287"/>
                            <a:gd name="T20" fmla="*/ 23 w 196"/>
                            <a:gd name="T21" fmla="*/ 148 h 287"/>
                            <a:gd name="T22" fmla="*/ 9 w 196"/>
                            <a:gd name="T23" fmla="*/ 187 h 287"/>
                            <a:gd name="T24" fmla="*/ 70 w 196"/>
                            <a:gd name="T25" fmla="*/ 224 h 287"/>
                            <a:gd name="T26" fmla="*/ 72 w 196"/>
                            <a:gd name="T27" fmla="*/ 225 h 287"/>
                            <a:gd name="T28" fmla="*/ 78 w 196"/>
                            <a:gd name="T29" fmla="*/ 248 h 287"/>
                            <a:gd name="T30" fmla="*/ 72 w 196"/>
                            <a:gd name="T31" fmla="*/ 260 h 287"/>
                            <a:gd name="T32" fmla="*/ 114 w 196"/>
                            <a:gd name="T33" fmla="*/ 277 h 287"/>
                            <a:gd name="T34" fmla="*/ 115 w 196"/>
                            <a:gd name="T35" fmla="*/ 278 h 287"/>
                            <a:gd name="T36" fmla="*/ 136 w 196"/>
                            <a:gd name="T37" fmla="*/ 278 h 287"/>
                            <a:gd name="T38" fmla="*/ 129 w 196"/>
                            <a:gd name="T39" fmla="*/ 265 h 287"/>
                            <a:gd name="T40" fmla="*/ 150 w 196"/>
                            <a:gd name="T41" fmla="*/ 249 h 287"/>
                            <a:gd name="T42" fmla="*/ 151 w 196"/>
                            <a:gd name="T43" fmla="*/ 248 h 287"/>
                            <a:gd name="T44" fmla="*/ 194 w 196"/>
                            <a:gd name="T45" fmla="*/ 241 h 287"/>
                            <a:gd name="T46" fmla="*/ 189 w 196"/>
                            <a:gd name="T47" fmla="*/ 184 h 287"/>
                            <a:gd name="T48" fmla="*/ 168 w 196"/>
                            <a:gd name="T49" fmla="*/ 146 h 287"/>
                            <a:gd name="T50" fmla="*/ 173 w 196"/>
                            <a:gd name="T51" fmla="*/ 114 h 287"/>
                            <a:gd name="T52" fmla="*/ 155 w 196"/>
                            <a:gd name="T53" fmla="*/ 81 h 287"/>
                            <a:gd name="T54" fmla="*/ 147 w 196"/>
                            <a:gd name="T55" fmla="*/ 59 h 287"/>
                            <a:gd name="T56" fmla="*/ 127 w 196"/>
                            <a:gd name="T57" fmla="*/ 54 h 287"/>
                            <a:gd name="T58" fmla="*/ 118 w 196"/>
                            <a:gd name="T59" fmla="*/ 41 h 287"/>
                            <a:gd name="T60" fmla="*/ 103 w 196"/>
                            <a:gd name="T61" fmla="*/ 44 h 287"/>
                            <a:gd name="T62" fmla="*/ 73 w 196"/>
                            <a:gd name="T63" fmla="*/ 7 h 28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</a:cxnLst>
                          <a:rect l="0" t="0" r="r" b="b"/>
                          <a:pathLst>
                            <a:path w="196" h="287">
                              <a:moveTo>
                                <a:pt x="73" y="7"/>
                              </a:moveTo>
                              <a:lnTo>
                                <a:pt x="60" y="19"/>
                              </a:lnTo>
                              <a:lnTo>
                                <a:pt x="58" y="20"/>
                              </a:lnTo>
                              <a:lnTo>
                                <a:pt x="57" y="18"/>
                              </a:lnTo>
                              <a:lnTo>
                                <a:pt x="47" y="0"/>
                              </a:lnTo>
                              <a:lnTo>
                                <a:pt x="34" y="6"/>
                              </a:lnTo>
                              <a:lnTo>
                                <a:pt x="33" y="17"/>
                              </a:lnTo>
                              <a:lnTo>
                                <a:pt x="33" y="18"/>
                              </a:lnTo>
                              <a:lnTo>
                                <a:pt x="33" y="18"/>
                              </a:lnTo>
                              <a:lnTo>
                                <a:pt x="20" y="31"/>
                              </a:lnTo>
                              <a:lnTo>
                                <a:pt x="31" y="40"/>
                              </a:lnTo>
                              <a:lnTo>
                                <a:pt x="32" y="41"/>
                              </a:lnTo>
                              <a:lnTo>
                                <a:pt x="32" y="43"/>
                              </a:lnTo>
                              <a:lnTo>
                                <a:pt x="21" y="62"/>
                              </a:lnTo>
                              <a:lnTo>
                                <a:pt x="29" y="74"/>
                              </a:lnTo>
                              <a:lnTo>
                                <a:pt x="30" y="75"/>
                              </a:lnTo>
                              <a:lnTo>
                                <a:pt x="28" y="76"/>
                              </a:lnTo>
                              <a:lnTo>
                                <a:pt x="8" y="84"/>
                              </a:lnTo>
                              <a:lnTo>
                                <a:pt x="0" y="101"/>
                              </a:lnTo>
                              <a:lnTo>
                                <a:pt x="24" y="145"/>
                              </a:lnTo>
                              <a:lnTo>
                                <a:pt x="24" y="147"/>
                              </a:lnTo>
                              <a:lnTo>
                                <a:pt x="23" y="148"/>
                              </a:lnTo>
                              <a:lnTo>
                                <a:pt x="7" y="158"/>
                              </a:lnTo>
                              <a:lnTo>
                                <a:pt x="9" y="187"/>
                              </a:lnTo>
                              <a:lnTo>
                                <a:pt x="48" y="224"/>
                              </a:lnTo>
                              <a:lnTo>
                                <a:pt x="70" y="224"/>
                              </a:lnTo>
                              <a:lnTo>
                                <a:pt x="71" y="224"/>
                              </a:lnTo>
                              <a:lnTo>
                                <a:pt x="72" y="225"/>
                              </a:lnTo>
                              <a:lnTo>
                                <a:pt x="78" y="247"/>
                              </a:lnTo>
                              <a:lnTo>
                                <a:pt x="78" y="248"/>
                              </a:lnTo>
                              <a:lnTo>
                                <a:pt x="78" y="248"/>
                              </a:lnTo>
                              <a:lnTo>
                                <a:pt x="72" y="260"/>
                              </a:lnTo>
                              <a:lnTo>
                                <a:pt x="91" y="276"/>
                              </a:lnTo>
                              <a:lnTo>
                                <a:pt x="114" y="277"/>
                              </a:lnTo>
                              <a:lnTo>
                                <a:pt x="115" y="277"/>
                              </a:lnTo>
                              <a:lnTo>
                                <a:pt x="115" y="278"/>
                              </a:lnTo>
                              <a:lnTo>
                                <a:pt x="122" y="287"/>
                              </a:lnTo>
                              <a:lnTo>
                                <a:pt x="136" y="278"/>
                              </a:lnTo>
                              <a:lnTo>
                                <a:pt x="130" y="266"/>
                              </a:lnTo>
                              <a:lnTo>
                                <a:pt x="129" y="265"/>
                              </a:lnTo>
                              <a:lnTo>
                                <a:pt x="130" y="264"/>
                              </a:lnTo>
                              <a:lnTo>
                                <a:pt x="150" y="249"/>
                              </a:lnTo>
                              <a:lnTo>
                                <a:pt x="150" y="248"/>
                              </a:lnTo>
                              <a:lnTo>
                                <a:pt x="151" y="248"/>
                              </a:lnTo>
                              <a:lnTo>
                                <a:pt x="183" y="250"/>
                              </a:lnTo>
                              <a:lnTo>
                                <a:pt x="194" y="241"/>
                              </a:lnTo>
                              <a:lnTo>
                                <a:pt x="196" y="212"/>
                              </a:lnTo>
                              <a:lnTo>
                                <a:pt x="189" y="184"/>
                              </a:lnTo>
                              <a:lnTo>
                                <a:pt x="168" y="147"/>
                              </a:lnTo>
                              <a:lnTo>
                                <a:pt x="168" y="146"/>
                              </a:lnTo>
                              <a:lnTo>
                                <a:pt x="168" y="146"/>
                              </a:lnTo>
                              <a:lnTo>
                                <a:pt x="173" y="114"/>
                              </a:lnTo>
                              <a:lnTo>
                                <a:pt x="155" y="81"/>
                              </a:lnTo>
                              <a:lnTo>
                                <a:pt x="155" y="81"/>
                              </a:lnTo>
                              <a:lnTo>
                                <a:pt x="155" y="81"/>
                              </a:lnTo>
                              <a:lnTo>
                                <a:pt x="147" y="59"/>
                              </a:lnTo>
                              <a:lnTo>
                                <a:pt x="128" y="54"/>
                              </a:lnTo>
                              <a:lnTo>
                                <a:pt x="127" y="54"/>
                              </a:lnTo>
                              <a:lnTo>
                                <a:pt x="127" y="54"/>
                              </a:lnTo>
                              <a:lnTo>
                                <a:pt x="118" y="41"/>
                              </a:lnTo>
                              <a:lnTo>
                                <a:pt x="104" y="44"/>
                              </a:lnTo>
                              <a:lnTo>
                                <a:pt x="103" y="44"/>
                              </a:lnTo>
                              <a:lnTo>
                                <a:pt x="103" y="43"/>
                              </a:lnTo>
                              <a:lnTo>
                                <a:pt x="73" y="7"/>
                              </a:lnTo>
                              <a:lnTo>
                                <a:pt x="73" y="7"/>
                              </a:lnTo>
                              <a:close/>
                            </a:path>
                          </a:pathLst>
                        </a:custGeom>
                        <a:solidFill>
                          <a:srgbClr val="F2F2F2"/>
                        </a:solidFill>
                        <a:ln w="6350">
                          <a:solidFill>
                            <a:srgbClr val="F2F2F2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36" name="Freeform 247">
                          <a:extLst>
                            <a:ext uri="{FF2B5EF4-FFF2-40B4-BE49-F238E27FC236}">
                              <a16:creationId xmlns:a16="http://schemas.microsoft.com/office/drawing/2014/main" id="{A461F346-C3DA-4712-B37D-EBFC3CD8896F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99048" y="2082826"/>
                          <a:ext cx="96446" cy="143643"/>
                        </a:xfrm>
                        <a:custGeom>
                          <a:avLst/>
                          <a:gdLst>
                            <a:gd name="T0" fmla="*/ 0 w 94"/>
                            <a:gd name="T1" fmla="*/ 104 h 140"/>
                            <a:gd name="T2" fmla="*/ 1 w 94"/>
                            <a:gd name="T3" fmla="*/ 127 h 140"/>
                            <a:gd name="T4" fmla="*/ 27 w 94"/>
                            <a:gd name="T5" fmla="*/ 140 h 140"/>
                            <a:gd name="T6" fmla="*/ 64 w 94"/>
                            <a:gd name="T7" fmla="*/ 99 h 140"/>
                            <a:gd name="T8" fmla="*/ 67 w 94"/>
                            <a:gd name="T9" fmla="*/ 96 h 140"/>
                            <a:gd name="T10" fmla="*/ 67 w 94"/>
                            <a:gd name="T11" fmla="*/ 100 h 140"/>
                            <a:gd name="T12" fmla="*/ 71 w 94"/>
                            <a:gd name="T13" fmla="*/ 129 h 140"/>
                            <a:gd name="T14" fmla="*/ 93 w 94"/>
                            <a:gd name="T15" fmla="*/ 100 h 140"/>
                            <a:gd name="T16" fmla="*/ 94 w 94"/>
                            <a:gd name="T17" fmla="*/ 70 h 140"/>
                            <a:gd name="T18" fmla="*/ 78 w 94"/>
                            <a:gd name="T19" fmla="*/ 57 h 140"/>
                            <a:gd name="T20" fmla="*/ 78 w 94"/>
                            <a:gd name="T21" fmla="*/ 56 h 140"/>
                            <a:gd name="T22" fmla="*/ 78 w 94"/>
                            <a:gd name="T23" fmla="*/ 55 h 140"/>
                            <a:gd name="T24" fmla="*/ 76 w 94"/>
                            <a:gd name="T25" fmla="*/ 33 h 140"/>
                            <a:gd name="T26" fmla="*/ 76 w 94"/>
                            <a:gd name="T27" fmla="*/ 33 h 140"/>
                            <a:gd name="T28" fmla="*/ 54 w 94"/>
                            <a:gd name="T29" fmla="*/ 33 h 140"/>
                            <a:gd name="T30" fmla="*/ 53 w 94"/>
                            <a:gd name="T31" fmla="*/ 33 h 140"/>
                            <a:gd name="T32" fmla="*/ 53 w 94"/>
                            <a:gd name="T33" fmla="*/ 32 h 140"/>
                            <a:gd name="T34" fmla="*/ 37 w 94"/>
                            <a:gd name="T35" fmla="*/ 7 h 140"/>
                            <a:gd name="T36" fmla="*/ 17 w 94"/>
                            <a:gd name="T37" fmla="*/ 0 h 140"/>
                            <a:gd name="T38" fmla="*/ 17 w 94"/>
                            <a:gd name="T39" fmla="*/ 0 h 140"/>
                            <a:gd name="T40" fmla="*/ 14 w 94"/>
                            <a:gd name="T41" fmla="*/ 21 h 140"/>
                            <a:gd name="T42" fmla="*/ 14 w 94"/>
                            <a:gd name="T43" fmla="*/ 21 h 140"/>
                            <a:gd name="T44" fmla="*/ 14 w 94"/>
                            <a:gd name="T45" fmla="*/ 21 h 140"/>
                            <a:gd name="T46" fmla="*/ 37 w 94"/>
                            <a:gd name="T47" fmla="*/ 47 h 140"/>
                            <a:gd name="T48" fmla="*/ 37 w 94"/>
                            <a:gd name="T49" fmla="*/ 47 h 140"/>
                            <a:gd name="T50" fmla="*/ 37 w 94"/>
                            <a:gd name="T51" fmla="*/ 47 h 140"/>
                            <a:gd name="T52" fmla="*/ 56 w 94"/>
                            <a:gd name="T53" fmla="*/ 59 h 140"/>
                            <a:gd name="T54" fmla="*/ 59 w 94"/>
                            <a:gd name="T55" fmla="*/ 60 h 140"/>
                            <a:gd name="T56" fmla="*/ 56 w 94"/>
                            <a:gd name="T57" fmla="*/ 62 h 140"/>
                            <a:gd name="T58" fmla="*/ 27 w 94"/>
                            <a:gd name="T59" fmla="*/ 84 h 140"/>
                            <a:gd name="T60" fmla="*/ 27 w 94"/>
                            <a:gd name="T61" fmla="*/ 84 h 140"/>
                            <a:gd name="T62" fmla="*/ 27 w 94"/>
                            <a:gd name="T63" fmla="*/ 100 h 140"/>
                            <a:gd name="T64" fmla="*/ 27 w 94"/>
                            <a:gd name="T65" fmla="*/ 102 h 140"/>
                            <a:gd name="T66" fmla="*/ 25 w 94"/>
                            <a:gd name="T67" fmla="*/ 102 h 140"/>
                            <a:gd name="T68" fmla="*/ 0 w 94"/>
                            <a:gd name="T69" fmla="*/ 104 h 140"/>
                            <a:gd name="T70" fmla="*/ 0 w 94"/>
                            <a:gd name="T71" fmla="*/ 104 h 14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</a:cxnLst>
                          <a:rect l="0" t="0" r="r" b="b"/>
                          <a:pathLst>
                            <a:path w="94" h="140">
                              <a:moveTo>
                                <a:pt x="0" y="104"/>
                              </a:moveTo>
                              <a:lnTo>
                                <a:pt x="1" y="127"/>
                              </a:lnTo>
                              <a:lnTo>
                                <a:pt x="27" y="140"/>
                              </a:lnTo>
                              <a:lnTo>
                                <a:pt x="64" y="99"/>
                              </a:lnTo>
                              <a:lnTo>
                                <a:pt x="67" y="96"/>
                              </a:lnTo>
                              <a:lnTo>
                                <a:pt x="67" y="100"/>
                              </a:lnTo>
                              <a:lnTo>
                                <a:pt x="71" y="129"/>
                              </a:lnTo>
                              <a:lnTo>
                                <a:pt x="93" y="100"/>
                              </a:lnTo>
                              <a:lnTo>
                                <a:pt x="94" y="70"/>
                              </a:lnTo>
                              <a:lnTo>
                                <a:pt x="78" y="57"/>
                              </a:lnTo>
                              <a:lnTo>
                                <a:pt x="78" y="56"/>
                              </a:lnTo>
                              <a:lnTo>
                                <a:pt x="78" y="55"/>
                              </a:lnTo>
                              <a:lnTo>
                                <a:pt x="76" y="33"/>
                              </a:lnTo>
                              <a:lnTo>
                                <a:pt x="76" y="33"/>
                              </a:lnTo>
                              <a:lnTo>
                                <a:pt x="54" y="33"/>
                              </a:lnTo>
                              <a:lnTo>
                                <a:pt x="53" y="33"/>
                              </a:lnTo>
                              <a:lnTo>
                                <a:pt x="53" y="32"/>
                              </a:lnTo>
                              <a:lnTo>
                                <a:pt x="37" y="7"/>
                              </a:lnTo>
                              <a:lnTo>
                                <a:pt x="17" y="0"/>
                              </a:lnTo>
                              <a:lnTo>
                                <a:pt x="17" y="0"/>
                              </a:lnTo>
                              <a:lnTo>
                                <a:pt x="14" y="21"/>
                              </a:lnTo>
                              <a:lnTo>
                                <a:pt x="14" y="21"/>
                              </a:lnTo>
                              <a:lnTo>
                                <a:pt x="14" y="21"/>
                              </a:lnTo>
                              <a:lnTo>
                                <a:pt x="37" y="47"/>
                              </a:lnTo>
                              <a:lnTo>
                                <a:pt x="37" y="47"/>
                              </a:lnTo>
                              <a:lnTo>
                                <a:pt x="37" y="47"/>
                              </a:lnTo>
                              <a:lnTo>
                                <a:pt x="56" y="59"/>
                              </a:lnTo>
                              <a:lnTo>
                                <a:pt x="59" y="60"/>
                              </a:lnTo>
                              <a:lnTo>
                                <a:pt x="56" y="62"/>
                              </a:lnTo>
                              <a:lnTo>
                                <a:pt x="27" y="84"/>
                              </a:lnTo>
                              <a:lnTo>
                                <a:pt x="27" y="84"/>
                              </a:lnTo>
                              <a:lnTo>
                                <a:pt x="27" y="100"/>
                              </a:lnTo>
                              <a:lnTo>
                                <a:pt x="27" y="102"/>
                              </a:lnTo>
                              <a:lnTo>
                                <a:pt x="25" y="102"/>
                              </a:lnTo>
                              <a:lnTo>
                                <a:pt x="0" y="104"/>
                              </a:lnTo>
                              <a:lnTo>
                                <a:pt x="0" y="104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accent6">
                              <a:lumMod val="20000"/>
                              <a:lumOff val="80000"/>
                            </a:schemeClr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37" name="Freeform 248">
                          <a:extLst>
                            <a:ext uri="{FF2B5EF4-FFF2-40B4-BE49-F238E27FC236}">
                              <a16:creationId xmlns:a16="http://schemas.microsoft.com/office/drawing/2014/main" id="{9B45C6C5-CF2A-4F20-AF08-268E3BD5B7A8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349964" y="2418335"/>
                          <a:ext cx="858781" cy="658706"/>
                        </a:xfrm>
                        <a:custGeom>
                          <a:avLst/>
                          <a:gdLst>
                            <a:gd name="T0" fmla="*/ 173 w 837"/>
                            <a:gd name="T1" fmla="*/ 551 h 642"/>
                            <a:gd name="T2" fmla="*/ 285 w 837"/>
                            <a:gd name="T3" fmla="*/ 641 h 642"/>
                            <a:gd name="T4" fmla="*/ 430 w 837"/>
                            <a:gd name="T5" fmla="*/ 618 h 642"/>
                            <a:gd name="T6" fmla="*/ 476 w 837"/>
                            <a:gd name="T7" fmla="*/ 608 h 642"/>
                            <a:gd name="T8" fmla="*/ 502 w 837"/>
                            <a:gd name="T9" fmla="*/ 594 h 642"/>
                            <a:gd name="T10" fmla="*/ 476 w 837"/>
                            <a:gd name="T11" fmla="*/ 562 h 642"/>
                            <a:gd name="T12" fmla="*/ 491 w 837"/>
                            <a:gd name="T13" fmla="*/ 508 h 642"/>
                            <a:gd name="T14" fmla="*/ 574 w 837"/>
                            <a:gd name="T15" fmla="*/ 483 h 642"/>
                            <a:gd name="T16" fmla="*/ 603 w 837"/>
                            <a:gd name="T17" fmla="*/ 487 h 642"/>
                            <a:gd name="T18" fmla="*/ 655 w 837"/>
                            <a:gd name="T19" fmla="*/ 418 h 642"/>
                            <a:gd name="T20" fmla="*/ 698 w 837"/>
                            <a:gd name="T21" fmla="*/ 399 h 642"/>
                            <a:gd name="T22" fmla="*/ 748 w 837"/>
                            <a:gd name="T23" fmla="*/ 361 h 642"/>
                            <a:gd name="T24" fmla="*/ 727 w 837"/>
                            <a:gd name="T25" fmla="*/ 317 h 642"/>
                            <a:gd name="T26" fmla="*/ 727 w 837"/>
                            <a:gd name="T27" fmla="*/ 288 h 642"/>
                            <a:gd name="T28" fmla="*/ 794 w 837"/>
                            <a:gd name="T29" fmla="*/ 212 h 642"/>
                            <a:gd name="T30" fmla="*/ 837 w 837"/>
                            <a:gd name="T31" fmla="*/ 196 h 642"/>
                            <a:gd name="T32" fmla="*/ 779 w 837"/>
                            <a:gd name="T33" fmla="*/ 133 h 642"/>
                            <a:gd name="T34" fmla="*/ 754 w 837"/>
                            <a:gd name="T35" fmla="*/ 59 h 642"/>
                            <a:gd name="T36" fmla="*/ 738 w 837"/>
                            <a:gd name="T37" fmla="*/ 42 h 642"/>
                            <a:gd name="T38" fmla="*/ 733 w 837"/>
                            <a:gd name="T39" fmla="*/ 20 h 642"/>
                            <a:gd name="T40" fmla="*/ 716 w 837"/>
                            <a:gd name="T41" fmla="*/ 18 h 642"/>
                            <a:gd name="T42" fmla="*/ 706 w 837"/>
                            <a:gd name="T43" fmla="*/ 53 h 642"/>
                            <a:gd name="T44" fmla="*/ 623 w 837"/>
                            <a:gd name="T45" fmla="*/ 74 h 642"/>
                            <a:gd name="T46" fmla="*/ 590 w 837"/>
                            <a:gd name="T47" fmla="*/ 55 h 642"/>
                            <a:gd name="T48" fmla="*/ 562 w 837"/>
                            <a:gd name="T49" fmla="*/ 69 h 642"/>
                            <a:gd name="T50" fmla="*/ 523 w 837"/>
                            <a:gd name="T51" fmla="*/ 83 h 642"/>
                            <a:gd name="T52" fmla="*/ 502 w 837"/>
                            <a:gd name="T53" fmla="*/ 75 h 642"/>
                            <a:gd name="T54" fmla="*/ 495 w 837"/>
                            <a:gd name="T55" fmla="*/ 99 h 642"/>
                            <a:gd name="T56" fmla="*/ 483 w 837"/>
                            <a:gd name="T57" fmla="*/ 144 h 642"/>
                            <a:gd name="T58" fmla="*/ 463 w 837"/>
                            <a:gd name="T59" fmla="*/ 171 h 642"/>
                            <a:gd name="T60" fmla="*/ 474 w 837"/>
                            <a:gd name="T61" fmla="*/ 232 h 642"/>
                            <a:gd name="T62" fmla="*/ 483 w 837"/>
                            <a:gd name="T63" fmla="*/ 181 h 642"/>
                            <a:gd name="T64" fmla="*/ 498 w 837"/>
                            <a:gd name="T65" fmla="*/ 157 h 642"/>
                            <a:gd name="T66" fmla="*/ 516 w 837"/>
                            <a:gd name="T67" fmla="*/ 161 h 642"/>
                            <a:gd name="T68" fmla="*/ 519 w 837"/>
                            <a:gd name="T69" fmla="*/ 180 h 642"/>
                            <a:gd name="T70" fmla="*/ 521 w 837"/>
                            <a:gd name="T71" fmla="*/ 293 h 642"/>
                            <a:gd name="T72" fmla="*/ 512 w 837"/>
                            <a:gd name="T73" fmla="*/ 318 h 642"/>
                            <a:gd name="T74" fmla="*/ 498 w 837"/>
                            <a:gd name="T75" fmla="*/ 331 h 642"/>
                            <a:gd name="T76" fmla="*/ 498 w 837"/>
                            <a:gd name="T77" fmla="*/ 355 h 642"/>
                            <a:gd name="T78" fmla="*/ 492 w 837"/>
                            <a:gd name="T79" fmla="*/ 372 h 642"/>
                            <a:gd name="T80" fmla="*/ 475 w 837"/>
                            <a:gd name="T81" fmla="*/ 393 h 642"/>
                            <a:gd name="T82" fmla="*/ 456 w 837"/>
                            <a:gd name="T83" fmla="*/ 425 h 642"/>
                            <a:gd name="T84" fmla="*/ 426 w 837"/>
                            <a:gd name="T85" fmla="*/ 435 h 642"/>
                            <a:gd name="T86" fmla="*/ 405 w 837"/>
                            <a:gd name="T87" fmla="*/ 461 h 642"/>
                            <a:gd name="T88" fmla="*/ 378 w 837"/>
                            <a:gd name="T89" fmla="*/ 493 h 642"/>
                            <a:gd name="T90" fmla="*/ 361 w 837"/>
                            <a:gd name="T91" fmla="*/ 511 h 642"/>
                            <a:gd name="T92" fmla="*/ 302 w 837"/>
                            <a:gd name="T93" fmla="*/ 558 h 642"/>
                            <a:gd name="T94" fmla="*/ 268 w 837"/>
                            <a:gd name="T95" fmla="*/ 570 h 642"/>
                            <a:gd name="T96" fmla="*/ 261 w 837"/>
                            <a:gd name="T97" fmla="*/ 550 h 642"/>
                            <a:gd name="T98" fmla="*/ 224 w 837"/>
                            <a:gd name="T99" fmla="*/ 541 h 642"/>
                            <a:gd name="T100" fmla="*/ 165 w 837"/>
                            <a:gd name="T101" fmla="*/ 484 h 642"/>
                            <a:gd name="T102" fmla="*/ 96 w 837"/>
                            <a:gd name="T103" fmla="*/ 430 h 642"/>
                            <a:gd name="T104" fmla="*/ 74 w 837"/>
                            <a:gd name="T105" fmla="*/ 401 h 642"/>
                            <a:gd name="T106" fmla="*/ 40 w 837"/>
                            <a:gd name="T107" fmla="*/ 426 h 642"/>
                            <a:gd name="T108" fmla="*/ 21 w 837"/>
                            <a:gd name="T109" fmla="*/ 431 h 642"/>
                            <a:gd name="T110" fmla="*/ 14 w 837"/>
                            <a:gd name="T111" fmla="*/ 457 h 642"/>
                            <a:gd name="T112" fmla="*/ 0 w 837"/>
                            <a:gd name="T113" fmla="*/ 475 h 64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</a:cxnLst>
                          <a:rect l="0" t="0" r="r" b="b"/>
                          <a:pathLst>
                            <a:path w="837" h="642">
                              <a:moveTo>
                                <a:pt x="12" y="499"/>
                              </a:moveTo>
                              <a:lnTo>
                                <a:pt x="96" y="533"/>
                              </a:lnTo>
                              <a:lnTo>
                                <a:pt x="173" y="551"/>
                              </a:lnTo>
                              <a:lnTo>
                                <a:pt x="189" y="612"/>
                              </a:lnTo>
                              <a:lnTo>
                                <a:pt x="245" y="642"/>
                              </a:lnTo>
                              <a:lnTo>
                                <a:pt x="285" y="641"/>
                              </a:lnTo>
                              <a:lnTo>
                                <a:pt x="341" y="607"/>
                              </a:lnTo>
                              <a:lnTo>
                                <a:pt x="385" y="621"/>
                              </a:lnTo>
                              <a:lnTo>
                                <a:pt x="430" y="618"/>
                              </a:lnTo>
                              <a:lnTo>
                                <a:pt x="442" y="639"/>
                              </a:lnTo>
                              <a:lnTo>
                                <a:pt x="468" y="640"/>
                              </a:lnTo>
                              <a:lnTo>
                                <a:pt x="476" y="608"/>
                              </a:lnTo>
                              <a:lnTo>
                                <a:pt x="477" y="608"/>
                              </a:lnTo>
                              <a:lnTo>
                                <a:pt x="477" y="607"/>
                              </a:lnTo>
                              <a:lnTo>
                                <a:pt x="502" y="594"/>
                              </a:lnTo>
                              <a:lnTo>
                                <a:pt x="475" y="565"/>
                              </a:lnTo>
                              <a:lnTo>
                                <a:pt x="474" y="563"/>
                              </a:lnTo>
                              <a:lnTo>
                                <a:pt x="476" y="562"/>
                              </a:lnTo>
                              <a:lnTo>
                                <a:pt x="502" y="541"/>
                              </a:lnTo>
                              <a:lnTo>
                                <a:pt x="492" y="511"/>
                              </a:lnTo>
                              <a:lnTo>
                                <a:pt x="491" y="508"/>
                              </a:lnTo>
                              <a:lnTo>
                                <a:pt x="493" y="508"/>
                              </a:lnTo>
                              <a:lnTo>
                                <a:pt x="543" y="508"/>
                              </a:lnTo>
                              <a:lnTo>
                                <a:pt x="574" y="483"/>
                              </a:lnTo>
                              <a:lnTo>
                                <a:pt x="575" y="483"/>
                              </a:lnTo>
                              <a:lnTo>
                                <a:pt x="575" y="483"/>
                              </a:lnTo>
                              <a:lnTo>
                                <a:pt x="603" y="487"/>
                              </a:lnTo>
                              <a:lnTo>
                                <a:pt x="654" y="419"/>
                              </a:lnTo>
                              <a:lnTo>
                                <a:pt x="655" y="418"/>
                              </a:lnTo>
                              <a:lnTo>
                                <a:pt x="655" y="418"/>
                              </a:lnTo>
                              <a:lnTo>
                                <a:pt x="688" y="415"/>
                              </a:lnTo>
                              <a:lnTo>
                                <a:pt x="698" y="400"/>
                              </a:lnTo>
                              <a:lnTo>
                                <a:pt x="698" y="399"/>
                              </a:lnTo>
                              <a:lnTo>
                                <a:pt x="699" y="399"/>
                              </a:lnTo>
                              <a:lnTo>
                                <a:pt x="727" y="387"/>
                              </a:lnTo>
                              <a:lnTo>
                                <a:pt x="748" y="361"/>
                              </a:lnTo>
                              <a:lnTo>
                                <a:pt x="750" y="333"/>
                              </a:lnTo>
                              <a:lnTo>
                                <a:pt x="728" y="318"/>
                              </a:lnTo>
                              <a:lnTo>
                                <a:pt x="727" y="317"/>
                              </a:lnTo>
                              <a:lnTo>
                                <a:pt x="727" y="316"/>
                              </a:lnTo>
                              <a:lnTo>
                                <a:pt x="727" y="289"/>
                              </a:lnTo>
                              <a:lnTo>
                                <a:pt x="727" y="288"/>
                              </a:lnTo>
                              <a:lnTo>
                                <a:pt x="728" y="288"/>
                              </a:lnTo>
                              <a:lnTo>
                                <a:pt x="777" y="251"/>
                              </a:lnTo>
                              <a:lnTo>
                                <a:pt x="794" y="212"/>
                              </a:lnTo>
                              <a:lnTo>
                                <a:pt x="794" y="211"/>
                              </a:lnTo>
                              <a:lnTo>
                                <a:pt x="794" y="211"/>
                              </a:lnTo>
                              <a:lnTo>
                                <a:pt x="837" y="196"/>
                              </a:lnTo>
                              <a:lnTo>
                                <a:pt x="835" y="162"/>
                              </a:lnTo>
                              <a:lnTo>
                                <a:pt x="809" y="138"/>
                              </a:lnTo>
                              <a:lnTo>
                                <a:pt x="779" y="133"/>
                              </a:lnTo>
                              <a:lnTo>
                                <a:pt x="778" y="133"/>
                              </a:lnTo>
                              <a:lnTo>
                                <a:pt x="778" y="132"/>
                              </a:lnTo>
                              <a:lnTo>
                                <a:pt x="754" y="59"/>
                              </a:lnTo>
                              <a:lnTo>
                                <a:pt x="738" y="45"/>
                              </a:lnTo>
                              <a:lnTo>
                                <a:pt x="737" y="44"/>
                              </a:lnTo>
                              <a:lnTo>
                                <a:pt x="738" y="42"/>
                              </a:lnTo>
                              <a:lnTo>
                                <a:pt x="753" y="21"/>
                              </a:lnTo>
                              <a:lnTo>
                                <a:pt x="751" y="0"/>
                              </a:lnTo>
                              <a:lnTo>
                                <a:pt x="733" y="20"/>
                              </a:lnTo>
                              <a:lnTo>
                                <a:pt x="733" y="21"/>
                              </a:lnTo>
                              <a:lnTo>
                                <a:pt x="731" y="21"/>
                              </a:lnTo>
                              <a:lnTo>
                                <a:pt x="716" y="18"/>
                              </a:lnTo>
                              <a:lnTo>
                                <a:pt x="708" y="51"/>
                              </a:lnTo>
                              <a:lnTo>
                                <a:pt x="707" y="53"/>
                              </a:lnTo>
                              <a:lnTo>
                                <a:pt x="706" y="53"/>
                              </a:lnTo>
                              <a:lnTo>
                                <a:pt x="625" y="75"/>
                              </a:lnTo>
                              <a:lnTo>
                                <a:pt x="624" y="75"/>
                              </a:lnTo>
                              <a:lnTo>
                                <a:pt x="623" y="74"/>
                              </a:lnTo>
                              <a:lnTo>
                                <a:pt x="609" y="55"/>
                              </a:lnTo>
                              <a:lnTo>
                                <a:pt x="591" y="55"/>
                              </a:lnTo>
                              <a:lnTo>
                                <a:pt x="590" y="55"/>
                              </a:lnTo>
                              <a:lnTo>
                                <a:pt x="590" y="55"/>
                              </a:lnTo>
                              <a:lnTo>
                                <a:pt x="572" y="46"/>
                              </a:lnTo>
                              <a:lnTo>
                                <a:pt x="562" y="69"/>
                              </a:lnTo>
                              <a:lnTo>
                                <a:pt x="562" y="70"/>
                              </a:lnTo>
                              <a:lnTo>
                                <a:pt x="562" y="70"/>
                              </a:lnTo>
                              <a:lnTo>
                                <a:pt x="523" y="83"/>
                              </a:lnTo>
                              <a:lnTo>
                                <a:pt x="522" y="83"/>
                              </a:lnTo>
                              <a:lnTo>
                                <a:pt x="522" y="83"/>
                              </a:lnTo>
                              <a:lnTo>
                                <a:pt x="502" y="75"/>
                              </a:lnTo>
                              <a:lnTo>
                                <a:pt x="497" y="98"/>
                              </a:lnTo>
                              <a:lnTo>
                                <a:pt x="496" y="99"/>
                              </a:lnTo>
                              <a:lnTo>
                                <a:pt x="495" y="99"/>
                              </a:lnTo>
                              <a:lnTo>
                                <a:pt x="456" y="104"/>
                              </a:lnTo>
                              <a:lnTo>
                                <a:pt x="459" y="124"/>
                              </a:lnTo>
                              <a:lnTo>
                                <a:pt x="483" y="144"/>
                              </a:lnTo>
                              <a:lnTo>
                                <a:pt x="484" y="145"/>
                              </a:lnTo>
                              <a:lnTo>
                                <a:pt x="483" y="147"/>
                              </a:lnTo>
                              <a:lnTo>
                                <a:pt x="463" y="171"/>
                              </a:lnTo>
                              <a:lnTo>
                                <a:pt x="459" y="208"/>
                              </a:lnTo>
                              <a:lnTo>
                                <a:pt x="472" y="238"/>
                              </a:lnTo>
                              <a:lnTo>
                                <a:pt x="474" y="232"/>
                              </a:lnTo>
                              <a:lnTo>
                                <a:pt x="483" y="182"/>
                              </a:lnTo>
                              <a:lnTo>
                                <a:pt x="483" y="182"/>
                              </a:lnTo>
                              <a:lnTo>
                                <a:pt x="483" y="181"/>
                              </a:lnTo>
                              <a:lnTo>
                                <a:pt x="496" y="158"/>
                              </a:lnTo>
                              <a:lnTo>
                                <a:pt x="496" y="157"/>
                              </a:lnTo>
                              <a:lnTo>
                                <a:pt x="498" y="157"/>
                              </a:lnTo>
                              <a:lnTo>
                                <a:pt x="515" y="159"/>
                              </a:lnTo>
                              <a:lnTo>
                                <a:pt x="516" y="159"/>
                              </a:lnTo>
                              <a:lnTo>
                                <a:pt x="516" y="161"/>
                              </a:lnTo>
                              <a:lnTo>
                                <a:pt x="519" y="180"/>
                              </a:lnTo>
                              <a:lnTo>
                                <a:pt x="519" y="180"/>
                              </a:lnTo>
                              <a:lnTo>
                                <a:pt x="519" y="180"/>
                              </a:lnTo>
                              <a:lnTo>
                                <a:pt x="511" y="226"/>
                              </a:lnTo>
                              <a:lnTo>
                                <a:pt x="514" y="270"/>
                              </a:lnTo>
                              <a:lnTo>
                                <a:pt x="521" y="293"/>
                              </a:lnTo>
                              <a:lnTo>
                                <a:pt x="522" y="294"/>
                              </a:lnTo>
                              <a:lnTo>
                                <a:pt x="521" y="295"/>
                              </a:lnTo>
                              <a:lnTo>
                                <a:pt x="512" y="318"/>
                              </a:lnTo>
                              <a:lnTo>
                                <a:pt x="512" y="318"/>
                              </a:lnTo>
                              <a:lnTo>
                                <a:pt x="512" y="319"/>
                              </a:lnTo>
                              <a:lnTo>
                                <a:pt x="498" y="331"/>
                              </a:lnTo>
                              <a:lnTo>
                                <a:pt x="493" y="340"/>
                              </a:lnTo>
                              <a:lnTo>
                                <a:pt x="498" y="355"/>
                              </a:lnTo>
                              <a:lnTo>
                                <a:pt x="498" y="355"/>
                              </a:lnTo>
                              <a:lnTo>
                                <a:pt x="498" y="356"/>
                              </a:lnTo>
                              <a:lnTo>
                                <a:pt x="492" y="371"/>
                              </a:lnTo>
                              <a:lnTo>
                                <a:pt x="492" y="372"/>
                              </a:lnTo>
                              <a:lnTo>
                                <a:pt x="491" y="372"/>
                              </a:lnTo>
                              <a:lnTo>
                                <a:pt x="476" y="376"/>
                              </a:lnTo>
                              <a:lnTo>
                                <a:pt x="475" y="393"/>
                              </a:lnTo>
                              <a:lnTo>
                                <a:pt x="475" y="394"/>
                              </a:lnTo>
                              <a:lnTo>
                                <a:pt x="475" y="394"/>
                              </a:lnTo>
                              <a:lnTo>
                                <a:pt x="456" y="425"/>
                              </a:lnTo>
                              <a:lnTo>
                                <a:pt x="455" y="426"/>
                              </a:lnTo>
                              <a:lnTo>
                                <a:pt x="454" y="426"/>
                              </a:lnTo>
                              <a:lnTo>
                                <a:pt x="426" y="435"/>
                              </a:lnTo>
                              <a:lnTo>
                                <a:pt x="407" y="460"/>
                              </a:lnTo>
                              <a:lnTo>
                                <a:pt x="406" y="461"/>
                              </a:lnTo>
                              <a:lnTo>
                                <a:pt x="405" y="461"/>
                              </a:lnTo>
                              <a:lnTo>
                                <a:pt x="384" y="459"/>
                              </a:lnTo>
                              <a:lnTo>
                                <a:pt x="378" y="492"/>
                              </a:lnTo>
                              <a:lnTo>
                                <a:pt x="378" y="493"/>
                              </a:lnTo>
                              <a:lnTo>
                                <a:pt x="378" y="493"/>
                              </a:lnTo>
                              <a:lnTo>
                                <a:pt x="362" y="511"/>
                              </a:lnTo>
                              <a:lnTo>
                                <a:pt x="361" y="511"/>
                              </a:lnTo>
                              <a:lnTo>
                                <a:pt x="361" y="512"/>
                              </a:lnTo>
                              <a:lnTo>
                                <a:pt x="309" y="534"/>
                              </a:lnTo>
                              <a:lnTo>
                                <a:pt x="302" y="558"/>
                              </a:lnTo>
                              <a:lnTo>
                                <a:pt x="302" y="559"/>
                              </a:lnTo>
                              <a:lnTo>
                                <a:pt x="301" y="559"/>
                              </a:lnTo>
                              <a:lnTo>
                                <a:pt x="268" y="570"/>
                              </a:lnTo>
                              <a:lnTo>
                                <a:pt x="266" y="571"/>
                              </a:lnTo>
                              <a:lnTo>
                                <a:pt x="266" y="569"/>
                              </a:lnTo>
                              <a:lnTo>
                                <a:pt x="261" y="550"/>
                              </a:lnTo>
                              <a:lnTo>
                                <a:pt x="226" y="543"/>
                              </a:lnTo>
                              <a:lnTo>
                                <a:pt x="224" y="542"/>
                              </a:lnTo>
                              <a:lnTo>
                                <a:pt x="224" y="541"/>
                              </a:lnTo>
                              <a:lnTo>
                                <a:pt x="222" y="516"/>
                              </a:lnTo>
                              <a:lnTo>
                                <a:pt x="197" y="484"/>
                              </a:lnTo>
                              <a:lnTo>
                                <a:pt x="165" y="484"/>
                              </a:lnTo>
                              <a:lnTo>
                                <a:pt x="164" y="484"/>
                              </a:lnTo>
                              <a:lnTo>
                                <a:pt x="163" y="484"/>
                              </a:lnTo>
                              <a:lnTo>
                                <a:pt x="96" y="430"/>
                              </a:lnTo>
                              <a:lnTo>
                                <a:pt x="96" y="430"/>
                              </a:lnTo>
                              <a:lnTo>
                                <a:pt x="95" y="430"/>
                              </a:lnTo>
                              <a:lnTo>
                                <a:pt x="74" y="401"/>
                              </a:lnTo>
                              <a:lnTo>
                                <a:pt x="40" y="425"/>
                              </a:lnTo>
                              <a:lnTo>
                                <a:pt x="40" y="426"/>
                              </a:lnTo>
                              <a:lnTo>
                                <a:pt x="40" y="426"/>
                              </a:lnTo>
                              <a:lnTo>
                                <a:pt x="20" y="425"/>
                              </a:lnTo>
                              <a:lnTo>
                                <a:pt x="21" y="430"/>
                              </a:lnTo>
                              <a:lnTo>
                                <a:pt x="21" y="431"/>
                              </a:lnTo>
                              <a:lnTo>
                                <a:pt x="21" y="431"/>
                              </a:lnTo>
                              <a:lnTo>
                                <a:pt x="10" y="442"/>
                              </a:lnTo>
                              <a:lnTo>
                                <a:pt x="14" y="457"/>
                              </a:lnTo>
                              <a:lnTo>
                                <a:pt x="15" y="458"/>
                              </a:lnTo>
                              <a:lnTo>
                                <a:pt x="14" y="459"/>
                              </a:lnTo>
                              <a:lnTo>
                                <a:pt x="0" y="475"/>
                              </a:lnTo>
                              <a:lnTo>
                                <a:pt x="12" y="499"/>
                              </a:lnTo>
                              <a:lnTo>
                                <a:pt x="12" y="499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bg1">
                            <a:lumMod val="95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38" name="Freeform 249">
                          <a:extLst>
                            <a:ext uri="{FF2B5EF4-FFF2-40B4-BE49-F238E27FC236}">
                              <a16:creationId xmlns:a16="http://schemas.microsoft.com/office/drawing/2014/main" id="{59A64000-BD7C-497D-8F82-64C678FCD494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855421" y="2796938"/>
                          <a:ext cx="511986" cy="326275"/>
                        </a:xfrm>
                        <a:custGeom>
                          <a:avLst/>
                          <a:gdLst>
                            <a:gd name="T0" fmla="*/ 143 w 499"/>
                            <a:gd name="T1" fmla="*/ 226 h 318"/>
                            <a:gd name="T2" fmla="*/ 197 w 499"/>
                            <a:gd name="T3" fmla="*/ 234 h 318"/>
                            <a:gd name="T4" fmla="*/ 270 w 499"/>
                            <a:gd name="T5" fmla="*/ 280 h 318"/>
                            <a:gd name="T6" fmla="*/ 368 w 499"/>
                            <a:gd name="T7" fmla="*/ 301 h 318"/>
                            <a:gd name="T8" fmla="*/ 411 w 499"/>
                            <a:gd name="T9" fmla="*/ 318 h 318"/>
                            <a:gd name="T10" fmla="*/ 454 w 499"/>
                            <a:gd name="T11" fmla="*/ 293 h 318"/>
                            <a:gd name="T12" fmla="*/ 445 w 499"/>
                            <a:gd name="T13" fmla="*/ 227 h 318"/>
                            <a:gd name="T14" fmla="*/ 463 w 499"/>
                            <a:gd name="T15" fmla="*/ 176 h 318"/>
                            <a:gd name="T16" fmla="*/ 485 w 499"/>
                            <a:gd name="T17" fmla="*/ 154 h 318"/>
                            <a:gd name="T18" fmla="*/ 477 w 499"/>
                            <a:gd name="T19" fmla="*/ 106 h 318"/>
                            <a:gd name="T20" fmla="*/ 478 w 499"/>
                            <a:gd name="T21" fmla="*/ 105 h 318"/>
                            <a:gd name="T22" fmla="*/ 488 w 499"/>
                            <a:gd name="T23" fmla="*/ 73 h 318"/>
                            <a:gd name="T24" fmla="*/ 489 w 499"/>
                            <a:gd name="T25" fmla="*/ 71 h 318"/>
                            <a:gd name="T26" fmla="*/ 497 w 499"/>
                            <a:gd name="T27" fmla="*/ 50 h 318"/>
                            <a:gd name="T28" fmla="*/ 467 w 499"/>
                            <a:gd name="T29" fmla="*/ 52 h 318"/>
                            <a:gd name="T30" fmla="*/ 392 w 499"/>
                            <a:gd name="T31" fmla="*/ 0 h 318"/>
                            <a:gd name="T32" fmla="*/ 387 w 499"/>
                            <a:gd name="T33" fmla="*/ 21 h 318"/>
                            <a:gd name="T34" fmla="*/ 295 w 499"/>
                            <a:gd name="T35" fmla="*/ 30 h 318"/>
                            <a:gd name="T36" fmla="*/ 289 w 499"/>
                            <a:gd name="T37" fmla="*/ 55 h 318"/>
                            <a:gd name="T38" fmla="*/ 270 w 499"/>
                            <a:gd name="T39" fmla="*/ 60 h 318"/>
                            <a:gd name="T40" fmla="*/ 272 w 499"/>
                            <a:gd name="T41" fmla="*/ 77 h 318"/>
                            <a:gd name="T42" fmla="*/ 247 w 499"/>
                            <a:gd name="T43" fmla="*/ 94 h 318"/>
                            <a:gd name="T44" fmla="*/ 246 w 499"/>
                            <a:gd name="T45" fmla="*/ 111 h 318"/>
                            <a:gd name="T46" fmla="*/ 228 w 499"/>
                            <a:gd name="T47" fmla="*/ 115 h 318"/>
                            <a:gd name="T48" fmla="*/ 197 w 499"/>
                            <a:gd name="T49" fmla="*/ 141 h 318"/>
                            <a:gd name="T50" fmla="*/ 127 w 499"/>
                            <a:gd name="T51" fmla="*/ 132 h 318"/>
                            <a:gd name="T52" fmla="*/ 126 w 499"/>
                            <a:gd name="T53" fmla="*/ 131 h 318"/>
                            <a:gd name="T54" fmla="*/ 64 w 499"/>
                            <a:gd name="T55" fmla="*/ 100 h 318"/>
                            <a:gd name="T56" fmla="*/ 51 w 499"/>
                            <a:gd name="T57" fmla="*/ 134 h 318"/>
                            <a:gd name="T58" fmla="*/ 0 w 499"/>
                            <a:gd name="T59" fmla="*/ 138 h 318"/>
                            <a:gd name="T60" fmla="*/ 33 w 499"/>
                            <a:gd name="T61" fmla="*/ 224 h 318"/>
                            <a:gd name="T62" fmla="*/ 32 w 499"/>
                            <a:gd name="T63" fmla="*/ 227 h 318"/>
                            <a:gd name="T64" fmla="*/ 16 w 499"/>
                            <a:gd name="T65" fmla="*/ 273 h 31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499" h="318">
                              <a:moveTo>
                                <a:pt x="16" y="273"/>
                              </a:moveTo>
                              <a:lnTo>
                                <a:pt x="143" y="226"/>
                              </a:lnTo>
                              <a:lnTo>
                                <a:pt x="189" y="223"/>
                              </a:lnTo>
                              <a:lnTo>
                                <a:pt x="197" y="234"/>
                              </a:lnTo>
                              <a:lnTo>
                                <a:pt x="265" y="249"/>
                              </a:lnTo>
                              <a:lnTo>
                                <a:pt x="270" y="280"/>
                              </a:lnTo>
                              <a:lnTo>
                                <a:pt x="295" y="293"/>
                              </a:lnTo>
                              <a:lnTo>
                                <a:pt x="368" y="301"/>
                              </a:lnTo>
                              <a:lnTo>
                                <a:pt x="396" y="305"/>
                              </a:lnTo>
                              <a:lnTo>
                                <a:pt x="411" y="318"/>
                              </a:lnTo>
                              <a:lnTo>
                                <a:pt x="434" y="311"/>
                              </a:lnTo>
                              <a:lnTo>
                                <a:pt x="454" y="293"/>
                              </a:lnTo>
                              <a:lnTo>
                                <a:pt x="469" y="256"/>
                              </a:lnTo>
                              <a:lnTo>
                                <a:pt x="445" y="227"/>
                              </a:lnTo>
                              <a:lnTo>
                                <a:pt x="448" y="181"/>
                              </a:lnTo>
                              <a:lnTo>
                                <a:pt x="463" y="176"/>
                              </a:lnTo>
                              <a:lnTo>
                                <a:pt x="464" y="155"/>
                              </a:lnTo>
                              <a:lnTo>
                                <a:pt x="485" y="154"/>
                              </a:lnTo>
                              <a:lnTo>
                                <a:pt x="491" y="132"/>
                              </a:lnTo>
                              <a:lnTo>
                                <a:pt x="477" y="106"/>
                              </a:lnTo>
                              <a:lnTo>
                                <a:pt x="477" y="105"/>
                              </a:lnTo>
                              <a:lnTo>
                                <a:pt x="478" y="105"/>
                              </a:lnTo>
                              <a:lnTo>
                                <a:pt x="492" y="88"/>
                              </a:lnTo>
                              <a:lnTo>
                                <a:pt x="488" y="73"/>
                              </a:lnTo>
                              <a:lnTo>
                                <a:pt x="488" y="72"/>
                              </a:lnTo>
                              <a:lnTo>
                                <a:pt x="489" y="71"/>
                              </a:lnTo>
                              <a:lnTo>
                                <a:pt x="499" y="60"/>
                              </a:lnTo>
                              <a:lnTo>
                                <a:pt x="497" y="50"/>
                              </a:lnTo>
                              <a:lnTo>
                                <a:pt x="467" y="52"/>
                              </a:lnTo>
                              <a:lnTo>
                                <a:pt x="467" y="52"/>
                              </a:lnTo>
                              <a:lnTo>
                                <a:pt x="466" y="51"/>
                              </a:lnTo>
                              <a:lnTo>
                                <a:pt x="392" y="0"/>
                              </a:lnTo>
                              <a:lnTo>
                                <a:pt x="387" y="20"/>
                              </a:lnTo>
                              <a:lnTo>
                                <a:pt x="387" y="21"/>
                              </a:lnTo>
                              <a:lnTo>
                                <a:pt x="386" y="21"/>
                              </a:lnTo>
                              <a:lnTo>
                                <a:pt x="295" y="30"/>
                              </a:lnTo>
                              <a:lnTo>
                                <a:pt x="290" y="54"/>
                              </a:lnTo>
                              <a:lnTo>
                                <a:pt x="289" y="55"/>
                              </a:lnTo>
                              <a:lnTo>
                                <a:pt x="288" y="55"/>
                              </a:lnTo>
                              <a:lnTo>
                                <a:pt x="270" y="60"/>
                              </a:lnTo>
                              <a:lnTo>
                                <a:pt x="272" y="76"/>
                              </a:lnTo>
                              <a:lnTo>
                                <a:pt x="272" y="77"/>
                              </a:lnTo>
                              <a:lnTo>
                                <a:pt x="271" y="78"/>
                              </a:lnTo>
                              <a:lnTo>
                                <a:pt x="247" y="94"/>
                              </a:lnTo>
                              <a:lnTo>
                                <a:pt x="246" y="109"/>
                              </a:lnTo>
                              <a:lnTo>
                                <a:pt x="246" y="111"/>
                              </a:lnTo>
                              <a:lnTo>
                                <a:pt x="245" y="111"/>
                              </a:lnTo>
                              <a:lnTo>
                                <a:pt x="228" y="115"/>
                              </a:lnTo>
                              <a:lnTo>
                                <a:pt x="198" y="140"/>
                              </a:lnTo>
                              <a:lnTo>
                                <a:pt x="197" y="141"/>
                              </a:lnTo>
                              <a:lnTo>
                                <a:pt x="196" y="141"/>
                              </a:lnTo>
                              <a:lnTo>
                                <a:pt x="127" y="132"/>
                              </a:lnTo>
                              <a:lnTo>
                                <a:pt x="127" y="131"/>
                              </a:lnTo>
                              <a:lnTo>
                                <a:pt x="126" y="131"/>
                              </a:lnTo>
                              <a:lnTo>
                                <a:pt x="83" y="101"/>
                              </a:lnTo>
                              <a:lnTo>
                                <a:pt x="64" y="100"/>
                              </a:lnTo>
                              <a:lnTo>
                                <a:pt x="51" y="133"/>
                              </a:lnTo>
                              <a:lnTo>
                                <a:pt x="51" y="134"/>
                              </a:lnTo>
                              <a:lnTo>
                                <a:pt x="49" y="134"/>
                              </a:lnTo>
                              <a:lnTo>
                                <a:pt x="0" y="138"/>
                              </a:lnTo>
                              <a:lnTo>
                                <a:pt x="3" y="172"/>
                              </a:lnTo>
                              <a:lnTo>
                                <a:pt x="33" y="224"/>
                              </a:lnTo>
                              <a:lnTo>
                                <a:pt x="33" y="226"/>
                              </a:lnTo>
                              <a:lnTo>
                                <a:pt x="32" y="227"/>
                              </a:lnTo>
                              <a:lnTo>
                                <a:pt x="12" y="241"/>
                              </a:lnTo>
                              <a:lnTo>
                                <a:pt x="16" y="273"/>
                              </a:lnTo>
                              <a:lnTo>
                                <a:pt x="16" y="273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bg1">
                            <a:lumMod val="95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39" name="Freeform 250">
                          <a:extLst>
                            <a:ext uri="{FF2B5EF4-FFF2-40B4-BE49-F238E27FC236}">
                              <a16:creationId xmlns:a16="http://schemas.microsoft.com/office/drawing/2014/main" id="{87965638-E73B-4272-8E88-17B56EF7881A}"/>
                            </a:ext>
                          </a:extLst>
                        </p:cNvPr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2590707" y="2503496"/>
                          <a:ext cx="331406" cy="625874"/>
                        </a:xfrm>
                        <a:custGeom>
                          <a:avLst/>
                          <a:gdLst>
                            <a:gd name="T0" fmla="*/ 519 w 712"/>
                            <a:gd name="T1" fmla="*/ 809 h 1345"/>
                            <a:gd name="T2" fmla="*/ 614 w 712"/>
                            <a:gd name="T3" fmla="*/ 732 h 1345"/>
                            <a:gd name="T4" fmla="*/ 600 w 712"/>
                            <a:gd name="T5" fmla="*/ 693 h 1345"/>
                            <a:gd name="T6" fmla="*/ 611 w 712"/>
                            <a:gd name="T7" fmla="*/ 649 h 1345"/>
                            <a:gd name="T8" fmla="*/ 596 w 712"/>
                            <a:gd name="T9" fmla="*/ 590 h 1345"/>
                            <a:gd name="T10" fmla="*/ 637 w 712"/>
                            <a:gd name="T11" fmla="*/ 538 h 1345"/>
                            <a:gd name="T12" fmla="*/ 599 w 712"/>
                            <a:gd name="T13" fmla="*/ 456 h 1345"/>
                            <a:gd name="T14" fmla="*/ 596 w 712"/>
                            <a:gd name="T15" fmla="*/ 453 h 1345"/>
                            <a:gd name="T16" fmla="*/ 585 w 712"/>
                            <a:gd name="T17" fmla="*/ 415 h 1345"/>
                            <a:gd name="T18" fmla="*/ 632 w 712"/>
                            <a:gd name="T19" fmla="*/ 353 h 1345"/>
                            <a:gd name="T20" fmla="*/ 607 w 712"/>
                            <a:gd name="T21" fmla="*/ 292 h 1345"/>
                            <a:gd name="T22" fmla="*/ 618 w 712"/>
                            <a:gd name="T23" fmla="*/ 243 h 1345"/>
                            <a:gd name="T24" fmla="*/ 620 w 712"/>
                            <a:gd name="T25" fmla="*/ 241 h 1345"/>
                            <a:gd name="T26" fmla="*/ 712 w 712"/>
                            <a:gd name="T27" fmla="*/ 181 h 1345"/>
                            <a:gd name="T28" fmla="*/ 647 w 712"/>
                            <a:gd name="T29" fmla="*/ 55 h 1345"/>
                            <a:gd name="T30" fmla="*/ 657 w 712"/>
                            <a:gd name="T31" fmla="*/ 10 h 1345"/>
                            <a:gd name="T32" fmla="*/ 586 w 712"/>
                            <a:gd name="T33" fmla="*/ 41 h 1345"/>
                            <a:gd name="T34" fmla="*/ 494 w 712"/>
                            <a:gd name="T35" fmla="*/ 0 h 1345"/>
                            <a:gd name="T36" fmla="*/ 352 w 712"/>
                            <a:gd name="T37" fmla="*/ 61 h 1345"/>
                            <a:gd name="T38" fmla="*/ 349 w 712"/>
                            <a:gd name="T39" fmla="*/ 62 h 1345"/>
                            <a:gd name="T40" fmla="*/ 240 w 712"/>
                            <a:gd name="T41" fmla="*/ 347 h 1345"/>
                            <a:gd name="T42" fmla="*/ 283 w 712"/>
                            <a:gd name="T43" fmla="*/ 342 h 1345"/>
                            <a:gd name="T44" fmla="*/ 290 w 712"/>
                            <a:gd name="T45" fmla="*/ 403 h 1345"/>
                            <a:gd name="T46" fmla="*/ 345 w 712"/>
                            <a:gd name="T47" fmla="*/ 461 h 1345"/>
                            <a:gd name="T48" fmla="*/ 363 w 712"/>
                            <a:gd name="T49" fmla="*/ 512 h 1345"/>
                            <a:gd name="T50" fmla="*/ 417 w 712"/>
                            <a:gd name="T51" fmla="*/ 550 h 1345"/>
                            <a:gd name="T52" fmla="*/ 376 w 712"/>
                            <a:gd name="T53" fmla="*/ 598 h 1345"/>
                            <a:gd name="T54" fmla="*/ 408 w 712"/>
                            <a:gd name="T55" fmla="*/ 633 h 1345"/>
                            <a:gd name="T56" fmla="*/ 393 w 712"/>
                            <a:gd name="T57" fmla="*/ 694 h 1345"/>
                            <a:gd name="T58" fmla="*/ 391 w 712"/>
                            <a:gd name="T59" fmla="*/ 696 h 1345"/>
                            <a:gd name="T60" fmla="*/ 349 w 712"/>
                            <a:gd name="T61" fmla="*/ 789 h 1345"/>
                            <a:gd name="T62" fmla="*/ 440 w 712"/>
                            <a:gd name="T63" fmla="*/ 792 h 1345"/>
                            <a:gd name="T64" fmla="*/ 470 w 712"/>
                            <a:gd name="T65" fmla="*/ 827 h 1345"/>
                            <a:gd name="T66" fmla="*/ 7 w 712"/>
                            <a:gd name="T67" fmla="*/ 1086 h 1345"/>
                            <a:gd name="T68" fmla="*/ 79 w 712"/>
                            <a:gd name="T69" fmla="*/ 1200 h 1345"/>
                            <a:gd name="T70" fmla="*/ 177 w 712"/>
                            <a:gd name="T71" fmla="*/ 1250 h 1345"/>
                            <a:gd name="T72" fmla="*/ 271 w 712"/>
                            <a:gd name="T73" fmla="*/ 1263 h 1345"/>
                            <a:gd name="T74" fmla="*/ 399 w 712"/>
                            <a:gd name="T75" fmla="*/ 1345 h 1345"/>
                            <a:gd name="T76" fmla="*/ 527 w 712"/>
                            <a:gd name="T77" fmla="*/ 1289 h 1345"/>
                            <a:gd name="T78" fmla="*/ 585 w 712"/>
                            <a:gd name="T79" fmla="*/ 1160 h 1345"/>
                            <a:gd name="T80" fmla="*/ 587 w 712"/>
                            <a:gd name="T81" fmla="*/ 1156 h 1345"/>
                            <a:gd name="T82" fmla="*/ 568 w 712"/>
                            <a:gd name="T83" fmla="*/ 1012 h 1345"/>
                            <a:gd name="T84" fmla="*/ 567 w 712"/>
                            <a:gd name="T85" fmla="*/ 1011 h 1345"/>
                            <a:gd name="T86" fmla="*/ 504 w 712"/>
                            <a:gd name="T87" fmla="*/ 981 h 1345"/>
                            <a:gd name="T88" fmla="*/ 499 w 712"/>
                            <a:gd name="T89" fmla="*/ 980 h 1345"/>
                            <a:gd name="T90" fmla="*/ 446 w 712"/>
                            <a:gd name="T91" fmla="*/ 913 h 1345"/>
                            <a:gd name="T92" fmla="*/ 465 w 712"/>
                            <a:gd name="T93" fmla="*/ 832 h 1345"/>
                            <a:gd name="T94" fmla="*/ 349 w 712"/>
                            <a:gd name="T95" fmla="*/ 797 h 1345"/>
                            <a:gd name="T96" fmla="*/ 346 w 712"/>
                            <a:gd name="T97" fmla="*/ 799 h 1345"/>
                            <a:gd name="T98" fmla="*/ 289 w 712"/>
                            <a:gd name="T99" fmla="*/ 810 h 1345"/>
                            <a:gd name="T100" fmla="*/ 243 w 712"/>
                            <a:gd name="T101" fmla="*/ 774 h 1345"/>
                            <a:gd name="T102" fmla="*/ 239 w 712"/>
                            <a:gd name="T103" fmla="*/ 811 h 1345"/>
                            <a:gd name="T104" fmla="*/ 195 w 712"/>
                            <a:gd name="T105" fmla="*/ 877 h 1345"/>
                            <a:gd name="T106" fmla="*/ 191 w 712"/>
                            <a:gd name="T107" fmla="*/ 879 h 1345"/>
                            <a:gd name="T108" fmla="*/ 48 w 712"/>
                            <a:gd name="T109" fmla="*/ 893 h 1345"/>
                            <a:gd name="T110" fmla="*/ 62 w 712"/>
                            <a:gd name="T111" fmla="*/ 948 h 1345"/>
                            <a:gd name="T112" fmla="*/ 64 w 712"/>
                            <a:gd name="T113" fmla="*/ 951 h 1345"/>
                            <a:gd name="T114" fmla="*/ 76 w 712"/>
                            <a:gd name="T115" fmla="*/ 1003 h 1345"/>
                            <a:gd name="T116" fmla="*/ 0 w 712"/>
                            <a:gd name="T117" fmla="*/ 1012 h 134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  <a:cxn ang="0">
                              <a:pos x="T116" y="T117"/>
                            </a:cxn>
                          </a:cxnLst>
                          <a:rect l="0" t="0" r="r" b="b"/>
                          <a:pathLst>
                            <a:path w="712" h="1345">
                              <a:moveTo>
                                <a:pt x="470" y="827"/>
                              </a:moveTo>
                              <a:lnTo>
                                <a:pt x="519" y="809"/>
                              </a:lnTo>
                              <a:lnTo>
                                <a:pt x="554" y="792"/>
                              </a:lnTo>
                              <a:lnTo>
                                <a:pt x="614" y="732"/>
                              </a:lnTo>
                              <a:lnTo>
                                <a:pt x="600" y="694"/>
                              </a:lnTo>
                              <a:lnTo>
                                <a:pt x="600" y="693"/>
                              </a:lnTo>
                              <a:lnTo>
                                <a:pt x="600" y="692"/>
                              </a:lnTo>
                              <a:lnTo>
                                <a:pt x="611" y="649"/>
                              </a:lnTo>
                              <a:lnTo>
                                <a:pt x="596" y="592"/>
                              </a:lnTo>
                              <a:lnTo>
                                <a:pt x="596" y="590"/>
                              </a:lnTo>
                              <a:lnTo>
                                <a:pt x="597" y="588"/>
                              </a:lnTo>
                              <a:lnTo>
                                <a:pt x="637" y="538"/>
                              </a:lnTo>
                              <a:lnTo>
                                <a:pt x="657" y="476"/>
                              </a:lnTo>
                              <a:lnTo>
                                <a:pt x="599" y="456"/>
                              </a:lnTo>
                              <a:lnTo>
                                <a:pt x="597" y="455"/>
                              </a:lnTo>
                              <a:lnTo>
                                <a:pt x="596" y="453"/>
                              </a:lnTo>
                              <a:lnTo>
                                <a:pt x="585" y="417"/>
                              </a:lnTo>
                              <a:lnTo>
                                <a:pt x="585" y="415"/>
                              </a:lnTo>
                              <a:lnTo>
                                <a:pt x="586" y="413"/>
                              </a:lnTo>
                              <a:lnTo>
                                <a:pt x="632" y="353"/>
                              </a:lnTo>
                              <a:lnTo>
                                <a:pt x="607" y="293"/>
                              </a:lnTo>
                              <a:lnTo>
                                <a:pt x="607" y="292"/>
                              </a:lnTo>
                              <a:lnTo>
                                <a:pt x="607" y="291"/>
                              </a:lnTo>
                              <a:lnTo>
                                <a:pt x="618" y="243"/>
                              </a:lnTo>
                              <a:lnTo>
                                <a:pt x="619" y="241"/>
                              </a:lnTo>
                              <a:lnTo>
                                <a:pt x="620" y="241"/>
                              </a:lnTo>
                              <a:lnTo>
                                <a:pt x="682" y="212"/>
                              </a:lnTo>
                              <a:lnTo>
                                <a:pt x="712" y="181"/>
                              </a:lnTo>
                              <a:lnTo>
                                <a:pt x="648" y="56"/>
                              </a:lnTo>
                              <a:lnTo>
                                <a:pt x="647" y="55"/>
                              </a:lnTo>
                              <a:lnTo>
                                <a:pt x="647" y="54"/>
                              </a:lnTo>
                              <a:lnTo>
                                <a:pt x="657" y="10"/>
                              </a:lnTo>
                              <a:lnTo>
                                <a:pt x="587" y="40"/>
                              </a:lnTo>
                              <a:lnTo>
                                <a:pt x="586" y="41"/>
                              </a:lnTo>
                              <a:lnTo>
                                <a:pt x="584" y="40"/>
                              </a:lnTo>
                              <a:lnTo>
                                <a:pt x="494" y="0"/>
                              </a:lnTo>
                              <a:lnTo>
                                <a:pt x="391" y="15"/>
                              </a:lnTo>
                              <a:lnTo>
                                <a:pt x="352" y="61"/>
                              </a:lnTo>
                              <a:lnTo>
                                <a:pt x="350" y="62"/>
                              </a:lnTo>
                              <a:lnTo>
                                <a:pt x="349" y="62"/>
                              </a:lnTo>
                              <a:lnTo>
                                <a:pt x="243" y="62"/>
                              </a:lnTo>
                              <a:lnTo>
                                <a:pt x="240" y="347"/>
                              </a:lnTo>
                              <a:lnTo>
                                <a:pt x="279" y="342"/>
                              </a:lnTo>
                              <a:lnTo>
                                <a:pt x="283" y="342"/>
                              </a:lnTo>
                              <a:lnTo>
                                <a:pt x="283" y="346"/>
                              </a:lnTo>
                              <a:lnTo>
                                <a:pt x="290" y="403"/>
                              </a:lnTo>
                              <a:lnTo>
                                <a:pt x="344" y="460"/>
                              </a:lnTo>
                              <a:lnTo>
                                <a:pt x="345" y="461"/>
                              </a:lnTo>
                              <a:lnTo>
                                <a:pt x="345" y="462"/>
                              </a:lnTo>
                              <a:lnTo>
                                <a:pt x="363" y="512"/>
                              </a:lnTo>
                              <a:lnTo>
                                <a:pt x="413" y="547"/>
                              </a:lnTo>
                              <a:lnTo>
                                <a:pt x="417" y="550"/>
                              </a:lnTo>
                              <a:lnTo>
                                <a:pt x="414" y="553"/>
                              </a:lnTo>
                              <a:lnTo>
                                <a:pt x="376" y="598"/>
                              </a:lnTo>
                              <a:lnTo>
                                <a:pt x="406" y="632"/>
                              </a:lnTo>
                              <a:lnTo>
                                <a:pt x="408" y="633"/>
                              </a:lnTo>
                              <a:lnTo>
                                <a:pt x="407" y="635"/>
                              </a:lnTo>
                              <a:lnTo>
                                <a:pt x="393" y="694"/>
                              </a:lnTo>
                              <a:lnTo>
                                <a:pt x="392" y="695"/>
                              </a:lnTo>
                              <a:lnTo>
                                <a:pt x="391" y="696"/>
                              </a:lnTo>
                              <a:lnTo>
                                <a:pt x="353" y="721"/>
                              </a:lnTo>
                              <a:lnTo>
                                <a:pt x="349" y="789"/>
                              </a:lnTo>
                              <a:lnTo>
                                <a:pt x="438" y="792"/>
                              </a:lnTo>
                              <a:lnTo>
                                <a:pt x="440" y="792"/>
                              </a:lnTo>
                              <a:lnTo>
                                <a:pt x="441" y="793"/>
                              </a:lnTo>
                              <a:lnTo>
                                <a:pt x="470" y="827"/>
                              </a:lnTo>
                              <a:close/>
                              <a:moveTo>
                                <a:pt x="0" y="1012"/>
                              </a:moveTo>
                              <a:lnTo>
                                <a:pt x="7" y="1086"/>
                              </a:lnTo>
                              <a:lnTo>
                                <a:pt x="77" y="1126"/>
                              </a:lnTo>
                              <a:lnTo>
                                <a:pt x="79" y="1200"/>
                              </a:lnTo>
                              <a:lnTo>
                                <a:pt x="149" y="1215"/>
                              </a:lnTo>
                              <a:lnTo>
                                <a:pt x="177" y="1250"/>
                              </a:lnTo>
                              <a:lnTo>
                                <a:pt x="255" y="1208"/>
                              </a:lnTo>
                              <a:lnTo>
                                <a:pt x="271" y="1263"/>
                              </a:lnTo>
                              <a:lnTo>
                                <a:pt x="321" y="1337"/>
                              </a:lnTo>
                              <a:lnTo>
                                <a:pt x="399" y="1345"/>
                              </a:lnTo>
                              <a:lnTo>
                                <a:pt x="423" y="1293"/>
                              </a:lnTo>
                              <a:lnTo>
                                <a:pt x="527" y="1289"/>
                              </a:lnTo>
                              <a:lnTo>
                                <a:pt x="597" y="1237"/>
                              </a:lnTo>
                              <a:lnTo>
                                <a:pt x="585" y="1160"/>
                              </a:lnTo>
                              <a:lnTo>
                                <a:pt x="585" y="1158"/>
                              </a:lnTo>
                              <a:lnTo>
                                <a:pt x="587" y="1156"/>
                              </a:lnTo>
                              <a:lnTo>
                                <a:pt x="631" y="1126"/>
                              </a:lnTo>
                              <a:lnTo>
                                <a:pt x="568" y="1012"/>
                              </a:lnTo>
                              <a:lnTo>
                                <a:pt x="567" y="1011"/>
                              </a:lnTo>
                              <a:lnTo>
                                <a:pt x="567" y="1011"/>
                              </a:lnTo>
                              <a:lnTo>
                                <a:pt x="560" y="938"/>
                              </a:lnTo>
                              <a:lnTo>
                                <a:pt x="504" y="981"/>
                              </a:lnTo>
                              <a:lnTo>
                                <a:pt x="501" y="983"/>
                              </a:lnTo>
                              <a:lnTo>
                                <a:pt x="499" y="980"/>
                              </a:lnTo>
                              <a:lnTo>
                                <a:pt x="448" y="914"/>
                              </a:lnTo>
                              <a:lnTo>
                                <a:pt x="446" y="913"/>
                              </a:lnTo>
                              <a:lnTo>
                                <a:pt x="447" y="911"/>
                              </a:lnTo>
                              <a:lnTo>
                                <a:pt x="465" y="832"/>
                              </a:lnTo>
                              <a:lnTo>
                                <a:pt x="436" y="800"/>
                              </a:lnTo>
                              <a:lnTo>
                                <a:pt x="349" y="797"/>
                              </a:lnTo>
                              <a:lnTo>
                                <a:pt x="349" y="798"/>
                              </a:lnTo>
                              <a:lnTo>
                                <a:pt x="346" y="799"/>
                              </a:lnTo>
                              <a:lnTo>
                                <a:pt x="291" y="810"/>
                              </a:lnTo>
                              <a:lnTo>
                                <a:pt x="289" y="810"/>
                              </a:lnTo>
                              <a:lnTo>
                                <a:pt x="288" y="809"/>
                              </a:lnTo>
                              <a:lnTo>
                                <a:pt x="243" y="774"/>
                              </a:lnTo>
                              <a:lnTo>
                                <a:pt x="240" y="810"/>
                              </a:lnTo>
                              <a:lnTo>
                                <a:pt x="239" y="811"/>
                              </a:lnTo>
                              <a:lnTo>
                                <a:pt x="239" y="812"/>
                              </a:lnTo>
                              <a:lnTo>
                                <a:pt x="195" y="877"/>
                              </a:lnTo>
                              <a:lnTo>
                                <a:pt x="194" y="879"/>
                              </a:lnTo>
                              <a:lnTo>
                                <a:pt x="191" y="879"/>
                              </a:lnTo>
                              <a:lnTo>
                                <a:pt x="112" y="872"/>
                              </a:lnTo>
                              <a:lnTo>
                                <a:pt x="48" y="893"/>
                              </a:lnTo>
                              <a:lnTo>
                                <a:pt x="23" y="928"/>
                              </a:lnTo>
                              <a:lnTo>
                                <a:pt x="62" y="948"/>
                              </a:lnTo>
                              <a:lnTo>
                                <a:pt x="64" y="949"/>
                              </a:lnTo>
                              <a:lnTo>
                                <a:pt x="64" y="951"/>
                              </a:lnTo>
                              <a:lnTo>
                                <a:pt x="75" y="998"/>
                              </a:lnTo>
                              <a:lnTo>
                                <a:pt x="76" y="1003"/>
                              </a:lnTo>
                              <a:lnTo>
                                <a:pt x="72" y="1003"/>
                              </a:lnTo>
                              <a:lnTo>
                                <a:pt x="0" y="1012"/>
                              </a:lnTo>
                              <a:lnTo>
                                <a:pt x="0" y="1012"/>
                              </a:lnTo>
                            </a:path>
                          </a:pathLst>
                        </a:custGeom>
                        <a:solidFill>
                          <a:schemeClr val="bg1">
                            <a:lumMod val="95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40" name="Freeform 251">
                          <a:extLst>
                            <a:ext uri="{FF2B5EF4-FFF2-40B4-BE49-F238E27FC236}">
                              <a16:creationId xmlns:a16="http://schemas.microsoft.com/office/drawing/2014/main" id="{E65636F8-3E1B-4AF7-A16F-5C2A23053E46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334202" y="2638930"/>
                          <a:ext cx="445294" cy="331406"/>
                        </a:xfrm>
                        <a:custGeom>
                          <a:avLst/>
                          <a:gdLst>
                            <a:gd name="T0" fmla="*/ 48 w 434"/>
                            <a:gd name="T1" fmla="*/ 262 h 323"/>
                            <a:gd name="T2" fmla="*/ 92 w 434"/>
                            <a:gd name="T3" fmla="*/ 233 h 323"/>
                            <a:gd name="T4" fmla="*/ 113 w 434"/>
                            <a:gd name="T5" fmla="*/ 266 h 323"/>
                            <a:gd name="T6" fmla="*/ 210 w 434"/>
                            <a:gd name="T7" fmla="*/ 280 h 323"/>
                            <a:gd name="T8" fmla="*/ 249 w 434"/>
                            <a:gd name="T9" fmla="*/ 323 h 323"/>
                            <a:gd name="T10" fmla="*/ 276 w 434"/>
                            <a:gd name="T11" fmla="*/ 301 h 323"/>
                            <a:gd name="T12" fmla="*/ 255 w 434"/>
                            <a:gd name="T13" fmla="*/ 290 h 323"/>
                            <a:gd name="T14" fmla="*/ 270 w 434"/>
                            <a:gd name="T15" fmla="*/ 270 h 323"/>
                            <a:gd name="T16" fmla="*/ 270 w 434"/>
                            <a:gd name="T17" fmla="*/ 270 h 323"/>
                            <a:gd name="T18" fmla="*/ 300 w 434"/>
                            <a:gd name="T19" fmla="*/ 260 h 323"/>
                            <a:gd name="T20" fmla="*/ 336 w 434"/>
                            <a:gd name="T21" fmla="*/ 263 h 323"/>
                            <a:gd name="T22" fmla="*/ 357 w 434"/>
                            <a:gd name="T23" fmla="*/ 215 h 323"/>
                            <a:gd name="T24" fmla="*/ 360 w 434"/>
                            <a:gd name="T25" fmla="*/ 214 h 323"/>
                            <a:gd name="T26" fmla="*/ 405 w 434"/>
                            <a:gd name="T27" fmla="*/ 227 h 323"/>
                            <a:gd name="T28" fmla="*/ 407 w 434"/>
                            <a:gd name="T29" fmla="*/ 193 h 323"/>
                            <a:gd name="T30" fmla="*/ 425 w 434"/>
                            <a:gd name="T31" fmla="*/ 181 h 323"/>
                            <a:gd name="T32" fmla="*/ 417 w 434"/>
                            <a:gd name="T33" fmla="*/ 140 h 323"/>
                            <a:gd name="T34" fmla="*/ 417 w 434"/>
                            <a:gd name="T35" fmla="*/ 138 h 323"/>
                            <a:gd name="T36" fmla="*/ 412 w 434"/>
                            <a:gd name="T37" fmla="*/ 102 h 323"/>
                            <a:gd name="T38" fmla="*/ 412 w 434"/>
                            <a:gd name="T39" fmla="*/ 101 h 323"/>
                            <a:gd name="T40" fmla="*/ 379 w 434"/>
                            <a:gd name="T41" fmla="*/ 52 h 323"/>
                            <a:gd name="T42" fmla="*/ 379 w 434"/>
                            <a:gd name="T43" fmla="*/ 52 h 323"/>
                            <a:gd name="T44" fmla="*/ 358 w 434"/>
                            <a:gd name="T45" fmla="*/ 29 h 323"/>
                            <a:gd name="T46" fmla="*/ 335 w 434"/>
                            <a:gd name="T47" fmla="*/ 50 h 323"/>
                            <a:gd name="T48" fmla="*/ 292 w 434"/>
                            <a:gd name="T49" fmla="*/ 46 h 323"/>
                            <a:gd name="T50" fmla="*/ 278 w 434"/>
                            <a:gd name="T51" fmla="*/ 57 h 323"/>
                            <a:gd name="T52" fmla="*/ 264 w 434"/>
                            <a:gd name="T53" fmla="*/ 45 h 323"/>
                            <a:gd name="T54" fmla="*/ 226 w 434"/>
                            <a:gd name="T55" fmla="*/ 82 h 323"/>
                            <a:gd name="T56" fmla="*/ 196 w 434"/>
                            <a:gd name="T57" fmla="*/ 53 h 323"/>
                            <a:gd name="T58" fmla="*/ 195 w 434"/>
                            <a:gd name="T59" fmla="*/ 52 h 323"/>
                            <a:gd name="T60" fmla="*/ 167 w 434"/>
                            <a:gd name="T61" fmla="*/ 0 h 323"/>
                            <a:gd name="T62" fmla="*/ 68 w 434"/>
                            <a:gd name="T63" fmla="*/ 33 h 323"/>
                            <a:gd name="T64" fmla="*/ 47 w 434"/>
                            <a:gd name="T65" fmla="*/ 24 h 323"/>
                            <a:gd name="T66" fmla="*/ 37 w 434"/>
                            <a:gd name="T67" fmla="*/ 32 h 323"/>
                            <a:gd name="T68" fmla="*/ 20 w 434"/>
                            <a:gd name="T69" fmla="*/ 21 h 323"/>
                            <a:gd name="T70" fmla="*/ 0 w 434"/>
                            <a:gd name="T71" fmla="*/ 33 h 32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</a:cxnLst>
                          <a:rect l="0" t="0" r="r" b="b"/>
                          <a:pathLst>
                            <a:path w="434" h="323">
                              <a:moveTo>
                                <a:pt x="0" y="33"/>
                              </a:moveTo>
                              <a:lnTo>
                                <a:pt x="48" y="262"/>
                              </a:lnTo>
                              <a:lnTo>
                                <a:pt x="73" y="258"/>
                              </a:lnTo>
                              <a:lnTo>
                                <a:pt x="92" y="233"/>
                              </a:lnTo>
                              <a:lnTo>
                                <a:pt x="108" y="239"/>
                              </a:lnTo>
                              <a:lnTo>
                                <a:pt x="113" y="266"/>
                              </a:lnTo>
                              <a:lnTo>
                                <a:pt x="167" y="296"/>
                              </a:lnTo>
                              <a:lnTo>
                                <a:pt x="210" y="280"/>
                              </a:lnTo>
                              <a:lnTo>
                                <a:pt x="233" y="290"/>
                              </a:lnTo>
                              <a:lnTo>
                                <a:pt x="249" y="323"/>
                              </a:lnTo>
                              <a:lnTo>
                                <a:pt x="280" y="320"/>
                              </a:lnTo>
                              <a:lnTo>
                                <a:pt x="276" y="301"/>
                              </a:lnTo>
                              <a:lnTo>
                                <a:pt x="257" y="291"/>
                              </a:lnTo>
                              <a:lnTo>
                                <a:pt x="255" y="290"/>
                              </a:lnTo>
                              <a:lnTo>
                                <a:pt x="256" y="289"/>
                              </a:lnTo>
                              <a:lnTo>
                                <a:pt x="270" y="270"/>
                              </a:lnTo>
                              <a:lnTo>
                                <a:pt x="270" y="270"/>
                              </a:lnTo>
                              <a:lnTo>
                                <a:pt x="270" y="270"/>
                              </a:lnTo>
                              <a:lnTo>
                                <a:pt x="300" y="260"/>
                              </a:lnTo>
                              <a:lnTo>
                                <a:pt x="300" y="260"/>
                              </a:lnTo>
                              <a:lnTo>
                                <a:pt x="301" y="260"/>
                              </a:lnTo>
                              <a:lnTo>
                                <a:pt x="336" y="263"/>
                              </a:lnTo>
                              <a:lnTo>
                                <a:pt x="355" y="234"/>
                              </a:lnTo>
                              <a:lnTo>
                                <a:pt x="357" y="215"/>
                              </a:lnTo>
                              <a:lnTo>
                                <a:pt x="357" y="212"/>
                              </a:lnTo>
                              <a:lnTo>
                                <a:pt x="360" y="214"/>
                              </a:lnTo>
                              <a:lnTo>
                                <a:pt x="382" y="232"/>
                              </a:lnTo>
                              <a:lnTo>
                                <a:pt x="405" y="227"/>
                              </a:lnTo>
                              <a:lnTo>
                                <a:pt x="407" y="194"/>
                              </a:lnTo>
                              <a:lnTo>
                                <a:pt x="407" y="193"/>
                              </a:lnTo>
                              <a:lnTo>
                                <a:pt x="407" y="192"/>
                              </a:lnTo>
                              <a:lnTo>
                                <a:pt x="425" y="181"/>
                              </a:lnTo>
                              <a:lnTo>
                                <a:pt x="431" y="156"/>
                              </a:lnTo>
                              <a:lnTo>
                                <a:pt x="417" y="140"/>
                              </a:lnTo>
                              <a:lnTo>
                                <a:pt x="416" y="139"/>
                              </a:lnTo>
                              <a:lnTo>
                                <a:pt x="417" y="138"/>
                              </a:lnTo>
                              <a:lnTo>
                                <a:pt x="434" y="118"/>
                              </a:lnTo>
                              <a:lnTo>
                                <a:pt x="412" y="102"/>
                              </a:lnTo>
                              <a:lnTo>
                                <a:pt x="412" y="102"/>
                              </a:lnTo>
                              <a:lnTo>
                                <a:pt x="412" y="101"/>
                              </a:lnTo>
                              <a:lnTo>
                                <a:pt x="403" y="79"/>
                              </a:lnTo>
                              <a:lnTo>
                                <a:pt x="379" y="52"/>
                              </a:lnTo>
                              <a:lnTo>
                                <a:pt x="379" y="52"/>
                              </a:lnTo>
                              <a:lnTo>
                                <a:pt x="379" y="52"/>
                              </a:lnTo>
                              <a:lnTo>
                                <a:pt x="375" y="27"/>
                              </a:lnTo>
                              <a:lnTo>
                                <a:pt x="358" y="29"/>
                              </a:lnTo>
                              <a:lnTo>
                                <a:pt x="336" y="49"/>
                              </a:lnTo>
                              <a:lnTo>
                                <a:pt x="335" y="50"/>
                              </a:lnTo>
                              <a:lnTo>
                                <a:pt x="334" y="50"/>
                              </a:lnTo>
                              <a:lnTo>
                                <a:pt x="292" y="46"/>
                              </a:lnTo>
                              <a:lnTo>
                                <a:pt x="279" y="56"/>
                              </a:lnTo>
                              <a:lnTo>
                                <a:pt x="278" y="57"/>
                              </a:lnTo>
                              <a:lnTo>
                                <a:pt x="277" y="56"/>
                              </a:lnTo>
                              <a:lnTo>
                                <a:pt x="264" y="45"/>
                              </a:lnTo>
                              <a:lnTo>
                                <a:pt x="227" y="81"/>
                              </a:lnTo>
                              <a:lnTo>
                                <a:pt x="226" y="82"/>
                              </a:lnTo>
                              <a:lnTo>
                                <a:pt x="225" y="81"/>
                              </a:lnTo>
                              <a:lnTo>
                                <a:pt x="196" y="53"/>
                              </a:lnTo>
                              <a:lnTo>
                                <a:pt x="196" y="53"/>
                              </a:lnTo>
                              <a:lnTo>
                                <a:pt x="195" y="52"/>
                              </a:lnTo>
                              <a:lnTo>
                                <a:pt x="190" y="31"/>
                              </a:lnTo>
                              <a:lnTo>
                                <a:pt x="167" y="0"/>
                              </a:lnTo>
                              <a:lnTo>
                                <a:pt x="69" y="33"/>
                              </a:lnTo>
                              <a:lnTo>
                                <a:pt x="68" y="33"/>
                              </a:lnTo>
                              <a:lnTo>
                                <a:pt x="68" y="33"/>
                              </a:lnTo>
                              <a:lnTo>
                                <a:pt x="47" y="24"/>
                              </a:lnTo>
                              <a:lnTo>
                                <a:pt x="38" y="31"/>
                              </a:lnTo>
                              <a:lnTo>
                                <a:pt x="37" y="32"/>
                              </a:lnTo>
                              <a:lnTo>
                                <a:pt x="36" y="31"/>
                              </a:lnTo>
                              <a:lnTo>
                                <a:pt x="20" y="21"/>
                              </a:lnTo>
                              <a:lnTo>
                                <a:pt x="0" y="33"/>
                              </a:lnTo>
                              <a:lnTo>
                                <a:pt x="0" y="33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bg1">
                            <a:lumMod val="95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41" name="Freeform 252">
                          <a:extLst>
                            <a:ext uri="{FF2B5EF4-FFF2-40B4-BE49-F238E27FC236}">
                              <a16:creationId xmlns:a16="http://schemas.microsoft.com/office/drawing/2014/main" id="{916D3D70-0047-419F-A04A-758BEAFA9CE3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258276" y="2340358"/>
                          <a:ext cx="441190" cy="377576"/>
                        </a:xfrm>
                        <a:custGeom>
                          <a:avLst/>
                          <a:gdLst>
                            <a:gd name="T0" fmla="*/ 0 w 430"/>
                            <a:gd name="T1" fmla="*/ 227 h 368"/>
                            <a:gd name="T2" fmla="*/ 51 w 430"/>
                            <a:gd name="T3" fmla="*/ 228 h 368"/>
                            <a:gd name="T4" fmla="*/ 30 w 430"/>
                            <a:gd name="T5" fmla="*/ 250 h 368"/>
                            <a:gd name="T6" fmla="*/ 73 w 430"/>
                            <a:gd name="T7" fmla="*/ 321 h 368"/>
                            <a:gd name="T8" fmla="*/ 93 w 430"/>
                            <a:gd name="T9" fmla="*/ 308 h 368"/>
                            <a:gd name="T10" fmla="*/ 94 w 430"/>
                            <a:gd name="T11" fmla="*/ 308 h 368"/>
                            <a:gd name="T12" fmla="*/ 95 w 430"/>
                            <a:gd name="T13" fmla="*/ 308 h 368"/>
                            <a:gd name="T14" fmla="*/ 111 w 430"/>
                            <a:gd name="T15" fmla="*/ 318 h 368"/>
                            <a:gd name="T16" fmla="*/ 120 w 430"/>
                            <a:gd name="T17" fmla="*/ 312 h 368"/>
                            <a:gd name="T18" fmla="*/ 121 w 430"/>
                            <a:gd name="T19" fmla="*/ 311 h 368"/>
                            <a:gd name="T20" fmla="*/ 122 w 430"/>
                            <a:gd name="T21" fmla="*/ 312 h 368"/>
                            <a:gd name="T22" fmla="*/ 143 w 430"/>
                            <a:gd name="T23" fmla="*/ 321 h 368"/>
                            <a:gd name="T24" fmla="*/ 241 w 430"/>
                            <a:gd name="T25" fmla="*/ 287 h 368"/>
                            <a:gd name="T26" fmla="*/ 242 w 430"/>
                            <a:gd name="T27" fmla="*/ 286 h 368"/>
                            <a:gd name="T28" fmla="*/ 243 w 430"/>
                            <a:gd name="T29" fmla="*/ 288 h 368"/>
                            <a:gd name="T30" fmla="*/ 267 w 430"/>
                            <a:gd name="T31" fmla="*/ 320 h 368"/>
                            <a:gd name="T32" fmla="*/ 268 w 430"/>
                            <a:gd name="T33" fmla="*/ 321 h 368"/>
                            <a:gd name="T34" fmla="*/ 268 w 430"/>
                            <a:gd name="T35" fmla="*/ 321 h 368"/>
                            <a:gd name="T36" fmla="*/ 273 w 430"/>
                            <a:gd name="T37" fmla="*/ 342 h 368"/>
                            <a:gd name="T38" fmla="*/ 300 w 430"/>
                            <a:gd name="T39" fmla="*/ 368 h 368"/>
                            <a:gd name="T40" fmla="*/ 337 w 430"/>
                            <a:gd name="T41" fmla="*/ 333 h 368"/>
                            <a:gd name="T42" fmla="*/ 338 w 430"/>
                            <a:gd name="T43" fmla="*/ 331 h 368"/>
                            <a:gd name="T44" fmla="*/ 339 w 430"/>
                            <a:gd name="T45" fmla="*/ 333 h 368"/>
                            <a:gd name="T46" fmla="*/ 352 w 430"/>
                            <a:gd name="T47" fmla="*/ 343 h 368"/>
                            <a:gd name="T48" fmla="*/ 364 w 430"/>
                            <a:gd name="T49" fmla="*/ 333 h 368"/>
                            <a:gd name="T50" fmla="*/ 365 w 430"/>
                            <a:gd name="T51" fmla="*/ 333 h 368"/>
                            <a:gd name="T52" fmla="*/ 366 w 430"/>
                            <a:gd name="T53" fmla="*/ 333 h 368"/>
                            <a:gd name="T54" fmla="*/ 408 w 430"/>
                            <a:gd name="T55" fmla="*/ 337 h 368"/>
                            <a:gd name="T56" fmla="*/ 429 w 430"/>
                            <a:gd name="T57" fmla="*/ 318 h 368"/>
                            <a:gd name="T58" fmla="*/ 430 w 430"/>
                            <a:gd name="T59" fmla="*/ 187 h 368"/>
                            <a:gd name="T60" fmla="*/ 413 w 430"/>
                            <a:gd name="T61" fmla="*/ 187 h 368"/>
                            <a:gd name="T62" fmla="*/ 389 w 430"/>
                            <a:gd name="T63" fmla="*/ 207 h 368"/>
                            <a:gd name="T64" fmla="*/ 388 w 430"/>
                            <a:gd name="T65" fmla="*/ 208 h 368"/>
                            <a:gd name="T66" fmla="*/ 387 w 430"/>
                            <a:gd name="T67" fmla="*/ 206 h 368"/>
                            <a:gd name="T68" fmla="*/ 376 w 430"/>
                            <a:gd name="T69" fmla="*/ 193 h 368"/>
                            <a:gd name="T70" fmla="*/ 376 w 430"/>
                            <a:gd name="T71" fmla="*/ 193 h 368"/>
                            <a:gd name="T72" fmla="*/ 376 w 430"/>
                            <a:gd name="T73" fmla="*/ 192 h 368"/>
                            <a:gd name="T74" fmla="*/ 379 w 430"/>
                            <a:gd name="T75" fmla="*/ 142 h 368"/>
                            <a:gd name="T76" fmla="*/ 308 w 430"/>
                            <a:gd name="T77" fmla="*/ 141 h 368"/>
                            <a:gd name="T78" fmla="*/ 307 w 430"/>
                            <a:gd name="T79" fmla="*/ 141 h 368"/>
                            <a:gd name="T80" fmla="*/ 306 w 430"/>
                            <a:gd name="T81" fmla="*/ 140 h 368"/>
                            <a:gd name="T82" fmla="*/ 294 w 430"/>
                            <a:gd name="T83" fmla="*/ 116 h 368"/>
                            <a:gd name="T84" fmla="*/ 257 w 430"/>
                            <a:gd name="T85" fmla="*/ 117 h 368"/>
                            <a:gd name="T86" fmla="*/ 255 w 430"/>
                            <a:gd name="T87" fmla="*/ 117 h 368"/>
                            <a:gd name="T88" fmla="*/ 255 w 430"/>
                            <a:gd name="T89" fmla="*/ 116 h 368"/>
                            <a:gd name="T90" fmla="*/ 248 w 430"/>
                            <a:gd name="T91" fmla="*/ 89 h 368"/>
                            <a:gd name="T92" fmla="*/ 225 w 430"/>
                            <a:gd name="T93" fmla="*/ 59 h 368"/>
                            <a:gd name="T94" fmla="*/ 100 w 430"/>
                            <a:gd name="T95" fmla="*/ 0 h 368"/>
                            <a:gd name="T96" fmla="*/ 100 w 430"/>
                            <a:gd name="T97" fmla="*/ 40 h 368"/>
                            <a:gd name="T98" fmla="*/ 100 w 430"/>
                            <a:gd name="T99" fmla="*/ 41 h 368"/>
                            <a:gd name="T100" fmla="*/ 99 w 430"/>
                            <a:gd name="T101" fmla="*/ 42 h 368"/>
                            <a:gd name="T102" fmla="*/ 76 w 430"/>
                            <a:gd name="T103" fmla="*/ 55 h 368"/>
                            <a:gd name="T104" fmla="*/ 83 w 430"/>
                            <a:gd name="T105" fmla="*/ 82 h 368"/>
                            <a:gd name="T106" fmla="*/ 83 w 430"/>
                            <a:gd name="T107" fmla="*/ 84 h 368"/>
                            <a:gd name="T108" fmla="*/ 81 w 430"/>
                            <a:gd name="T109" fmla="*/ 84 h 368"/>
                            <a:gd name="T110" fmla="*/ 50 w 430"/>
                            <a:gd name="T111" fmla="*/ 82 h 368"/>
                            <a:gd name="T112" fmla="*/ 27 w 430"/>
                            <a:gd name="T113" fmla="*/ 92 h 368"/>
                            <a:gd name="T114" fmla="*/ 13 w 430"/>
                            <a:gd name="T115" fmla="*/ 116 h 368"/>
                            <a:gd name="T116" fmla="*/ 16 w 430"/>
                            <a:gd name="T117" fmla="*/ 188 h 368"/>
                            <a:gd name="T118" fmla="*/ 16 w 430"/>
                            <a:gd name="T119" fmla="*/ 188 h 368"/>
                            <a:gd name="T120" fmla="*/ 16 w 430"/>
                            <a:gd name="T121" fmla="*/ 189 h 368"/>
                            <a:gd name="T122" fmla="*/ 0 w 430"/>
                            <a:gd name="T123" fmla="*/ 227 h 368"/>
                            <a:gd name="T124" fmla="*/ 0 w 430"/>
                            <a:gd name="T125" fmla="*/ 227 h 36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  <a:cxn ang="0">
                              <a:pos x="T116" y="T117"/>
                            </a:cxn>
                            <a:cxn ang="0">
                              <a:pos x="T118" y="T119"/>
                            </a:cxn>
                            <a:cxn ang="0">
                              <a:pos x="T120" y="T121"/>
                            </a:cxn>
                            <a:cxn ang="0">
                              <a:pos x="T122" y="T123"/>
                            </a:cxn>
                            <a:cxn ang="0">
                              <a:pos x="T124" y="T125"/>
                            </a:cxn>
                          </a:cxnLst>
                          <a:rect l="0" t="0" r="r" b="b"/>
                          <a:pathLst>
                            <a:path w="430" h="368">
                              <a:moveTo>
                                <a:pt x="0" y="227"/>
                              </a:moveTo>
                              <a:lnTo>
                                <a:pt x="51" y="228"/>
                              </a:lnTo>
                              <a:lnTo>
                                <a:pt x="30" y="250"/>
                              </a:lnTo>
                              <a:lnTo>
                                <a:pt x="73" y="321"/>
                              </a:lnTo>
                              <a:lnTo>
                                <a:pt x="93" y="308"/>
                              </a:lnTo>
                              <a:lnTo>
                                <a:pt x="94" y="308"/>
                              </a:lnTo>
                              <a:lnTo>
                                <a:pt x="95" y="308"/>
                              </a:lnTo>
                              <a:lnTo>
                                <a:pt x="111" y="318"/>
                              </a:lnTo>
                              <a:lnTo>
                                <a:pt x="120" y="312"/>
                              </a:lnTo>
                              <a:lnTo>
                                <a:pt x="121" y="311"/>
                              </a:lnTo>
                              <a:lnTo>
                                <a:pt x="122" y="312"/>
                              </a:lnTo>
                              <a:lnTo>
                                <a:pt x="143" y="321"/>
                              </a:lnTo>
                              <a:lnTo>
                                <a:pt x="241" y="287"/>
                              </a:lnTo>
                              <a:lnTo>
                                <a:pt x="242" y="286"/>
                              </a:lnTo>
                              <a:lnTo>
                                <a:pt x="243" y="288"/>
                              </a:lnTo>
                              <a:lnTo>
                                <a:pt x="267" y="320"/>
                              </a:lnTo>
                              <a:lnTo>
                                <a:pt x="268" y="321"/>
                              </a:lnTo>
                              <a:lnTo>
                                <a:pt x="268" y="321"/>
                              </a:lnTo>
                              <a:lnTo>
                                <a:pt x="273" y="342"/>
                              </a:lnTo>
                              <a:lnTo>
                                <a:pt x="300" y="368"/>
                              </a:lnTo>
                              <a:lnTo>
                                <a:pt x="337" y="333"/>
                              </a:lnTo>
                              <a:lnTo>
                                <a:pt x="338" y="331"/>
                              </a:lnTo>
                              <a:lnTo>
                                <a:pt x="339" y="333"/>
                              </a:lnTo>
                              <a:lnTo>
                                <a:pt x="352" y="343"/>
                              </a:lnTo>
                              <a:lnTo>
                                <a:pt x="364" y="333"/>
                              </a:lnTo>
                              <a:lnTo>
                                <a:pt x="365" y="333"/>
                              </a:lnTo>
                              <a:lnTo>
                                <a:pt x="366" y="333"/>
                              </a:lnTo>
                              <a:lnTo>
                                <a:pt x="408" y="337"/>
                              </a:lnTo>
                              <a:lnTo>
                                <a:pt x="429" y="318"/>
                              </a:lnTo>
                              <a:lnTo>
                                <a:pt x="430" y="187"/>
                              </a:lnTo>
                              <a:lnTo>
                                <a:pt x="413" y="187"/>
                              </a:lnTo>
                              <a:lnTo>
                                <a:pt x="389" y="207"/>
                              </a:lnTo>
                              <a:lnTo>
                                <a:pt x="388" y="208"/>
                              </a:lnTo>
                              <a:lnTo>
                                <a:pt x="387" y="206"/>
                              </a:lnTo>
                              <a:lnTo>
                                <a:pt x="376" y="193"/>
                              </a:lnTo>
                              <a:lnTo>
                                <a:pt x="376" y="193"/>
                              </a:lnTo>
                              <a:lnTo>
                                <a:pt x="376" y="192"/>
                              </a:lnTo>
                              <a:lnTo>
                                <a:pt x="379" y="142"/>
                              </a:lnTo>
                              <a:lnTo>
                                <a:pt x="308" y="141"/>
                              </a:lnTo>
                              <a:lnTo>
                                <a:pt x="307" y="141"/>
                              </a:lnTo>
                              <a:lnTo>
                                <a:pt x="306" y="140"/>
                              </a:lnTo>
                              <a:lnTo>
                                <a:pt x="294" y="116"/>
                              </a:lnTo>
                              <a:lnTo>
                                <a:pt x="257" y="117"/>
                              </a:lnTo>
                              <a:lnTo>
                                <a:pt x="255" y="117"/>
                              </a:lnTo>
                              <a:lnTo>
                                <a:pt x="255" y="116"/>
                              </a:lnTo>
                              <a:lnTo>
                                <a:pt x="248" y="89"/>
                              </a:lnTo>
                              <a:lnTo>
                                <a:pt x="225" y="59"/>
                              </a:lnTo>
                              <a:lnTo>
                                <a:pt x="100" y="0"/>
                              </a:lnTo>
                              <a:lnTo>
                                <a:pt x="100" y="40"/>
                              </a:lnTo>
                              <a:lnTo>
                                <a:pt x="100" y="41"/>
                              </a:lnTo>
                              <a:lnTo>
                                <a:pt x="99" y="42"/>
                              </a:lnTo>
                              <a:lnTo>
                                <a:pt x="76" y="55"/>
                              </a:lnTo>
                              <a:lnTo>
                                <a:pt x="83" y="82"/>
                              </a:lnTo>
                              <a:lnTo>
                                <a:pt x="83" y="84"/>
                              </a:lnTo>
                              <a:lnTo>
                                <a:pt x="81" y="84"/>
                              </a:lnTo>
                              <a:lnTo>
                                <a:pt x="50" y="82"/>
                              </a:lnTo>
                              <a:lnTo>
                                <a:pt x="27" y="92"/>
                              </a:lnTo>
                              <a:lnTo>
                                <a:pt x="13" y="116"/>
                              </a:lnTo>
                              <a:lnTo>
                                <a:pt x="16" y="188"/>
                              </a:lnTo>
                              <a:lnTo>
                                <a:pt x="16" y="188"/>
                              </a:lnTo>
                              <a:lnTo>
                                <a:pt x="16" y="189"/>
                              </a:lnTo>
                              <a:lnTo>
                                <a:pt x="0" y="227"/>
                              </a:lnTo>
                              <a:lnTo>
                                <a:pt x="0" y="227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bg1">
                            <a:lumMod val="95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42" name="Freeform 253">
                          <a:extLst>
                            <a:ext uri="{FF2B5EF4-FFF2-40B4-BE49-F238E27FC236}">
                              <a16:creationId xmlns:a16="http://schemas.microsoft.com/office/drawing/2014/main" id="{58EEEFED-D7DE-46E0-83CE-56F4443E3558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053071" y="2165934"/>
                          <a:ext cx="305755" cy="432982"/>
                        </a:xfrm>
                        <a:custGeom>
                          <a:avLst/>
                          <a:gdLst>
                            <a:gd name="T0" fmla="*/ 22 w 298"/>
                            <a:gd name="T1" fmla="*/ 235 h 422"/>
                            <a:gd name="T2" fmla="*/ 14 w 298"/>
                            <a:gd name="T3" fmla="*/ 271 h 422"/>
                            <a:gd name="T4" fmla="*/ 0 w 298"/>
                            <a:gd name="T5" fmla="*/ 311 h 422"/>
                            <a:gd name="T6" fmla="*/ 46 w 298"/>
                            <a:gd name="T7" fmla="*/ 338 h 422"/>
                            <a:gd name="T8" fmla="*/ 69 w 298"/>
                            <a:gd name="T9" fmla="*/ 362 h 422"/>
                            <a:gd name="T10" fmla="*/ 101 w 298"/>
                            <a:gd name="T11" fmla="*/ 383 h 422"/>
                            <a:gd name="T12" fmla="*/ 78 w 298"/>
                            <a:gd name="T13" fmla="*/ 418 h 422"/>
                            <a:gd name="T14" fmla="*/ 120 w 298"/>
                            <a:gd name="T15" fmla="*/ 422 h 422"/>
                            <a:gd name="T16" fmla="*/ 153 w 298"/>
                            <a:gd name="T17" fmla="*/ 405 h 422"/>
                            <a:gd name="T18" fmla="*/ 212 w 298"/>
                            <a:gd name="T19" fmla="*/ 358 h 422"/>
                            <a:gd name="T20" fmla="*/ 209 w 298"/>
                            <a:gd name="T21" fmla="*/ 286 h 422"/>
                            <a:gd name="T22" fmla="*/ 224 w 298"/>
                            <a:gd name="T23" fmla="*/ 259 h 422"/>
                            <a:gd name="T24" fmla="*/ 225 w 298"/>
                            <a:gd name="T25" fmla="*/ 259 h 422"/>
                            <a:gd name="T26" fmla="*/ 250 w 298"/>
                            <a:gd name="T27" fmla="*/ 248 h 422"/>
                            <a:gd name="T28" fmla="*/ 278 w 298"/>
                            <a:gd name="T29" fmla="*/ 250 h 422"/>
                            <a:gd name="T30" fmla="*/ 272 w 298"/>
                            <a:gd name="T31" fmla="*/ 223 h 422"/>
                            <a:gd name="T32" fmla="*/ 297 w 298"/>
                            <a:gd name="T33" fmla="*/ 209 h 422"/>
                            <a:gd name="T34" fmla="*/ 280 w 298"/>
                            <a:gd name="T35" fmla="*/ 91 h 422"/>
                            <a:gd name="T36" fmla="*/ 279 w 298"/>
                            <a:gd name="T37" fmla="*/ 89 h 422"/>
                            <a:gd name="T38" fmla="*/ 296 w 298"/>
                            <a:gd name="T39" fmla="*/ 53 h 422"/>
                            <a:gd name="T40" fmla="*/ 262 w 298"/>
                            <a:gd name="T41" fmla="*/ 76 h 422"/>
                            <a:gd name="T42" fmla="*/ 236 w 298"/>
                            <a:gd name="T43" fmla="*/ 75 h 422"/>
                            <a:gd name="T44" fmla="*/ 235 w 298"/>
                            <a:gd name="T45" fmla="*/ 75 h 422"/>
                            <a:gd name="T46" fmla="*/ 183 w 298"/>
                            <a:gd name="T47" fmla="*/ 65 h 422"/>
                            <a:gd name="T48" fmla="*/ 181 w 298"/>
                            <a:gd name="T49" fmla="*/ 65 h 422"/>
                            <a:gd name="T50" fmla="*/ 130 w 298"/>
                            <a:gd name="T51" fmla="*/ 36 h 422"/>
                            <a:gd name="T52" fmla="*/ 129 w 298"/>
                            <a:gd name="T53" fmla="*/ 33 h 422"/>
                            <a:gd name="T54" fmla="*/ 123 w 298"/>
                            <a:gd name="T55" fmla="*/ 0 h 422"/>
                            <a:gd name="T56" fmla="*/ 86 w 298"/>
                            <a:gd name="T57" fmla="*/ 62 h 422"/>
                            <a:gd name="T58" fmla="*/ 86 w 298"/>
                            <a:gd name="T59" fmla="*/ 63 h 422"/>
                            <a:gd name="T60" fmla="*/ 79 w 298"/>
                            <a:gd name="T61" fmla="*/ 85 h 422"/>
                            <a:gd name="T62" fmla="*/ 101 w 298"/>
                            <a:gd name="T63" fmla="*/ 93 h 422"/>
                            <a:gd name="T64" fmla="*/ 108 w 298"/>
                            <a:gd name="T65" fmla="*/ 113 h 422"/>
                            <a:gd name="T66" fmla="*/ 108 w 298"/>
                            <a:gd name="T67" fmla="*/ 114 h 422"/>
                            <a:gd name="T68" fmla="*/ 104 w 298"/>
                            <a:gd name="T69" fmla="*/ 133 h 422"/>
                            <a:gd name="T70" fmla="*/ 96 w 298"/>
                            <a:gd name="T71" fmla="*/ 144 h 422"/>
                            <a:gd name="T72" fmla="*/ 95 w 298"/>
                            <a:gd name="T73" fmla="*/ 145 h 422"/>
                            <a:gd name="T74" fmla="*/ 51 w 298"/>
                            <a:gd name="T75" fmla="*/ 161 h 422"/>
                            <a:gd name="T76" fmla="*/ 46 w 298"/>
                            <a:gd name="T77" fmla="*/ 184 h 422"/>
                            <a:gd name="T78" fmla="*/ 13 w 298"/>
                            <a:gd name="T79" fmla="*/ 215 h 422"/>
                            <a:gd name="T80" fmla="*/ 7 w 298"/>
                            <a:gd name="T81" fmla="*/ 231 h 42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</a:cxnLst>
                          <a:rect l="0" t="0" r="r" b="b"/>
                          <a:pathLst>
                            <a:path w="298" h="422">
                              <a:moveTo>
                                <a:pt x="7" y="231"/>
                              </a:moveTo>
                              <a:lnTo>
                                <a:pt x="22" y="235"/>
                              </a:lnTo>
                              <a:lnTo>
                                <a:pt x="23" y="261"/>
                              </a:lnTo>
                              <a:lnTo>
                                <a:pt x="14" y="271"/>
                              </a:lnTo>
                              <a:lnTo>
                                <a:pt x="20" y="289"/>
                              </a:lnTo>
                              <a:lnTo>
                                <a:pt x="0" y="311"/>
                              </a:lnTo>
                              <a:lnTo>
                                <a:pt x="4" y="328"/>
                              </a:lnTo>
                              <a:lnTo>
                                <a:pt x="46" y="338"/>
                              </a:lnTo>
                              <a:lnTo>
                                <a:pt x="48" y="360"/>
                              </a:lnTo>
                              <a:lnTo>
                                <a:pt x="69" y="362"/>
                              </a:lnTo>
                              <a:lnTo>
                                <a:pt x="85" y="365"/>
                              </a:lnTo>
                              <a:lnTo>
                                <a:pt x="101" y="383"/>
                              </a:lnTo>
                              <a:lnTo>
                                <a:pt x="78" y="402"/>
                              </a:lnTo>
                              <a:lnTo>
                                <a:pt x="78" y="418"/>
                              </a:lnTo>
                              <a:lnTo>
                                <a:pt x="101" y="411"/>
                              </a:lnTo>
                              <a:lnTo>
                                <a:pt x="120" y="422"/>
                              </a:lnTo>
                              <a:lnTo>
                                <a:pt x="138" y="418"/>
                              </a:lnTo>
                              <a:lnTo>
                                <a:pt x="153" y="405"/>
                              </a:lnTo>
                              <a:lnTo>
                                <a:pt x="196" y="397"/>
                              </a:lnTo>
                              <a:lnTo>
                                <a:pt x="212" y="358"/>
                              </a:lnTo>
                              <a:lnTo>
                                <a:pt x="209" y="286"/>
                              </a:lnTo>
                              <a:lnTo>
                                <a:pt x="209" y="286"/>
                              </a:lnTo>
                              <a:lnTo>
                                <a:pt x="209" y="285"/>
                              </a:lnTo>
                              <a:lnTo>
                                <a:pt x="224" y="259"/>
                              </a:lnTo>
                              <a:lnTo>
                                <a:pt x="224" y="259"/>
                              </a:lnTo>
                              <a:lnTo>
                                <a:pt x="225" y="259"/>
                              </a:lnTo>
                              <a:lnTo>
                                <a:pt x="249" y="248"/>
                              </a:lnTo>
                              <a:lnTo>
                                <a:pt x="250" y="248"/>
                              </a:lnTo>
                              <a:lnTo>
                                <a:pt x="250" y="248"/>
                              </a:lnTo>
                              <a:lnTo>
                                <a:pt x="278" y="250"/>
                              </a:lnTo>
                              <a:lnTo>
                                <a:pt x="272" y="225"/>
                              </a:lnTo>
                              <a:lnTo>
                                <a:pt x="272" y="223"/>
                              </a:lnTo>
                              <a:lnTo>
                                <a:pt x="273" y="223"/>
                              </a:lnTo>
                              <a:lnTo>
                                <a:pt x="297" y="209"/>
                              </a:lnTo>
                              <a:lnTo>
                                <a:pt x="297" y="109"/>
                              </a:lnTo>
                              <a:lnTo>
                                <a:pt x="280" y="91"/>
                              </a:lnTo>
                              <a:lnTo>
                                <a:pt x="278" y="90"/>
                              </a:lnTo>
                              <a:lnTo>
                                <a:pt x="279" y="89"/>
                              </a:lnTo>
                              <a:lnTo>
                                <a:pt x="298" y="67"/>
                              </a:lnTo>
                              <a:lnTo>
                                <a:pt x="296" y="53"/>
                              </a:lnTo>
                              <a:lnTo>
                                <a:pt x="263" y="76"/>
                              </a:lnTo>
                              <a:lnTo>
                                <a:pt x="262" y="76"/>
                              </a:lnTo>
                              <a:lnTo>
                                <a:pt x="261" y="76"/>
                              </a:lnTo>
                              <a:lnTo>
                                <a:pt x="236" y="75"/>
                              </a:lnTo>
                              <a:lnTo>
                                <a:pt x="235" y="75"/>
                              </a:lnTo>
                              <a:lnTo>
                                <a:pt x="235" y="75"/>
                              </a:lnTo>
                              <a:lnTo>
                                <a:pt x="210" y="61"/>
                              </a:lnTo>
                              <a:lnTo>
                                <a:pt x="183" y="65"/>
                              </a:lnTo>
                              <a:lnTo>
                                <a:pt x="182" y="65"/>
                              </a:lnTo>
                              <a:lnTo>
                                <a:pt x="181" y="65"/>
                              </a:lnTo>
                              <a:lnTo>
                                <a:pt x="146" y="39"/>
                              </a:lnTo>
                              <a:lnTo>
                                <a:pt x="130" y="36"/>
                              </a:lnTo>
                              <a:lnTo>
                                <a:pt x="127" y="35"/>
                              </a:lnTo>
                              <a:lnTo>
                                <a:pt x="129" y="33"/>
                              </a:lnTo>
                              <a:lnTo>
                                <a:pt x="140" y="17"/>
                              </a:lnTo>
                              <a:lnTo>
                                <a:pt x="123" y="0"/>
                              </a:lnTo>
                              <a:lnTo>
                                <a:pt x="90" y="32"/>
                              </a:lnTo>
                              <a:lnTo>
                                <a:pt x="86" y="62"/>
                              </a:lnTo>
                              <a:lnTo>
                                <a:pt x="86" y="63"/>
                              </a:lnTo>
                              <a:lnTo>
                                <a:pt x="86" y="63"/>
                              </a:lnTo>
                              <a:lnTo>
                                <a:pt x="76" y="75"/>
                              </a:lnTo>
                              <a:lnTo>
                                <a:pt x="79" y="85"/>
                              </a:lnTo>
                              <a:lnTo>
                                <a:pt x="100" y="92"/>
                              </a:lnTo>
                              <a:lnTo>
                                <a:pt x="101" y="93"/>
                              </a:lnTo>
                              <a:lnTo>
                                <a:pt x="101" y="93"/>
                              </a:lnTo>
                              <a:lnTo>
                                <a:pt x="108" y="113"/>
                              </a:lnTo>
                              <a:lnTo>
                                <a:pt x="108" y="114"/>
                              </a:lnTo>
                              <a:lnTo>
                                <a:pt x="108" y="114"/>
                              </a:lnTo>
                              <a:lnTo>
                                <a:pt x="104" y="132"/>
                              </a:lnTo>
                              <a:lnTo>
                                <a:pt x="104" y="133"/>
                              </a:lnTo>
                              <a:lnTo>
                                <a:pt x="104" y="133"/>
                              </a:lnTo>
                              <a:lnTo>
                                <a:pt x="96" y="144"/>
                              </a:lnTo>
                              <a:lnTo>
                                <a:pt x="96" y="145"/>
                              </a:lnTo>
                              <a:lnTo>
                                <a:pt x="95" y="145"/>
                              </a:lnTo>
                              <a:lnTo>
                                <a:pt x="70" y="140"/>
                              </a:lnTo>
                              <a:lnTo>
                                <a:pt x="51" y="161"/>
                              </a:lnTo>
                              <a:lnTo>
                                <a:pt x="46" y="184"/>
                              </a:lnTo>
                              <a:lnTo>
                                <a:pt x="46" y="184"/>
                              </a:lnTo>
                              <a:lnTo>
                                <a:pt x="46" y="185"/>
                              </a:lnTo>
                              <a:lnTo>
                                <a:pt x="13" y="215"/>
                              </a:lnTo>
                              <a:lnTo>
                                <a:pt x="7" y="231"/>
                              </a:lnTo>
                              <a:lnTo>
                                <a:pt x="7" y="231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bg1">
                            <a:lumMod val="95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43" name="Freeform 254">
                          <a:extLst>
                            <a:ext uri="{FF2B5EF4-FFF2-40B4-BE49-F238E27FC236}">
                              <a16:creationId xmlns:a16="http://schemas.microsoft.com/office/drawing/2014/main" id="{A53514AF-32C1-4FEC-94C3-D7839357713E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343435" y="2074618"/>
                          <a:ext cx="596119" cy="474022"/>
                        </a:xfrm>
                        <a:custGeom>
                          <a:avLst/>
                          <a:gdLst>
                            <a:gd name="T0" fmla="*/ 387 w 581"/>
                            <a:gd name="T1" fmla="*/ 41 h 462"/>
                            <a:gd name="T2" fmla="*/ 333 w 581"/>
                            <a:gd name="T3" fmla="*/ 71 h 462"/>
                            <a:gd name="T4" fmla="*/ 287 w 581"/>
                            <a:gd name="T5" fmla="*/ 38 h 462"/>
                            <a:gd name="T6" fmla="*/ 222 w 581"/>
                            <a:gd name="T7" fmla="*/ 37 h 462"/>
                            <a:gd name="T8" fmla="*/ 180 w 581"/>
                            <a:gd name="T9" fmla="*/ 9 h 462"/>
                            <a:gd name="T10" fmla="*/ 122 w 581"/>
                            <a:gd name="T11" fmla="*/ 21 h 462"/>
                            <a:gd name="T12" fmla="*/ 100 w 581"/>
                            <a:gd name="T13" fmla="*/ 90 h 462"/>
                            <a:gd name="T14" fmla="*/ 74 w 581"/>
                            <a:gd name="T15" fmla="*/ 86 h 462"/>
                            <a:gd name="T16" fmla="*/ 51 w 581"/>
                            <a:gd name="T17" fmla="*/ 119 h 462"/>
                            <a:gd name="T18" fmla="*/ 50 w 581"/>
                            <a:gd name="T19" fmla="*/ 120 h 462"/>
                            <a:gd name="T20" fmla="*/ 18 w 581"/>
                            <a:gd name="T21" fmla="*/ 156 h 462"/>
                            <a:gd name="T22" fmla="*/ 18 w 581"/>
                            <a:gd name="T23" fmla="*/ 158 h 462"/>
                            <a:gd name="T24" fmla="*/ 17 w 581"/>
                            <a:gd name="T25" fmla="*/ 196 h 462"/>
                            <a:gd name="T26" fmla="*/ 17 w 581"/>
                            <a:gd name="T27" fmla="*/ 198 h 462"/>
                            <a:gd name="T28" fmla="*/ 143 w 581"/>
                            <a:gd name="T29" fmla="*/ 315 h 462"/>
                            <a:gd name="T30" fmla="*/ 144 w 581"/>
                            <a:gd name="T31" fmla="*/ 316 h 462"/>
                            <a:gd name="T32" fmla="*/ 168 w 581"/>
                            <a:gd name="T33" fmla="*/ 346 h 462"/>
                            <a:gd name="T34" fmla="*/ 175 w 581"/>
                            <a:gd name="T35" fmla="*/ 372 h 462"/>
                            <a:gd name="T36" fmla="*/ 213 w 581"/>
                            <a:gd name="T37" fmla="*/ 371 h 462"/>
                            <a:gd name="T38" fmla="*/ 226 w 581"/>
                            <a:gd name="T39" fmla="*/ 396 h 462"/>
                            <a:gd name="T40" fmla="*/ 300 w 581"/>
                            <a:gd name="T41" fmla="*/ 398 h 462"/>
                            <a:gd name="T42" fmla="*/ 297 w 581"/>
                            <a:gd name="T43" fmla="*/ 450 h 462"/>
                            <a:gd name="T44" fmla="*/ 329 w 581"/>
                            <a:gd name="T45" fmla="*/ 443 h 462"/>
                            <a:gd name="T46" fmla="*/ 330 w 581"/>
                            <a:gd name="T47" fmla="*/ 442 h 462"/>
                            <a:gd name="T48" fmla="*/ 351 w 581"/>
                            <a:gd name="T49" fmla="*/ 442 h 462"/>
                            <a:gd name="T50" fmla="*/ 399 w 581"/>
                            <a:gd name="T51" fmla="*/ 442 h 462"/>
                            <a:gd name="T52" fmla="*/ 417 w 581"/>
                            <a:gd name="T53" fmla="*/ 421 h 462"/>
                            <a:gd name="T54" fmla="*/ 465 w 581"/>
                            <a:gd name="T55" fmla="*/ 414 h 462"/>
                            <a:gd name="T56" fmla="*/ 466 w 581"/>
                            <a:gd name="T57" fmla="*/ 415 h 462"/>
                            <a:gd name="T58" fmla="*/ 540 w 581"/>
                            <a:gd name="T59" fmla="*/ 418 h 462"/>
                            <a:gd name="T60" fmla="*/ 542 w 581"/>
                            <a:gd name="T61" fmla="*/ 384 h 462"/>
                            <a:gd name="T62" fmla="*/ 577 w 581"/>
                            <a:gd name="T63" fmla="*/ 357 h 462"/>
                            <a:gd name="T64" fmla="*/ 551 w 581"/>
                            <a:gd name="T65" fmla="*/ 331 h 462"/>
                            <a:gd name="T66" fmla="*/ 550 w 581"/>
                            <a:gd name="T67" fmla="*/ 331 h 462"/>
                            <a:gd name="T68" fmla="*/ 528 w 581"/>
                            <a:gd name="T69" fmla="*/ 309 h 462"/>
                            <a:gd name="T70" fmla="*/ 525 w 581"/>
                            <a:gd name="T71" fmla="*/ 281 h 462"/>
                            <a:gd name="T72" fmla="*/ 526 w 581"/>
                            <a:gd name="T73" fmla="*/ 279 h 462"/>
                            <a:gd name="T74" fmla="*/ 565 w 581"/>
                            <a:gd name="T75" fmla="*/ 227 h 462"/>
                            <a:gd name="T76" fmla="*/ 539 w 581"/>
                            <a:gd name="T77" fmla="*/ 224 h 462"/>
                            <a:gd name="T78" fmla="*/ 511 w 581"/>
                            <a:gd name="T79" fmla="*/ 166 h 462"/>
                            <a:gd name="T80" fmla="*/ 414 w 581"/>
                            <a:gd name="T81" fmla="*/ 151 h 462"/>
                            <a:gd name="T82" fmla="*/ 414 w 581"/>
                            <a:gd name="T83" fmla="*/ 123 h 462"/>
                            <a:gd name="T84" fmla="*/ 414 w 581"/>
                            <a:gd name="T85" fmla="*/ 122 h 462"/>
                            <a:gd name="T86" fmla="*/ 414 w 581"/>
                            <a:gd name="T87" fmla="*/ 60 h 46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</a:cxnLst>
                          <a:rect l="0" t="0" r="r" b="b"/>
                          <a:pathLst>
                            <a:path w="581" h="462">
                              <a:moveTo>
                                <a:pt x="414" y="60"/>
                              </a:moveTo>
                              <a:lnTo>
                                <a:pt x="387" y="41"/>
                              </a:lnTo>
                              <a:lnTo>
                                <a:pt x="334" y="71"/>
                              </a:lnTo>
                              <a:lnTo>
                                <a:pt x="333" y="71"/>
                              </a:lnTo>
                              <a:lnTo>
                                <a:pt x="332" y="71"/>
                              </a:lnTo>
                              <a:lnTo>
                                <a:pt x="287" y="38"/>
                              </a:lnTo>
                              <a:lnTo>
                                <a:pt x="223" y="37"/>
                              </a:lnTo>
                              <a:lnTo>
                                <a:pt x="222" y="37"/>
                              </a:lnTo>
                              <a:lnTo>
                                <a:pt x="222" y="37"/>
                              </a:lnTo>
                              <a:lnTo>
                                <a:pt x="180" y="9"/>
                              </a:lnTo>
                              <a:lnTo>
                                <a:pt x="150" y="0"/>
                              </a:lnTo>
                              <a:lnTo>
                                <a:pt x="122" y="21"/>
                              </a:lnTo>
                              <a:lnTo>
                                <a:pt x="101" y="88"/>
                              </a:lnTo>
                              <a:lnTo>
                                <a:pt x="100" y="90"/>
                              </a:lnTo>
                              <a:lnTo>
                                <a:pt x="99" y="90"/>
                              </a:lnTo>
                              <a:lnTo>
                                <a:pt x="74" y="86"/>
                              </a:lnTo>
                              <a:lnTo>
                                <a:pt x="55" y="99"/>
                              </a:lnTo>
                              <a:lnTo>
                                <a:pt x="51" y="119"/>
                              </a:lnTo>
                              <a:lnTo>
                                <a:pt x="51" y="120"/>
                              </a:lnTo>
                              <a:lnTo>
                                <a:pt x="50" y="120"/>
                              </a:lnTo>
                              <a:lnTo>
                                <a:pt x="16" y="140"/>
                              </a:lnTo>
                              <a:lnTo>
                                <a:pt x="18" y="156"/>
                              </a:lnTo>
                              <a:lnTo>
                                <a:pt x="19" y="157"/>
                              </a:lnTo>
                              <a:lnTo>
                                <a:pt x="18" y="158"/>
                              </a:lnTo>
                              <a:lnTo>
                                <a:pt x="0" y="179"/>
                              </a:lnTo>
                              <a:lnTo>
                                <a:pt x="17" y="196"/>
                              </a:lnTo>
                              <a:lnTo>
                                <a:pt x="17" y="197"/>
                              </a:lnTo>
                              <a:lnTo>
                                <a:pt x="17" y="198"/>
                              </a:lnTo>
                              <a:lnTo>
                                <a:pt x="17" y="255"/>
                              </a:lnTo>
                              <a:lnTo>
                                <a:pt x="143" y="315"/>
                              </a:lnTo>
                              <a:lnTo>
                                <a:pt x="144" y="315"/>
                              </a:lnTo>
                              <a:lnTo>
                                <a:pt x="144" y="316"/>
                              </a:lnTo>
                              <a:lnTo>
                                <a:pt x="168" y="346"/>
                              </a:lnTo>
                              <a:lnTo>
                                <a:pt x="168" y="346"/>
                              </a:lnTo>
                              <a:lnTo>
                                <a:pt x="168" y="347"/>
                              </a:lnTo>
                              <a:lnTo>
                                <a:pt x="175" y="372"/>
                              </a:lnTo>
                              <a:lnTo>
                                <a:pt x="212" y="371"/>
                              </a:lnTo>
                              <a:lnTo>
                                <a:pt x="213" y="371"/>
                              </a:lnTo>
                              <a:lnTo>
                                <a:pt x="213" y="372"/>
                              </a:lnTo>
                              <a:lnTo>
                                <a:pt x="226" y="396"/>
                              </a:lnTo>
                              <a:lnTo>
                                <a:pt x="298" y="398"/>
                              </a:lnTo>
                              <a:lnTo>
                                <a:pt x="300" y="398"/>
                              </a:lnTo>
                              <a:lnTo>
                                <a:pt x="300" y="400"/>
                              </a:lnTo>
                              <a:lnTo>
                                <a:pt x="297" y="450"/>
                              </a:lnTo>
                              <a:lnTo>
                                <a:pt x="306" y="462"/>
                              </a:lnTo>
                              <a:lnTo>
                                <a:pt x="329" y="443"/>
                              </a:lnTo>
                              <a:lnTo>
                                <a:pt x="329" y="442"/>
                              </a:lnTo>
                              <a:lnTo>
                                <a:pt x="330" y="442"/>
                              </a:lnTo>
                              <a:lnTo>
                                <a:pt x="350" y="442"/>
                              </a:lnTo>
                              <a:lnTo>
                                <a:pt x="351" y="442"/>
                              </a:lnTo>
                              <a:lnTo>
                                <a:pt x="351" y="442"/>
                              </a:lnTo>
                              <a:lnTo>
                                <a:pt x="399" y="442"/>
                              </a:lnTo>
                              <a:lnTo>
                                <a:pt x="416" y="421"/>
                              </a:lnTo>
                              <a:lnTo>
                                <a:pt x="417" y="421"/>
                              </a:lnTo>
                              <a:lnTo>
                                <a:pt x="417" y="421"/>
                              </a:lnTo>
                              <a:lnTo>
                                <a:pt x="465" y="414"/>
                              </a:lnTo>
                              <a:lnTo>
                                <a:pt x="466" y="414"/>
                              </a:lnTo>
                              <a:lnTo>
                                <a:pt x="466" y="415"/>
                              </a:lnTo>
                              <a:lnTo>
                                <a:pt x="507" y="432"/>
                              </a:lnTo>
                              <a:lnTo>
                                <a:pt x="540" y="418"/>
                              </a:lnTo>
                              <a:lnTo>
                                <a:pt x="542" y="385"/>
                              </a:lnTo>
                              <a:lnTo>
                                <a:pt x="542" y="384"/>
                              </a:lnTo>
                              <a:lnTo>
                                <a:pt x="542" y="383"/>
                              </a:lnTo>
                              <a:lnTo>
                                <a:pt x="577" y="357"/>
                              </a:lnTo>
                              <a:lnTo>
                                <a:pt x="581" y="341"/>
                              </a:lnTo>
                              <a:lnTo>
                                <a:pt x="551" y="331"/>
                              </a:lnTo>
                              <a:lnTo>
                                <a:pt x="551" y="331"/>
                              </a:lnTo>
                              <a:lnTo>
                                <a:pt x="550" y="331"/>
                              </a:lnTo>
                              <a:lnTo>
                                <a:pt x="529" y="310"/>
                              </a:lnTo>
                              <a:lnTo>
                                <a:pt x="528" y="309"/>
                              </a:lnTo>
                              <a:lnTo>
                                <a:pt x="528" y="309"/>
                              </a:lnTo>
                              <a:lnTo>
                                <a:pt x="525" y="281"/>
                              </a:lnTo>
                              <a:lnTo>
                                <a:pt x="525" y="279"/>
                              </a:lnTo>
                              <a:lnTo>
                                <a:pt x="526" y="279"/>
                              </a:lnTo>
                              <a:lnTo>
                                <a:pt x="563" y="246"/>
                              </a:lnTo>
                              <a:lnTo>
                                <a:pt x="565" y="227"/>
                              </a:lnTo>
                              <a:lnTo>
                                <a:pt x="540" y="224"/>
                              </a:lnTo>
                              <a:lnTo>
                                <a:pt x="539" y="224"/>
                              </a:lnTo>
                              <a:lnTo>
                                <a:pt x="538" y="223"/>
                              </a:lnTo>
                              <a:lnTo>
                                <a:pt x="511" y="166"/>
                              </a:lnTo>
                              <a:lnTo>
                                <a:pt x="415" y="151"/>
                              </a:lnTo>
                              <a:lnTo>
                                <a:pt x="414" y="151"/>
                              </a:lnTo>
                              <a:lnTo>
                                <a:pt x="414" y="149"/>
                              </a:lnTo>
                              <a:lnTo>
                                <a:pt x="414" y="123"/>
                              </a:lnTo>
                              <a:lnTo>
                                <a:pt x="414" y="122"/>
                              </a:lnTo>
                              <a:lnTo>
                                <a:pt x="414" y="122"/>
                              </a:lnTo>
                              <a:lnTo>
                                <a:pt x="427" y="106"/>
                              </a:lnTo>
                              <a:lnTo>
                                <a:pt x="414" y="60"/>
                              </a:lnTo>
                              <a:lnTo>
                                <a:pt x="414" y="6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bg1">
                            <a:lumMod val="95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44" name="Freeform 255">
                          <a:extLst>
                            <a:ext uri="{FF2B5EF4-FFF2-40B4-BE49-F238E27FC236}">
                              <a16:creationId xmlns:a16="http://schemas.microsoft.com/office/drawing/2014/main" id="{10C051B1-C24B-46E8-BDFF-97E875E7B36D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803094" y="2612254"/>
                          <a:ext cx="213413" cy="343718"/>
                        </a:xfrm>
                        <a:custGeom>
                          <a:avLst/>
                          <a:gdLst>
                            <a:gd name="T0" fmla="*/ 77 w 208"/>
                            <a:gd name="T1" fmla="*/ 6 h 335"/>
                            <a:gd name="T2" fmla="*/ 84 w 208"/>
                            <a:gd name="T3" fmla="*/ 53 h 335"/>
                            <a:gd name="T4" fmla="*/ 84 w 208"/>
                            <a:gd name="T5" fmla="*/ 55 h 335"/>
                            <a:gd name="T6" fmla="*/ 67 w 208"/>
                            <a:gd name="T7" fmla="*/ 98 h 335"/>
                            <a:gd name="T8" fmla="*/ 96 w 208"/>
                            <a:gd name="T9" fmla="*/ 107 h 335"/>
                            <a:gd name="T10" fmla="*/ 85 w 208"/>
                            <a:gd name="T11" fmla="*/ 139 h 335"/>
                            <a:gd name="T12" fmla="*/ 85 w 208"/>
                            <a:gd name="T13" fmla="*/ 140 h 335"/>
                            <a:gd name="T14" fmla="*/ 74 w 208"/>
                            <a:gd name="T15" fmla="*/ 188 h 335"/>
                            <a:gd name="T16" fmla="*/ 74 w 208"/>
                            <a:gd name="T17" fmla="*/ 189 h 335"/>
                            <a:gd name="T18" fmla="*/ 75 w 208"/>
                            <a:gd name="T19" fmla="*/ 226 h 335"/>
                            <a:gd name="T20" fmla="*/ 75 w 208"/>
                            <a:gd name="T21" fmla="*/ 228 h 335"/>
                            <a:gd name="T22" fmla="*/ 47 w 208"/>
                            <a:gd name="T23" fmla="*/ 256 h 335"/>
                            <a:gd name="T24" fmla="*/ 30 w 208"/>
                            <a:gd name="T25" fmla="*/ 265 h 335"/>
                            <a:gd name="T26" fmla="*/ 30 w 208"/>
                            <a:gd name="T27" fmla="*/ 265 h 335"/>
                            <a:gd name="T28" fmla="*/ 0 w 208"/>
                            <a:gd name="T29" fmla="*/ 307 h 335"/>
                            <a:gd name="T30" fmla="*/ 48 w 208"/>
                            <a:gd name="T31" fmla="*/ 314 h 335"/>
                            <a:gd name="T32" fmla="*/ 50 w 208"/>
                            <a:gd name="T33" fmla="*/ 314 h 335"/>
                            <a:gd name="T34" fmla="*/ 112 w 208"/>
                            <a:gd name="T35" fmla="*/ 277 h 335"/>
                            <a:gd name="T36" fmla="*/ 114 w 208"/>
                            <a:gd name="T37" fmla="*/ 276 h 335"/>
                            <a:gd name="T38" fmla="*/ 149 w 208"/>
                            <a:gd name="T39" fmla="*/ 247 h 335"/>
                            <a:gd name="T40" fmla="*/ 149 w 208"/>
                            <a:gd name="T41" fmla="*/ 246 h 335"/>
                            <a:gd name="T42" fmla="*/ 183 w 208"/>
                            <a:gd name="T43" fmla="*/ 219 h 335"/>
                            <a:gd name="T44" fmla="*/ 183 w 208"/>
                            <a:gd name="T45" fmla="*/ 199 h 335"/>
                            <a:gd name="T46" fmla="*/ 208 w 208"/>
                            <a:gd name="T47" fmla="*/ 186 h 335"/>
                            <a:gd name="T48" fmla="*/ 196 w 208"/>
                            <a:gd name="T49" fmla="*/ 136 h 335"/>
                            <a:gd name="T50" fmla="*/ 196 w 208"/>
                            <a:gd name="T51" fmla="*/ 136 h 335"/>
                            <a:gd name="T52" fmla="*/ 170 w 208"/>
                            <a:gd name="T53" fmla="*/ 75 h 335"/>
                            <a:gd name="T54" fmla="*/ 170 w 208"/>
                            <a:gd name="T55" fmla="*/ 73 h 335"/>
                            <a:gd name="T56" fmla="*/ 163 w 208"/>
                            <a:gd name="T57" fmla="*/ 43 h 335"/>
                            <a:gd name="T58" fmla="*/ 135 w 208"/>
                            <a:gd name="T59" fmla="*/ 46 h 335"/>
                            <a:gd name="T60" fmla="*/ 105 w 208"/>
                            <a:gd name="T61" fmla="*/ 46 h 335"/>
                            <a:gd name="T62" fmla="*/ 104 w 208"/>
                            <a:gd name="T63" fmla="*/ 45 h 335"/>
                            <a:gd name="T64" fmla="*/ 89 w 208"/>
                            <a:gd name="T65" fmla="*/ 0 h 33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</a:cxnLst>
                          <a:rect l="0" t="0" r="r" b="b"/>
                          <a:pathLst>
                            <a:path w="208" h="335">
                              <a:moveTo>
                                <a:pt x="89" y="0"/>
                              </a:moveTo>
                              <a:lnTo>
                                <a:pt x="77" y="6"/>
                              </a:lnTo>
                              <a:lnTo>
                                <a:pt x="72" y="26"/>
                              </a:lnTo>
                              <a:lnTo>
                                <a:pt x="84" y="53"/>
                              </a:lnTo>
                              <a:lnTo>
                                <a:pt x="84" y="54"/>
                              </a:lnTo>
                              <a:lnTo>
                                <a:pt x="84" y="55"/>
                              </a:lnTo>
                              <a:lnTo>
                                <a:pt x="63" y="83"/>
                              </a:lnTo>
                              <a:lnTo>
                                <a:pt x="67" y="98"/>
                              </a:lnTo>
                              <a:lnTo>
                                <a:pt x="94" y="107"/>
                              </a:lnTo>
                              <a:lnTo>
                                <a:pt x="96" y="107"/>
                              </a:lnTo>
                              <a:lnTo>
                                <a:pt x="95" y="109"/>
                              </a:lnTo>
                              <a:lnTo>
                                <a:pt x="85" y="139"/>
                              </a:lnTo>
                              <a:lnTo>
                                <a:pt x="85" y="140"/>
                              </a:lnTo>
                              <a:lnTo>
                                <a:pt x="85" y="140"/>
                              </a:lnTo>
                              <a:lnTo>
                                <a:pt x="68" y="162"/>
                              </a:lnTo>
                              <a:lnTo>
                                <a:pt x="74" y="188"/>
                              </a:lnTo>
                              <a:lnTo>
                                <a:pt x="74" y="188"/>
                              </a:lnTo>
                              <a:lnTo>
                                <a:pt x="74" y="189"/>
                              </a:lnTo>
                              <a:lnTo>
                                <a:pt x="69" y="208"/>
                              </a:lnTo>
                              <a:lnTo>
                                <a:pt x="75" y="226"/>
                              </a:lnTo>
                              <a:lnTo>
                                <a:pt x="76" y="227"/>
                              </a:lnTo>
                              <a:lnTo>
                                <a:pt x="75" y="228"/>
                              </a:lnTo>
                              <a:lnTo>
                                <a:pt x="47" y="256"/>
                              </a:lnTo>
                              <a:lnTo>
                                <a:pt x="47" y="256"/>
                              </a:lnTo>
                              <a:lnTo>
                                <a:pt x="46" y="256"/>
                              </a:lnTo>
                              <a:lnTo>
                                <a:pt x="30" y="265"/>
                              </a:lnTo>
                              <a:lnTo>
                                <a:pt x="30" y="265"/>
                              </a:lnTo>
                              <a:lnTo>
                                <a:pt x="30" y="265"/>
                              </a:lnTo>
                              <a:lnTo>
                                <a:pt x="7" y="273"/>
                              </a:lnTo>
                              <a:lnTo>
                                <a:pt x="0" y="307"/>
                              </a:lnTo>
                              <a:lnTo>
                                <a:pt x="21" y="335"/>
                              </a:lnTo>
                              <a:lnTo>
                                <a:pt x="48" y="314"/>
                              </a:lnTo>
                              <a:lnTo>
                                <a:pt x="50" y="312"/>
                              </a:lnTo>
                              <a:lnTo>
                                <a:pt x="50" y="314"/>
                              </a:lnTo>
                              <a:lnTo>
                                <a:pt x="99" y="311"/>
                              </a:lnTo>
                              <a:lnTo>
                                <a:pt x="112" y="277"/>
                              </a:lnTo>
                              <a:lnTo>
                                <a:pt x="112" y="276"/>
                              </a:lnTo>
                              <a:lnTo>
                                <a:pt x="114" y="276"/>
                              </a:lnTo>
                              <a:lnTo>
                                <a:pt x="134" y="277"/>
                              </a:lnTo>
                              <a:lnTo>
                                <a:pt x="149" y="247"/>
                              </a:lnTo>
                              <a:lnTo>
                                <a:pt x="149" y="246"/>
                              </a:lnTo>
                              <a:lnTo>
                                <a:pt x="149" y="246"/>
                              </a:lnTo>
                              <a:lnTo>
                                <a:pt x="175" y="236"/>
                              </a:lnTo>
                              <a:lnTo>
                                <a:pt x="183" y="219"/>
                              </a:lnTo>
                              <a:lnTo>
                                <a:pt x="183" y="200"/>
                              </a:lnTo>
                              <a:lnTo>
                                <a:pt x="183" y="199"/>
                              </a:lnTo>
                              <a:lnTo>
                                <a:pt x="184" y="198"/>
                              </a:lnTo>
                              <a:lnTo>
                                <a:pt x="208" y="186"/>
                              </a:lnTo>
                              <a:lnTo>
                                <a:pt x="206" y="166"/>
                              </a:lnTo>
                              <a:lnTo>
                                <a:pt x="196" y="136"/>
                              </a:lnTo>
                              <a:lnTo>
                                <a:pt x="196" y="136"/>
                              </a:lnTo>
                              <a:lnTo>
                                <a:pt x="196" y="136"/>
                              </a:lnTo>
                              <a:lnTo>
                                <a:pt x="191" y="108"/>
                              </a:lnTo>
                              <a:lnTo>
                                <a:pt x="170" y="75"/>
                              </a:lnTo>
                              <a:lnTo>
                                <a:pt x="169" y="74"/>
                              </a:lnTo>
                              <a:lnTo>
                                <a:pt x="170" y="73"/>
                              </a:lnTo>
                              <a:lnTo>
                                <a:pt x="179" y="53"/>
                              </a:lnTo>
                              <a:lnTo>
                                <a:pt x="163" y="43"/>
                              </a:lnTo>
                              <a:lnTo>
                                <a:pt x="135" y="46"/>
                              </a:lnTo>
                              <a:lnTo>
                                <a:pt x="135" y="46"/>
                              </a:lnTo>
                              <a:lnTo>
                                <a:pt x="135" y="46"/>
                              </a:lnTo>
                              <a:lnTo>
                                <a:pt x="105" y="46"/>
                              </a:lnTo>
                              <a:lnTo>
                                <a:pt x="104" y="46"/>
                              </a:lnTo>
                              <a:lnTo>
                                <a:pt x="104" y="45"/>
                              </a:lnTo>
                              <a:lnTo>
                                <a:pt x="89" y="0"/>
                              </a:lnTo>
                              <a:lnTo>
                                <a:pt x="89" y="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bg1">
                            <a:lumMod val="95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45" name="Freeform 256">
                          <a:extLst>
                            <a:ext uri="{FF2B5EF4-FFF2-40B4-BE49-F238E27FC236}">
                              <a16:creationId xmlns:a16="http://schemas.microsoft.com/office/drawing/2014/main" id="{40000349-B8FE-41BC-BEE7-A8320D73C6CA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847213" y="1088610"/>
                          <a:ext cx="29755" cy="43093"/>
                        </a:xfrm>
                        <a:custGeom>
                          <a:avLst/>
                          <a:gdLst>
                            <a:gd name="T0" fmla="*/ 0 w 29"/>
                            <a:gd name="T1" fmla="*/ 20 h 42"/>
                            <a:gd name="T2" fmla="*/ 17 w 29"/>
                            <a:gd name="T3" fmla="*/ 42 h 42"/>
                            <a:gd name="T4" fmla="*/ 29 w 29"/>
                            <a:gd name="T5" fmla="*/ 37 h 42"/>
                            <a:gd name="T6" fmla="*/ 25 w 29"/>
                            <a:gd name="T7" fmla="*/ 6 h 42"/>
                            <a:gd name="T8" fmla="*/ 13 w 29"/>
                            <a:gd name="T9" fmla="*/ 0 h 42"/>
                            <a:gd name="T10" fmla="*/ 0 w 29"/>
                            <a:gd name="T11" fmla="*/ 20 h 42"/>
                            <a:gd name="T12" fmla="*/ 0 w 29"/>
                            <a:gd name="T13" fmla="*/ 20 h 4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29" h="42">
                              <a:moveTo>
                                <a:pt x="0" y="20"/>
                              </a:moveTo>
                              <a:lnTo>
                                <a:pt x="17" y="42"/>
                              </a:lnTo>
                              <a:lnTo>
                                <a:pt x="29" y="37"/>
                              </a:lnTo>
                              <a:lnTo>
                                <a:pt x="25" y="6"/>
                              </a:lnTo>
                              <a:lnTo>
                                <a:pt x="13" y="0"/>
                              </a:lnTo>
                              <a:lnTo>
                                <a:pt x="0" y="20"/>
                              </a:lnTo>
                              <a:lnTo>
                                <a:pt x="0" y="2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46" name="Freeform 257">
                          <a:extLst>
                            <a:ext uri="{FF2B5EF4-FFF2-40B4-BE49-F238E27FC236}">
                              <a16:creationId xmlns:a16="http://schemas.microsoft.com/office/drawing/2014/main" id="{E4F16F81-B27A-4D4F-A2EA-EA4FD81FCD1A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895436" y="952149"/>
                          <a:ext cx="18468" cy="25651"/>
                        </a:xfrm>
                        <a:custGeom>
                          <a:avLst/>
                          <a:gdLst>
                            <a:gd name="T0" fmla="*/ 0 w 18"/>
                            <a:gd name="T1" fmla="*/ 14 h 25"/>
                            <a:gd name="T2" fmla="*/ 9 w 18"/>
                            <a:gd name="T3" fmla="*/ 25 h 25"/>
                            <a:gd name="T4" fmla="*/ 18 w 18"/>
                            <a:gd name="T5" fmla="*/ 16 h 25"/>
                            <a:gd name="T6" fmla="*/ 14 w 18"/>
                            <a:gd name="T7" fmla="*/ 0 h 25"/>
                            <a:gd name="T8" fmla="*/ 2 w 18"/>
                            <a:gd name="T9" fmla="*/ 4 h 25"/>
                            <a:gd name="T10" fmla="*/ 0 w 18"/>
                            <a:gd name="T11" fmla="*/ 14 h 25"/>
                            <a:gd name="T12" fmla="*/ 0 w 18"/>
                            <a:gd name="T13" fmla="*/ 14 h 25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18" h="25">
                              <a:moveTo>
                                <a:pt x="0" y="14"/>
                              </a:moveTo>
                              <a:lnTo>
                                <a:pt x="9" y="25"/>
                              </a:lnTo>
                              <a:lnTo>
                                <a:pt x="18" y="16"/>
                              </a:lnTo>
                              <a:lnTo>
                                <a:pt x="14" y="0"/>
                              </a:lnTo>
                              <a:lnTo>
                                <a:pt x="2" y="4"/>
                              </a:lnTo>
                              <a:lnTo>
                                <a:pt x="0" y="14"/>
                              </a:lnTo>
                              <a:lnTo>
                                <a:pt x="0" y="14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47" name="Freeform 258">
                          <a:extLst>
                            <a:ext uri="{FF2B5EF4-FFF2-40B4-BE49-F238E27FC236}">
                              <a16:creationId xmlns:a16="http://schemas.microsoft.com/office/drawing/2014/main" id="{2C373B5C-9EBA-4740-8A2B-16841E84C658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225815" y="390915"/>
                          <a:ext cx="37963" cy="28729"/>
                        </a:xfrm>
                        <a:custGeom>
                          <a:avLst/>
                          <a:gdLst>
                            <a:gd name="T0" fmla="*/ 0 w 37"/>
                            <a:gd name="T1" fmla="*/ 21 h 28"/>
                            <a:gd name="T2" fmla="*/ 37 w 37"/>
                            <a:gd name="T3" fmla="*/ 28 h 28"/>
                            <a:gd name="T4" fmla="*/ 28 w 37"/>
                            <a:gd name="T5" fmla="*/ 0 h 28"/>
                            <a:gd name="T6" fmla="*/ 3 w 37"/>
                            <a:gd name="T7" fmla="*/ 1 h 28"/>
                            <a:gd name="T8" fmla="*/ 0 w 37"/>
                            <a:gd name="T9" fmla="*/ 21 h 28"/>
                            <a:gd name="T10" fmla="*/ 0 w 37"/>
                            <a:gd name="T11" fmla="*/ 21 h 2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</a:cxnLst>
                          <a:rect l="0" t="0" r="r" b="b"/>
                          <a:pathLst>
                            <a:path w="37" h="28">
                              <a:moveTo>
                                <a:pt x="0" y="21"/>
                              </a:moveTo>
                              <a:lnTo>
                                <a:pt x="37" y="28"/>
                              </a:lnTo>
                              <a:lnTo>
                                <a:pt x="28" y="0"/>
                              </a:lnTo>
                              <a:lnTo>
                                <a:pt x="3" y="1"/>
                              </a:lnTo>
                              <a:lnTo>
                                <a:pt x="0" y="21"/>
                              </a:lnTo>
                              <a:lnTo>
                                <a:pt x="0" y="21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48" name="Freeform 259">
                          <a:extLst>
                            <a:ext uri="{FF2B5EF4-FFF2-40B4-BE49-F238E27FC236}">
                              <a16:creationId xmlns:a16="http://schemas.microsoft.com/office/drawing/2014/main" id="{E874F58E-D50C-4DA3-9721-F1A0E77941B1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257622" y="398097"/>
                          <a:ext cx="99525" cy="126201"/>
                        </a:xfrm>
                        <a:custGeom>
                          <a:avLst/>
                          <a:gdLst>
                            <a:gd name="T0" fmla="*/ 0 w 97"/>
                            <a:gd name="T1" fmla="*/ 84 h 123"/>
                            <a:gd name="T2" fmla="*/ 20 w 97"/>
                            <a:gd name="T3" fmla="*/ 57 h 123"/>
                            <a:gd name="T4" fmla="*/ 16 w 97"/>
                            <a:gd name="T5" fmla="*/ 33 h 123"/>
                            <a:gd name="T6" fmla="*/ 35 w 97"/>
                            <a:gd name="T7" fmla="*/ 20 h 123"/>
                            <a:gd name="T8" fmla="*/ 55 w 97"/>
                            <a:gd name="T9" fmla="*/ 0 h 123"/>
                            <a:gd name="T10" fmla="*/ 77 w 97"/>
                            <a:gd name="T11" fmla="*/ 20 h 123"/>
                            <a:gd name="T12" fmla="*/ 89 w 97"/>
                            <a:gd name="T13" fmla="*/ 55 h 123"/>
                            <a:gd name="T14" fmla="*/ 97 w 97"/>
                            <a:gd name="T15" fmla="*/ 70 h 123"/>
                            <a:gd name="T16" fmla="*/ 76 w 97"/>
                            <a:gd name="T17" fmla="*/ 81 h 123"/>
                            <a:gd name="T18" fmla="*/ 76 w 97"/>
                            <a:gd name="T19" fmla="*/ 100 h 123"/>
                            <a:gd name="T20" fmla="*/ 26 w 97"/>
                            <a:gd name="T21" fmla="*/ 123 h 123"/>
                            <a:gd name="T22" fmla="*/ 0 w 97"/>
                            <a:gd name="T23" fmla="*/ 100 h 123"/>
                            <a:gd name="T24" fmla="*/ 0 w 97"/>
                            <a:gd name="T25" fmla="*/ 84 h 123"/>
                            <a:gd name="T26" fmla="*/ 0 w 97"/>
                            <a:gd name="T27" fmla="*/ 84 h 12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</a:cxnLst>
                          <a:rect l="0" t="0" r="r" b="b"/>
                          <a:pathLst>
                            <a:path w="97" h="123">
                              <a:moveTo>
                                <a:pt x="0" y="84"/>
                              </a:moveTo>
                              <a:lnTo>
                                <a:pt x="20" y="57"/>
                              </a:lnTo>
                              <a:lnTo>
                                <a:pt x="16" y="33"/>
                              </a:lnTo>
                              <a:lnTo>
                                <a:pt x="35" y="20"/>
                              </a:lnTo>
                              <a:lnTo>
                                <a:pt x="55" y="0"/>
                              </a:lnTo>
                              <a:lnTo>
                                <a:pt x="77" y="20"/>
                              </a:lnTo>
                              <a:lnTo>
                                <a:pt x="89" y="55"/>
                              </a:lnTo>
                              <a:lnTo>
                                <a:pt x="97" y="70"/>
                              </a:lnTo>
                              <a:lnTo>
                                <a:pt x="76" y="81"/>
                              </a:lnTo>
                              <a:lnTo>
                                <a:pt x="76" y="100"/>
                              </a:lnTo>
                              <a:lnTo>
                                <a:pt x="26" y="123"/>
                              </a:lnTo>
                              <a:lnTo>
                                <a:pt x="0" y="100"/>
                              </a:lnTo>
                              <a:lnTo>
                                <a:pt x="0" y="84"/>
                              </a:lnTo>
                              <a:lnTo>
                                <a:pt x="0" y="84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49" name="Freeform 260">
                          <a:extLst>
                            <a:ext uri="{FF2B5EF4-FFF2-40B4-BE49-F238E27FC236}">
                              <a16:creationId xmlns:a16="http://schemas.microsoft.com/office/drawing/2014/main" id="{BA5080B1-FDDD-4572-B9C8-747DEF9C8FDD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223763" y="515064"/>
                          <a:ext cx="54380" cy="44119"/>
                        </a:xfrm>
                        <a:custGeom>
                          <a:avLst/>
                          <a:gdLst>
                            <a:gd name="T0" fmla="*/ 15 w 53"/>
                            <a:gd name="T1" fmla="*/ 0 h 43"/>
                            <a:gd name="T2" fmla="*/ 53 w 53"/>
                            <a:gd name="T3" fmla="*/ 15 h 43"/>
                            <a:gd name="T4" fmla="*/ 48 w 53"/>
                            <a:gd name="T5" fmla="*/ 33 h 43"/>
                            <a:gd name="T6" fmla="*/ 30 w 53"/>
                            <a:gd name="T7" fmla="*/ 43 h 43"/>
                            <a:gd name="T8" fmla="*/ 4 w 53"/>
                            <a:gd name="T9" fmla="*/ 25 h 43"/>
                            <a:gd name="T10" fmla="*/ 0 w 53"/>
                            <a:gd name="T11" fmla="*/ 8 h 43"/>
                            <a:gd name="T12" fmla="*/ 15 w 53"/>
                            <a:gd name="T13" fmla="*/ 0 h 43"/>
                            <a:gd name="T14" fmla="*/ 15 w 53"/>
                            <a:gd name="T15" fmla="*/ 0 h 4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</a:cxnLst>
                          <a:rect l="0" t="0" r="r" b="b"/>
                          <a:pathLst>
                            <a:path w="53" h="43">
                              <a:moveTo>
                                <a:pt x="15" y="0"/>
                              </a:moveTo>
                              <a:lnTo>
                                <a:pt x="53" y="15"/>
                              </a:lnTo>
                              <a:lnTo>
                                <a:pt x="48" y="33"/>
                              </a:lnTo>
                              <a:lnTo>
                                <a:pt x="30" y="43"/>
                              </a:lnTo>
                              <a:lnTo>
                                <a:pt x="4" y="25"/>
                              </a:lnTo>
                              <a:lnTo>
                                <a:pt x="0" y="8"/>
                              </a:lnTo>
                              <a:lnTo>
                                <a:pt x="15" y="0"/>
                              </a:lnTo>
                              <a:lnTo>
                                <a:pt x="15" y="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50" name="Freeform 261">
                          <a:extLst>
                            <a:ext uri="{FF2B5EF4-FFF2-40B4-BE49-F238E27FC236}">
                              <a16:creationId xmlns:a16="http://schemas.microsoft.com/office/drawing/2014/main" id="{FF78FB0A-15D2-4340-9901-BDDCA53DDAA0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274038" y="509933"/>
                          <a:ext cx="111837" cy="142617"/>
                        </a:xfrm>
                        <a:custGeom>
                          <a:avLst/>
                          <a:gdLst>
                            <a:gd name="T0" fmla="*/ 0 w 109"/>
                            <a:gd name="T1" fmla="*/ 67 h 139"/>
                            <a:gd name="T2" fmla="*/ 17 w 109"/>
                            <a:gd name="T3" fmla="*/ 24 h 139"/>
                            <a:gd name="T4" fmla="*/ 64 w 109"/>
                            <a:gd name="T5" fmla="*/ 0 h 139"/>
                            <a:gd name="T6" fmla="*/ 73 w 109"/>
                            <a:gd name="T7" fmla="*/ 33 h 139"/>
                            <a:gd name="T8" fmla="*/ 85 w 109"/>
                            <a:gd name="T9" fmla="*/ 30 h 139"/>
                            <a:gd name="T10" fmla="*/ 88 w 109"/>
                            <a:gd name="T11" fmla="*/ 15 h 139"/>
                            <a:gd name="T12" fmla="*/ 109 w 109"/>
                            <a:gd name="T13" fmla="*/ 36 h 139"/>
                            <a:gd name="T14" fmla="*/ 107 w 109"/>
                            <a:gd name="T15" fmla="*/ 64 h 139"/>
                            <a:gd name="T16" fmla="*/ 91 w 109"/>
                            <a:gd name="T17" fmla="*/ 90 h 139"/>
                            <a:gd name="T18" fmla="*/ 105 w 109"/>
                            <a:gd name="T19" fmla="*/ 106 h 139"/>
                            <a:gd name="T20" fmla="*/ 101 w 109"/>
                            <a:gd name="T21" fmla="*/ 130 h 139"/>
                            <a:gd name="T22" fmla="*/ 84 w 109"/>
                            <a:gd name="T23" fmla="*/ 139 h 139"/>
                            <a:gd name="T24" fmla="*/ 49 w 109"/>
                            <a:gd name="T25" fmla="*/ 115 h 139"/>
                            <a:gd name="T26" fmla="*/ 17 w 109"/>
                            <a:gd name="T27" fmla="*/ 88 h 139"/>
                            <a:gd name="T28" fmla="*/ 0 w 109"/>
                            <a:gd name="T29" fmla="*/ 80 h 139"/>
                            <a:gd name="T30" fmla="*/ 0 w 109"/>
                            <a:gd name="T31" fmla="*/ 67 h 139"/>
                            <a:gd name="T32" fmla="*/ 0 w 109"/>
                            <a:gd name="T33" fmla="*/ 67 h 139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</a:cxnLst>
                          <a:rect l="0" t="0" r="r" b="b"/>
                          <a:pathLst>
                            <a:path w="109" h="139">
                              <a:moveTo>
                                <a:pt x="0" y="67"/>
                              </a:moveTo>
                              <a:lnTo>
                                <a:pt x="17" y="24"/>
                              </a:lnTo>
                              <a:lnTo>
                                <a:pt x="64" y="0"/>
                              </a:lnTo>
                              <a:lnTo>
                                <a:pt x="73" y="33"/>
                              </a:lnTo>
                              <a:lnTo>
                                <a:pt x="85" y="30"/>
                              </a:lnTo>
                              <a:lnTo>
                                <a:pt x="88" y="15"/>
                              </a:lnTo>
                              <a:lnTo>
                                <a:pt x="109" y="36"/>
                              </a:lnTo>
                              <a:lnTo>
                                <a:pt x="107" y="64"/>
                              </a:lnTo>
                              <a:lnTo>
                                <a:pt x="91" y="90"/>
                              </a:lnTo>
                              <a:lnTo>
                                <a:pt x="105" y="106"/>
                              </a:lnTo>
                              <a:lnTo>
                                <a:pt x="101" y="130"/>
                              </a:lnTo>
                              <a:lnTo>
                                <a:pt x="84" y="139"/>
                              </a:lnTo>
                              <a:lnTo>
                                <a:pt x="49" y="115"/>
                              </a:lnTo>
                              <a:lnTo>
                                <a:pt x="17" y="88"/>
                              </a:lnTo>
                              <a:lnTo>
                                <a:pt x="0" y="80"/>
                              </a:lnTo>
                              <a:lnTo>
                                <a:pt x="0" y="67"/>
                              </a:lnTo>
                              <a:lnTo>
                                <a:pt x="0" y="67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51" name="Freeform 262">
                          <a:extLst>
                            <a:ext uri="{FF2B5EF4-FFF2-40B4-BE49-F238E27FC236}">
                              <a16:creationId xmlns:a16="http://schemas.microsoft.com/office/drawing/2014/main" id="{14D5A689-A2B0-4BBA-B11E-11A672EDEBE8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375614" y="585859"/>
                          <a:ext cx="102602" cy="142617"/>
                        </a:xfrm>
                        <a:custGeom>
                          <a:avLst/>
                          <a:gdLst>
                            <a:gd name="T0" fmla="*/ 25 w 100"/>
                            <a:gd name="T1" fmla="*/ 16 h 139"/>
                            <a:gd name="T2" fmla="*/ 20 w 100"/>
                            <a:gd name="T3" fmla="*/ 72 h 139"/>
                            <a:gd name="T4" fmla="*/ 0 w 100"/>
                            <a:gd name="T5" fmla="*/ 110 h 139"/>
                            <a:gd name="T6" fmla="*/ 8 w 100"/>
                            <a:gd name="T7" fmla="*/ 139 h 139"/>
                            <a:gd name="T8" fmla="*/ 42 w 100"/>
                            <a:gd name="T9" fmla="*/ 111 h 139"/>
                            <a:gd name="T10" fmla="*/ 79 w 100"/>
                            <a:gd name="T11" fmla="*/ 109 h 139"/>
                            <a:gd name="T12" fmla="*/ 98 w 100"/>
                            <a:gd name="T13" fmla="*/ 90 h 139"/>
                            <a:gd name="T14" fmla="*/ 100 w 100"/>
                            <a:gd name="T15" fmla="*/ 45 h 139"/>
                            <a:gd name="T16" fmla="*/ 79 w 100"/>
                            <a:gd name="T17" fmla="*/ 20 h 139"/>
                            <a:gd name="T18" fmla="*/ 62 w 100"/>
                            <a:gd name="T19" fmla="*/ 37 h 139"/>
                            <a:gd name="T20" fmla="*/ 53 w 100"/>
                            <a:gd name="T21" fmla="*/ 27 h 139"/>
                            <a:gd name="T22" fmla="*/ 54 w 100"/>
                            <a:gd name="T23" fmla="*/ 0 h 139"/>
                            <a:gd name="T24" fmla="*/ 25 w 100"/>
                            <a:gd name="T25" fmla="*/ 16 h 139"/>
                            <a:gd name="T26" fmla="*/ 25 w 100"/>
                            <a:gd name="T27" fmla="*/ 16 h 139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</a:cxnLst>
                          <a:rect l="0" t="0" r="r" b="b"/>
                          <a:pathLst>
                            <a:path w="100" h="139">
                              <a:moveTo>
                                <a:pt x="25" y="16"/>
                              </a:moveTo>
                              <a:lnTo>
                                <a:pt x="20" y="72"/>
                              </a:lnTo>
                              <a:lnTo>
                                <a:pt x="0" y="110"/>
                              </a:lnTo>
                              <a:lnTo>
                                <a:pt x="8" y="139"/>
                              </a:lnTo>
                              <a:lnTo>
                                <a:pt x="42" y="111"/>
                              </a:lnTo>
                              <a:lnTo>
                                <a:pt x="79" y="109"/>
                              </a:lnTo>
                              <a:lnTo>
                                <a:pt x="98" y="90"/>
                              </a:lnTo>
                              <a:lnTo>
                                <a:pt x="100" y="45"/>
                              </a:lnTo>
                              <a:lnTo>
                                <a:pt x="79" y="20"/>
                              </a:lnTo>
                              <a:lnTo>
                                <a:pt x="62" y="37"/>
                              </a:lnTo>
                              <a:lnTo>
                                <a:pt x="53" y="27"/>
                              </a:lnTo>
                              <a:lnTo>
                                <a:pt x="54" y="0"/>
                              </a:lnTo>
                              <a:lnTo>
                                <a:pt x="25" y="16"/>
                              </a:lnTo>
                              <a:lnTo>
                                <a:pt x="25" y="16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20000"/>
                            <a:lumOff val="8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52" name="Freeform 263">
                          <a:extLst>
                            <a:ext uri="{FF2B5EF4-FFF2-40B4-BE49-F238E27FC236}">
                              <a16:creationId xmlns:a16="http://schemas.microsoft.com/office/drawing/2014/main" id="{B05C1F0A-37CA-4A58-B557-8F44A187E57C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504893" y="678201"/>
                          <a:ext cx="31807" cy="28729"/>
                        </a:xfrm>
                        <a:custGeom>
                          <a:avLst/>
                          <a:gdLst>
                            <a:gd name="T0" fmla="*/ 0 w 31"/>
                            <a:gd name="T1" fmla="*/ 7 h 28"/>
                            <a:gd name="T2" fmla="*/ 3 w 31"/>
                            <a:gd name="T3" fmla="*/ 21 h 28"/>
                            <a:gd name="T4" fmla="*/ 31 w 31"/>
                            <a:gd name="T5" fmla="*/ 28 h 28"/>
                            <a:gd name="T6" fmla="*/ 29 w 31"/>
                            <a:gd name="T7" fmla="*/ 17 h 28"/>
                            <a:gd name="T8" fmla="*/ 2 w 31"/>
                            <a:gd name="T9" fmla="*/ 0 h 28"/>
                            <a:gd name="T10" fmla="*/ 0 w 31"/>
                            <a:gd name="T11" fmla="*/ 7 h 28"/>
                            <a:gd name="T12" fmla="*/ 0 w 31"/>
                            <a:gd name="T13" fmla="*/ 7 h 2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31" h="28">
                              <a:moveTo>
                                <a:pt x="0" y="7"/>
                              </a:moveTo>
                              <a:lnTo>
                                <a:pt x="3" y="21"/>
                              </a:lnTo>
                              <a:lnTo>
                                <a:pt x="31" y="28"/>
                              </a:lnTo>
                              <a:lnTo>
                                <a:pt x="29" y="17"/>
                              </a:lnTo>
                              <a:lnTo>
                                <a:pt x="2" y="0"/>
                              </a:lnTo>
                              <a:lnTo>
                                <a:pt x="0" y="7"/>
                              </a:lnTo>
                              <a:lnTo>
                                <a:pt x="0" y="7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53" name="Freeform 264">
                          <a:extLst>
                            <a:ext uri="{FF2B5EF4-FFF2-40B4-BE49-F238E27FC236}">
                              <a16:creationId xmlns:a16="http://schemas.microsoft.com/office/drawing/2014/main" id="{285DB5D3-D6AD-4129-AD70-637DDC2EC1E3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294559" y="787986"/>
                          <a:ext cx="24625" cy="21547"/>
                        </a:xfrm>
                        <a:custGeom>
                          <a:avLst/>
                          <a:gdLst>
                            <a:gd name="T0" fmla="*/ 0 w 24"/>
                            <a:gd name="T1" fmla="*/ 10 h 21"/>
                            <a:gd name="T2" fmla="*/ 14 w 24"/>
                            <a:gd name="T3" fmla="*/ 21 h 21"/>
                            <a:gd name="T4" fmla="*/ 24 w 24"/>
                            <a:gd name="T5" fmla="*/ 15 h 21"/>
                            <a:gd name="T6" fmla="*/ 17 w 24"/>
                            <a:gd name="T7" fmla="*/ 0 h 21"/>
                            <a:gd name="T8" fmla="*/ 0 w 24"/>
                            <a:gd name="T9" fmla="*/ 10 h 21"/>
                            <a:gd name="T10" fmla="*/ 0 w 24"/>
                            <a:gd name="T11" fmla="*/ 10 h 21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</a:cxnLst>
                          <a:rect l="0" t="0" r="r" b="b"/>
                          <a:pathLst>
                            <a:path w="24" h="21">
                              <a:moveTo>
                                <a:pt x="0" y="10"/>
                              </a:moveTo>
                              <a:lnTo>
                                <a:pt x="14" y="21"/>
                              </a:lnTo>
                              <a:lnTo>
                                <a:pt x="24" y="15"/>
                              </a:lnTo>
                              <a:lnTo>
                                <a:pt x="17" y="0"/>
                              </a:lnTo>
                              <a:lnTo>
                                <a:pt x="0" y="10"/>
                              </a:lnTo>
                              <a:lnTo>
                                <a:pt x="0" y="1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54" name="Freeform 265">
                          <a:extLst>
                            <a:ext uri="{FF2B5EF4-FFF2-40B4-BE49-F238E27FC236}">
                              <a16:creationId xmlns:a16="http://schemas.microsoft.com/office/drawing/2014/main" id="{3C9FC235-EB37-4FE5-9558-E193669EA9F3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164253" y="759257"/>
                          <a:ext cx="21547" cy="28729"/>
                        </a:xfrm>
                        <a:custGeom>
                          <a:avLst/>
                          <a:gdLst>
                            <a:gd name="T0" fmla="*/ 2 w 21"/>
                            <a:gd name="T1" fmla="*/ 18 h 28"/>
                            <a:gd name="T2" fmla="*/ 19 w 21"/>
                            <a:gd name="T3" fmla="*/ 28 h 28"/>
                            <a:gd name="T4" fmla="*/ 21 w 21"/>
                            <a:gd name="T5" fmla="*/ 14 h 28"/>
                            <a:gd name="T6" fmla="*/ 9 w 21"/>
                            <a:gd name="T7" fmla="*/ 0 h 28"/>
                            <a:gd name="T8" fmla="*/ 0 w 21"/>
                            <a:gd name="T9" fmla="*/ 8 h 28"/>
                            <a:gd name="T10" fmla="*/ 2 w 21"/>
                            <a:gd name="T11" fmla="*/ 18 h 28"/>
                            <a:gd name="T12" fmla="*/ 2 w 21"/>
                            <a:gd name="T13" fmla="*/ 18 h 28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21" h="28">
                              <a:moveTo>
                                <a:pt x="2" y="18"/>
                              </a:moveTo>
                              <a:lnTo>
                                <a:pt x="19" y="28"/>
                              </a:lnTo>
                              <a:lnTo>
                                <a:pt x="21" y="14"/>
                              </a:lnTo>
                              <a:lnTo>
                                <a:pt x="9" y="0"/>
                              </a:lnTo>
                              <a:lnTo>
                                <a:pt x="0" y="8"/>
                              </a:lnTo>
                              <a:lnTo>
                                <a:pt x="2" y="18"/>
                              </a:lnTo>
                              <a:lnTo>
                                <a:pt x="2" y="18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55" name="Freeform 266">
                          <a:extLst>
                            <a:ext uri="{FF2B5EF4-FFF2-40B4-BE49-F238E27FC236}">
                              <a16:creationId xmlns:a16="http://schemas.microsoft.com/office/drawing/2014/main" id="{332B6B01-18FF-4E69-B980-30A29C00D580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279168" y="826975"/>
                          <a:ext cx="15391" cy="19495"/>
                        </a:xfrm>
                        <a:custGeom>
                          <a:avLst/>
                          <a:gdLst>
                            <a:gd name="T0" fmla="*/ 0 w 15"/>
                            <a:gd name="T1" fmla="*/ 11 h 19"/>
                            <a:gd name="T2" fmla="*/ 7 w 15"/>
                            <a:gd name="T3" fmla="*/ 19 h 19"/>
                            <a:gd name="T4" fmla="*/ 15 w 15"/>
                            <a:gd name="T5" fmla="*/ 11 h 19"/>
                            <a:gd name="T6" fmla="*/ 5 w 15"/>
                            <a:gd name="T7" fmla="*/ 0 h 19"/>
                            <a:gd name="T8" fmla="*/ 0 w 15"/>
                            <a:gd name="T9" fmla="*/ 11 h 19"/>
                            <a:gd name="T10" fmla="*/ 0 w 15"/>
                            <a:gd name="T11" fmla="*/ 11 h 19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</a:cxnLst>
                          <a:rect l="0" t="0" r="r" b="b"/>
                          <a:pathLst>
                            <a:path w="15" h="19">
                              <a:moveTo>
                                <a:pt x="0" y="11"/>
                              </a:moveTo>
                              <a:lnTo>
                                <a:pt x="7" y="19"/>
                              </a:lnTo>
                              <a:lnTo>
                                <a:pt x="15" y="11"/>
                              </a:lnTo>
                              <a:lnTo>
                                <a:pt x="5" y="0"/>
                              </a:lnTo>
                              <a:lnTo>
                                <a:pt x="0" y="11"/>
                              </a:lnTo>
                              <a:lnTo>
                                <a:pt x="0" y="11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56" name="Freeform 267">
                          <a:extLst>
                            <a:ext uri="{FF2B5EF4-FFF2-40B4-BE49-F238E27FC236}">
                              <a16:creationId xmlns:a16="http://schemas.microsoft.com/office/drawing/2014/main" id="{F8FC87E0-D2C6-4438-83AB-D87875C433D5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970335" y="1015763"/>
                          <a:ext cx="23599" cy="26677"/>
                        </a:xfrm>
                        <a:custGeom>
                          <a:avLst/>
                          <a:gdLst>
                            <a:gd name="T0" fmla="*/ 0 w 23"/>
                            <a:gd name="T1" fmla="*/ 13 h 26"/>
                            <a:gd name="T2" fmla="*/ 14 w 23"/>
                            <a:gd name="T3" fmla="*/ 26 h 26"/>
                            <a:gd name="T4" fmla="*/ 23 w 23"/>
                            <a:gd name="T5" fmla="*/ 17 h 26"/>
                            <a:gd name="T6" fmla="*/ 20 w 23"/>
                            <a:gd name="T7" fmla="*/ 2 h 26"/>
                            <a:gd name="T8" fmla="*/ 8 w 23"/>
                            <a:gd name="T9" fmla="*/ 0 h 26"/>
                            <a:gd name="T10" fmla="*/ 0 w 23"/>
                            <a:gd name="T11" fmla="*/ 13 h 26"/>
                            <a:gd name="T12" fmla="*/ 0 w 23"/>
                            <a:gd name="T13" fmla="*/ 13 h 2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23" h="26">
                              <a:moveTo>
                                <a:pt x="0" y="13"/>
                              </a:moveTo>
                              <a:lnTo>
                                <a:pt x="14" y="26"/>
                              </a:lnTo>
                              <a:lnTo>
                                <a:pt x="23" y="17"/>
                              </a:lnTo>
                              <a:lnTo>
                                <a:pt x="20" y="2"/>
                              </a:lnTo>
                              <a:lnTo>
                                <a:pt x="8" y="0"/>
                              </a:lnTo>
                              <a:lnTo>
                                <a:pt x="0" y="13"/>
                              </a:lnTo>
                              <a:lnTo>
                                <a:pt x="0" y="13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57" name="Freeform 268">
                          <a:extLst>
                            <a:ext uri="{FF2B5EF4-FFF2-40B4-BE49-F238E27FC236}">
                              <a16:creationId xmlns:a16="http://schemas.microsoft.com/office/drawing/2014/main" id="{AE60040E-962C-4BA8-A605-A3B183A7757F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004194" y="1032179"/>
                          <a:ext cx="13339" cy="19495"/>
                        </a:xfrm>
                        <a:custGeom>
                          <a:avLst/>
                          <a:gdLst>
                            <a:gd name="T0" fmla="*/ 0 w 13"/>
                            <a:gd name="T1" fmla="*/ 13 h 19"/>
                            <a:gd name="T2" fmla="*/ 8 w 13"/>
                            <a:gd name="T3" fmla="*/ 19 h 19"/>
                            <a:gd name="T4" fmla="*/ 13 w 13"/>
                            <a:gd name="T5" fmla="*/ 9 h 19"/>
                            <a:gd name="T6" fmla="*/ 4 w 13"/>
                            <a:gd name="T7" fmla="*/ 0 h 19"/>
                            <a:gd name="T8" fmla="*/ 0 w 13"/>
                            <a:gd name="T9" fmla="*/ 13 h 19"/>
                            <a:gd name="T10" fmla="*/ 0 w 13"/>
                            <a:gd name="T11" fmla="*/ 13 h 19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</a:cxnLst>
                          <a:rect l="0" t="0" r="r" b="b"/>
                          <a:pathLst>
                            <a:path w="13" h="19">
                              <a:moveTo>
                                <a:pt x="0" y="13"/>
                              </a:moveTo>
                              <a:lnTo>
                                <a:pt x="8" y="19"/>
                              </a:lnTo>
                              <a:lnTo>
                                <a:pt x="13" y="9"/>
                              </a:lnTo>
                              <a:lnTo>
                                <a:pt x="4" y="0"/>
                              </a:lnTo>
                              <a:lnTo>
                                <a:pt x="0" y="13"/>
                              </a:lnTo>
                              <a:lnTo>
                                <a:pt x="0" y="13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58" name="Freeform 269">
                          <a:extLst>
                            <a:ext uri="{FF2B5EF4-FFF2-40B4-BE49-F238E27FC236}">
                              <a16:creationId xmlns:a16="http://schemas.microsoft.com/office/drawing/2014/main" id="{DEA01FC3-5546-4415-AF18-9AD5DEFA6D4E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024714" y="996268"/>
                          <a:ext cx="12312" cy="16416"/>
                        </a:xfrm>
                        <a:custGeom>
                          <a:avLst/>
                          <a:gdLst>
                            <a:gd name="T0" fmla="*/ 0 w 12"/>
                            <a:gd name="T1" fmla="*/ 11 h 16"/>
                            <a:gd name="T2" fmla="*/ 7 w 12"/>
                            <a:gd name="T3" fmla="*/ 16 h 16"/>
                            <a:gd name="T4" fmla="*/ 12 w 12"/>
                            <a:gd name="T5" fmla="*/ 8 h 16"/>
                            <a:gd name="T6" fmla="*/ 1 w 12"/>
                            <a:gd name="T7" fmla="*/ 0 h 16"/>
                            <a:gd name="T8" fmla="*/ 0 w 12"/>
                            <a:gd name="T9" fmla="*/ 11 h 16"/>
                            <a:gd name="T10" fmla="*/ 0 w 12"/>
                            <a:gd name="T11" fmla="*/ 11 h 1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</a:cxnLst>
                          <a:rect l="0" t="0" r="r" b="b"/>
                          <a:pathLst>
                            <a:path w="12" h="16">
                              <a:moveTo>
                                <a:pt x="0" y="11"/>
                              </a:moveTo>
                              <a:lnTo>
                                <a:pt x="7" y="16"/>
                              </a:lnTo>
                              <a:lnTo>
                                <a:pt x="12" y="8"/>
                              </a:lnTo>
                              <a:lnTo>
                                <a:pt x="1" y="0"/>
                              </a:lnTo>
                              <a:lnTo>
                                <a:pt x="0" y="11"/>
                              </a:lnTo>
                              <a:lnTo>
                                <a:pt x="0" y="11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59" name="Freeform 270">
                          <a:extLst>
                            <a:ext uri="{FF2B5EF4-FFF2-40B4-BE49-F238E27FC236}">
                              <a16:creationId xmlns:a16="http://schemas.microsoft.com/office/drawing/2014/main" id="{7B710F7C-8BA9-471C-9BAA-F202DB5E5D77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034975" y="971643"/>
                          <a:ext cx="21547" cy="22572"/>
                        </a:xfrm>
                        <a:custGeom>
                          <a:avLst/>
                          <a:gdLst>
                            <a:gd name="T0" fmla="*/ 4 w 21"/>
                            <a:gd name="T1" fmla="*/ 15 h 22"/>
                            <a:gd name="T2" fmla="*/ 12 w 21"/>
                            <a:gd name="T3" fmla="*/ 22 h 22"/>
                            <a:gd name="T4" fmla="*/ 21 w 21"/>
                            <a:gd name="T5" fmla="*/ 10 h 22"/>
                            <a:gd name="T6" fmla="*/ 7 w 21"/>
                            <a:gd name="T7" fmla="*/ 0 h 22"/>
                            <a:gd name="T8" fmla="*/ 0 w 21"/>
                            <a:gd name="T9" fmla="*/ 5 h 22"/>
                            <a:gd name="T10" fmla="*/ 4 w 21"/>
                            <a:gd name="T11" fmla="*/ 15 h 22"/>
                            <a:gd name="T12" fmla="*/ 4 w 21"/>
                            <a:gd name="T13" fmla="*/ 15 h 22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21" h="22">
                              <a:moveTo>
                                <a:pt x="4" y="15"/>
                              </a:moveTo>
                              <a:lnTo>
                                <a:pt x="12" y="22"/>
                              </a:lnTo>
                              <a:lnTo>
                                <a:pt x="21" y="10"/>
                              </a:lnTo>
                              <a:lnTo>
                                <a:pt x="7" y="0"/>
                              </a:lnTo>
                              <a:lnTo>
                                <a:pt x="0" y="5"/>
                              </a:lnTo>
                              <a:lnTo>
                                <a:pt x="4" y="15"/>
                              </a:lnTo>
                              <a:lnTo>
                                <a:pt x="4" y="15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60" name="Freeform 271">
                          <a:extLst>
                            <a:ext uri="{FF2B5EF4-FFF2-40B4-BE49-F238E27FC236}">
                              <a16:creationId xmlns:a16="http://schemas.microsoft.com/office/drawing/2014/main" id="{BBEB90F3-2936-4BEB-82AE-806921B74559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967257" y="894692"/>
                          <a:ext cx="32833" cy="26677"/>
                        </a:xfrm>
                        <a:custGeom>
                          <a:avLst/>
                          <a:gdLst>
                            <a:gd name="T0" fmla="*/ 8 w 32"/>
                            <a:gd name="T1" fmla="*/ 19 h 26"/>
                            <a:gd name="T2" fmla="*/ 18 w 32"/>
                            <a:gd name="T3" fmla="*/ 26 h 26"/>
                            <a:gd name="T4" fmla="*/ 32 w 32"/>
                            <a:gd name="T5" fmla="*/ 18 h 26"/>
                            <a:gd name="T6" fmla="*/ 24 w 32"/>
                            <a:gd name="T7" fmla="*/ 3 h 26"/>
                            <a:gd name="T8" fmla="*/ 12 w 32"/>
                            <a:gd name="T9" fmla="*/ 0 h 26"/>
                            <a:gd name="T10" fmla="*/ 0 w 32"/>
                            <a:gd name="T11" fmla="*/ 10 h 26"/>
                            <a:gd name="T12" fmla="*/ 8 w 32"/>
                            <a:gd name="T13" fmla="*/ 19 h 26"/>
                            <a:gd name="T14" fmla="*/ 8 w 32"/>
                            <a:gd name="T15" fmla="*/ 19 h 2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</a:cxnLst>
                          <a:rect l="0" t="0" r="r" b="b"/>
                          <a:pathLst>
                            <a:path w="32" h="26">
                              <a:moveTo>
                                <a:pt x="8" y="19"/>
                              </a:moveTo>
                              <a:lnTo>
                                <a:pt x="18" y="26"/>
                              </a:lnTo>
                              <a:lnTo>
                                <a:pt x="32" y="18"/>
                              </a:lnTo>
                              <a:lnTo>
                                <a:pt x="24" y="3"/>
                              </a:lnTo>
                              <a:lnTo>
                                <a:pt x="12" y="0"/>
                              </a:lnTo>
                              <a:lnTo>
                                <a:pt x="0" y="10"/>
                              </a:lnTo>
                              <a:lnTo>
                                <a:pt x="8" y="19"/>
                              </a:lnTo>
                              <a:lnTo>
                                <a:pt x="8" y="19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61" name="Freeform 272">
                          <a:extLst>
                            <a:ext uri="{FF2B5EF4-FFF2-40B4-BE49-F238E27FC236}">
                              <a16:creationId xmlns:a16="http://schemas.microsoft.com/office/drawing/2014/main" id="{374EE223-8A01-40A5-A8B2-7E7A3A4A9673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003168" y="863911"/>
                          <a:ext cx="16416" cy="19495"/>
                        </a:xfrm>
                        <a:custGeom>
                          <a:avLst/>
                          <a:gdLst>
                            <a:gd name="T0" fmla="*/ 3 w 16"/>
                            <a:gd name="T1" fmla="*/ 0 h 19"/>
                            <a:gd name="T2" fmla="*/ 0 w 16"/>
                            <a:gd name="T3" fmla="*/ 8 h 19"/>
                            <a:gd name="T4" fmla="*/ 8 w 16"/>
                            <a:gd name="T5" fmla="*/ 19 h 19"/>
                            <a:gd name="T6" fmla="*/ 16 w 16"/>
                            <a:gd name="T7" fmla="*/ 10 h 19"/>
                            <a:gd name="T8" fmla="*/ 16 w 16"/>
                            <a:gd name="T9" fmla="*/ 1 h 19"/>
                            <a:gd name="T10" fmla="*/ 3 w 16"/>
                            <a:gd name="T11" fmla="*/ 0 h 19"/>
                            <a:gd name="T12" fmla="*/ 3 w 16"/>
                            <a:gd name="T13" fmla="*/ 0 h 19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</a:cxnLst>
                          <a:rect l="0" t="0" r="r" b="b"/>
                          <a:pathLst>
                            <a:path w="16" h="19">
                              <a:moveTo>
                                <a:pt x="3" y="0"/>
                              </a:moveTo>
                              <a:lnTo>
                                <a:pt x="0" y="8"/>
                              </a:lnTo>
                              <a:lnTo>
                                <a:pt x="8" y="19"/>
                              </a:lnTo>
                              <a:lnTo>
                                <a:pt x="16" y="10"/>
                              </a:lnTo>
                              <a:lnTo>
                                <a:pt x="16" y="1"/>
                              </a:lnTo>
                              <a:lnTo>
                                <a:pt x="3" y="0"/>
                              </a:lnTo>
                              <a:lnTo>
                                <a:pt x="3" y="0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62" name="Freeform 273">
                          <a:extLst>
                            <a:ext uri="{FF2B5EF4-FFF2-40B4-BE49-F238E27FC236}">
                              <a16:creationId xmlns:a16="http://schemas.microsoft.com/office/drawing/2014/main" id="{CED196E1-F9E6-478E-8161-02505CFF948C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980596" y="497621"/>
                          <a:ext cx="29755" cy="30781"/>
                        </a:xfrm>
                        <a:custGeom>
                          <a:avLst/>
                          <a:gdLst>
                            <a:gd name="T0" fmla="*/ 3 w 29"/>
                            <a:gd name="T1" fmla="*/ 6 h 30"/>
                            <a:gd name="T2" fmla="*/ 0 w 29"/>
                            <a:gd name="T3" fmla="*/ 17 h 30"/>
                            <a:gd name="T4" fmla="*/ 12 w 29"/>
                            <a:gd name="T5" fmla="*/ 30 h 30"/>
                            <a:gd name="T6" fmla="*/ 29 w 29"/>
                            <a:gd name="T7" fmla="*/ 30 h 30"/>
                            <a:gd name="T8" fmla="*/ 28 w 29"/>
                            <a:gd name="T9" fmla="*/ 15 h 30"/>
                            <a:gd name="T10" fmla="*/ 17 w 29"/>
                            <a:gd name="T11" fmla="*/ 0 h 30"/>
                            <a:gd name="T12" fmla="*/ 3 w 29"/>
                            <a:gd name="T13" fmla="*/ 6 h 30"/>
                            <a:gd name="T14" fmla="*/ 3 w 29"/>
                            <a:gd name="T15" fmla="*/ 6 h 3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</a:cxnLst>
                          <a:rect l="0" t="0" r="r" b="b"/>
                          <a:pathLst>
                            <a:path w="29" h="30">
                              <a:moveTo>
                                <a:pt x="3" y="6"/>
                              </a:moveTo>
                              <a:lnTo>
                                <a:pt x="0" y="17"/>
                              </a:lnTo>
                              <a:lnTo>
                                <a:pt x="12" y="30"/>
                              </a:lnTo>
                              <a:lnTo>
                                <a:pt x="29" y="30"/>
                              </a:lnTo>
                              <a:lnTo>
                                <a:pt x="28" y="15"/>
                              </a:lnTo>
                              <a:lnTo>
                                <a:pt x="17" y="0"/>
                              </a:lnTo>
                              <a:lnTo>
                                <a:pt x="3" y="6"/>
                              </a:lnTo>
                              <a:lnTo>
                                <a:pt x="3" y="6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63" name="Freeform 274">
                          <a:extLst>
                            <a:ext uri="{FF2B5EF4-FFF2-40B4-BE49-F238E27FC236}">
                              <a16:creationId xmlns:a16="http://schemas.microsoft.com/office/drawing/2014/main" id="{8381C74D-EC89-4C2C-ACE7-E587EC9FB416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058573" y="378602"/>
                          <a:ext cx="34885" cy="37963"/>
                        </a:xfrm>
                        <a:custGeom>
                          <a:avLst/>
                          <a:gdLst>
                            <a:gd name="T0" fmla="*/ 1 w 34"/>
                            <a:gd name="T1" fmla="*/ 32 h 37"/>
                            <a:gd name="T2" fmla="*/ 17 w 34"/>
                            <a:gd name="T3" fmla="*/ 37 h 37"/>
                            <a:gd name="T4" fmla="*/ 34 w 34"/>
                            <a:gd name="T5" fmla="*/ 32 h 37"/>
                            <a:gd name="T6" fmla="*/ 24 w 34"/>
                            <a:gd name="T7" fmla="*/ 10 h 37"/>
                            <a:gd name="T8" fmla="*/ 11 w 34"/>
                            <a:gd name="T9" fmla="*/ 0 h 37"/>
                            <a:gd name="T10" fmla="*/ 2 w 34"/>
                            <a:gd name="T11" fmla="*/ 9 h 37"/>
                            <a:gd name="T12" fmla="*/ 0 w 34"/>
                            <a:gd name="T13" fmla="*/ 23 h 37"/>
                            <a:gd name="T14" fmla="*/ 1 w 34"/>
                            <a:gd name="T15" fmla="*/ 32 h 37"/>
                            <a:gd name="T16" fmla="*/ 1 w 34"/>
                            <a:gd name="T17" fmla="*/ 32 h 3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</a:cxnLst>
                          <a:rect l="0" t="0" r="r" b="b"/>
                          <a:pathLst>
                            <a:path w="34" h="37">
                              <a:moveTo>
                                <a:pt x="1" y="32"/>
                              </a:moveTo>
                              <a:lnTo>
                                <a:pt x="17" y="37"/>
                              </a:lnTo>
                              <a:lnTo>
                                <a:pt x="34" y="32"/>
                              </a:lnTo>
                              <a:lnTo>
                                <a:pt x="24" y="10"/>
                              </a:lnTo>
                              <a:lnTo>
                                <a:pt x="11" y="0"/>
                              </a:lnTo>
                              <a:lnTo>
                                <a:pt x="2" y="9"/>
                              </a:lnTo>
                              <a:lnTo>
                                <a:pt x="0" y="23"/>
                              </a:lnTo>
                              <a:lnTo>
                                <a:pt x="1" y="32"/>
                              </a:lnTo>
                              <a:lnTo>
                                <a:pt x="1" y="32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64" name="Freeform 275">
                          <a:extLst>
                            <a:ext uri="{FF2B5EF4-FFF2-40B4-BE49-F238E27FC236}">
                              <a16:creationId xmlns:a16="http://schemas.microsoft.com/office/drawing/2014/main" id="{DE52E84A-5FD5-421F-9356-E0565935FCA5}"/>
                            </a:ext>
                          </a:extLst>
                        </p:cNvPr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205294" y="1898142"/>
                          <a:ext cx="1028075" cy="1100923"/>
                        </a:xfrm>
                        <a:custGeom>
                          <a:avLst/>
                          <a:gdLst>
                            <a:gd name="T0" fmla="*/ 736 w 2208"/>
                            <a:gd name="T1" fmla="*/ 1947 h 2364"/>
                            <a:gd name="T2" fmla="*/ 771 w 2208"/>
                            <a:gd name="T3" fmla="*/ 1865 h 2364"/>
                            <a:gd name="T4" fmla="*/ 905 w 2208"/>
                            <a:gd name="T5" fmla="*/ 1888 h 2364"/>
                            <a:gd name="T6" fmla="*/ 997 w 2208"/>
                            <a:gd name="T7" fmla="*/ 1943 h 2364"/>
                            <a:gd name="T8" fmla="*/ 1050 w 2208"/>
                            <a:gd name="T9" fmla="*/ 1944 h 2364"/>
                            <a:gd name="T10" fmla="*/ 978 w 2208"/>
                            <a:gd name="T11" fmla="*/ 2109 h 2364"/>
                            <a:gd name="T12" fmla="*/ 846 w 2208"/>
                            <a:gd name="T13" fmla="*/ 2073 h 2364"/>
                            <a:gd name="T14" fmla="*/ 702 w 2208"/>
                            <a:gd name="T15" fmla="*/ 2007 h 2364"/>
                            <a:gd name="T16" fmla="*/ 1067 w 2208"/>
                            <a:gd name="T17" fmla="*/ 30 h 2364"/>
                            <a:gd name="T18" fmla="*/ 968 w 2208"/>
                            <a:gd name="T19" fmla="*/ 175 h 2364"/>
                            <a:gd name="T20" fmla="*/ 967 w 2208"/>
                            <a:gd name="T21" fmla="*/ 301 h 2364"/>
                            <a:gd name="T22" fmla="*/ 923 w 2208"/>
                            <a:gd name="T23" fmla="*/ 476 h 2364"/>
                            <a:gd name="T24" fmla="*/ 870 w 2208"/>
                            <a:gd name="T25" fmla="*/ 585 h 2364"/>
                            <a:gd name="T26" fmla="*/ 928 w 2208"/>
                            <a:gd name="T27" fmla="*/ 721 h 2364"/>
                            <a:gd name="T28" fmla="*/ 882 w 2208"/>
                            <a:gd name="T29" fmla="*/ 864 h 2364"/>
                            <a:gd name="T30" fmla="*/ 935 w 2208"/>
                            <a:gd name="T31" fmla="*/ 928 h 2364"/>
                            <a:gd name="T32" fmla="*/ 872 w 2208"/>
                            <a:gd name="T33" fmla="*/ 1030 h 2364"/>
                            <a:gd name="T34" fmla="*/ 695 w 2208"/>
                            <a:gd name="T35" fmla="*/ 940 h 2364"/>
                            <a:gd name="T36" fmla="*/ 543 w 2208"/>
                            <a:gd name="T37" fmla="*/ 1241 h 2364"/>
                            <a:gd name="T38" fmla="*/ 496 w 2208"/>
                            <a:gd name="T39" fmla="*/ 1260 h 2364"/>
                            <a:gd name="T40" fmla="*/ 244 w 2208"/>
                            <a:gd name="T41" fmla="*/ 1196 h 2364"/>
                            <a:gd name="T42" fmla="*/ 239 w 2208"/>
                            <a:gd name="T43" fmla="*/ 1478 h 2364"/>
                            <a:gd name="T44" fmla="*/ 116 w 2208"/>
                            <a:gd name="T45" fmla="*/ 1762 h 2364"/>
                            <a:gd name="T46" fmla="*/ 0 w 2208"/>
                            <a:gd name="T47" fmla="*/ 1819 h 2364"/>
                            <a:gd name="T48" fmla="*/ 351 w 2208"/>
                            <a:gd name="T49" fmla="*/ 2035 h 2364"/>
                            <a:gd name="T50" fmla="*/ 479 w 2208"/>
                            <a:gd name="T51" fmla="*/ 1993 h 2364"/>
                            <a:gd name="T52" fmla="*/ 750 w 2208"/>
                            <a:gd name="T53" fmla="*/ 2177 h 2364"/>
                            <a:gd name="T54" fmla="*/ 890 w 2208"/>
                            <a:gd name="T55" fmla="*/ 2320 h 2364"/>
                            <a:gd name="T56" fmla="*/ 984 w 2208"/>
                            <a:gd name="T57" fmla="*/ 2295 h 2364"/>
                            <a:gd name="T58" fmla="*/ 893 w 2208"/>
                            <a:gd name="T59" fmla="*/ 2256 h 2364"/>
                            <a:gd name="T60" fmla="*/ 976 w 2208"/>
                            <a:gd name="T61" fmla="*/ 2227 h 2364"/>
                            <a:gd name="T62" fmla="*/ 1170 w 2208"/>
                            <a:gd name="T63" fmla="*/ 2051 h 2364"/>
                            <a:gd name="T64" fmla="*/ 1226 w 2208"/>
                            <a:gd name="T65" fmla="*/ 1936 h 2364"/>
                            <a:gd name="T66" fmla="*/ 1315 w 2208"/>
                            <a:gd name="T67" fmla="*/ 1576 h 2364"/>
                            <a:gd name="T68" fmla="*/ 1324 w 2208"/>
                            <a:gd name="T69" fmla="*/ 1489 h 2364"/>
                            <a:gd name="T70" fmla="*/ 1306 w 2208"/>
                            <a:gd name="T71" fmla="*/ 1344 h 2364"/>
                            <a:gd name="T72" fmla="*/ 1410 w 2208"/>
                            <a:gd name="T73" fmla="*/ 1272 h 2364"/>
                            <a:gd name="T74" fmla="*/ 1567 w 2208"/>
                            <a:gd name="T75" fmla="*/ 1206 h 2364"/>
                            <a:gd name="T76" fmla="*/ 1658 w 2208"/>
                            <a:gd name="T77" fmla="*/ 1233 h 2364"/>
                            <a:gd name="T78" fmla="*/ 1887 w 2208"/>
                            <a:gd name="T79" fmla="*/ 1148 h 2364"/>
                            <a:gd name="T80" fmla="*/ 1978 w 2208"/>
                            <a:gd name="T81" fmla="*/ 1160 h 2364"/>
                            <a:gd name="T82" fmla="*/ 2082 w 2208"/>
                            <a:gd name="T83" fmla="*/ 1003 h 2364"/>
                            <a:gd name="T84" fmla="*/ 2114 w 2208"/>
                            <a:gd name="T85" fmla="*/ 867 h 2364"/>
                            <a:gd name="T86" fmla="*/ 2076 w 2208"/>
                            <a:gd name="T87" fmla="*/ 638 h 2364"/>
                            <a:gd name="T88" fmla="*/ 1833 w 2208"/>
                            <a:gd name="T89" fmla="*/ 532 h 2364"/>
                            <a:gd name="T90" fmla="*/ 1600 w 2208"/>
                            <a:gd name="T91" fmla="*/ 838 h 2364"/>
                            <a:gd name="T92" fmla="*/ 1513 w 2208"/>
                            <a:gd name="T93" fmla="*/ 847 h 2364"/>
                            <a:gd name="T94" fmla="*/ 1350 w 2208"/>
                            <a:gd name="T95" fmla="*/ 898 h 2364"/>
                            <a:gd name="T96" fmla="*/ 1301 w 2208"/>
                            <a:gd name="T97" fmla="*/ 666 h 2364"/>
                            <a:gd name="T98" fmla="*/ 1282 w 2208"/>
                            <a:gd name="T99" fmla="*/ 515 h 2364"/>
                            <a:gd name="T100" fmla="*/ 1216 w 2208"/>
                            <a:gd name="T101" fmla="*/ 299 h 2364"/>
                            <a:gd name="T102" fmla="*/ 1142 w 2208"/>
                            <a:gd name="T103" fmla="*/ 134 h 2364"/>
                            <a:gd name="T104" fmla="*/ 1087 w 2208"/>
                            <a:gd name="T105" fmla="*/ 127 h 2364"/>
                            <a:gd name="T106" fmla="*/ 1095 w 2208"/>
                            <a:gd name="T107" fmla="*/ 0 h 236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</a:cxnLst>
                          <a:rect l="0" t="0" r="r" b="b"/>
                          <a:pathLst>
                            <a:path w="2208" h="2364">
                              <a:moveTo>
                                <a:pt x="702" y="2004"/>
                              </a:moveTo>
                              <a:lnTo>
                                <a:pt x="694" y="1964"/>
                              </a:lnTo>
                              <a:lnTo>
                                <a:pt x="694" y="1960"/>
                              </a:lnTo>
                              <a:lnTo>
                                <a:pt x="697" y="1959"/>
                              </a:lnTo>
                              <a:lnTo>
                                <a:pt x="736" y="1947"/>
                              </a:lnTo>
                              <a:lnTo>
                                <a:pt x="719" y="1888"/>
                              </a:lnTo>
                              <a:lnTo>
                                <a:pt x="718" y="1885"/>
                              </a:lnTo>
                              <a:lnTo>
                                <a:pt x="722" y="1883"/>
                              </a:lnTo>
                              <a:lnTo>
                                <a:pt x="768" y="1866"/>
                              </a:lnTo>
                              <a:lnTo>
                                <a:pt x="771" y="1865"/>
                              </a:lnTo>
                              <a:lnTo>
                                <a:pt x="773" y="1868"/>
                              </a:lnTo>
                              <a:lnTo>
                                <a:pt x="809" y="1940"/>
                              </a:lnTo>
                              <a:lnTo>
                                <a:pt x="899" y="1886"/>
                              </a:lnTo>
                              <a:lnTo>
                                <a:pt x="902" y="1885"/>
                              </a:lnTo>
                              <a:lnTo>
                                <a:pt x="905" y="1888"/>
                              </a:lnTo>
                              <a:lnTo>
                                <a:pt x="936" y="1931"/>
                              </a:lnTo>
                              <a:lnTo>
                                <a:pt x="936" y="1931"/>
                              </a:lnTo>
                              <a:lnTo>
                                <a:pt x="936" y="1931"/>
                              </a:lnTo>
                              <a:lnTo>
                                <a:pt x="962" y="1956"/>
                              </a:lnTo>
                              <a:lnTo>
                                <a:pt x="997" y="1943"/>
                              </a:lnTo>
                              <a:lnTo>
                                <a:pt x="998" y="1942"/>
                              </a:lnTo>
                              <a:lnTo>
                                <a:pt x="999" y="1942"/>
                              </a:lnTo>
                              <a:lnTo>
                                <a:pt x="1047" y="1942"/>
                              </a:lnTo>
                              <a:lnTo>
                                <a:pt x="1049" y="1942"/>
                              </a:lnTo>
                              <a:lnTo>
                                <a:pt x="1050" y="1944"/>
                              </a:lnTo>
                              <a:lnTo>
                                <a:pt x="1074" y="1982"/>
                              </a:lnTo>
                              <a:lnTo>
                                <a:pt x="1076" y="1985"/>
                              </a:lnTo>
                              <a:lnTo>
                                <a:pt x="1074" y="1987"/>
                              </a:lnTo>
                              <a:lnTo>
                                <a:pt x="980" y="2106"/>
                              </a:lnTo>
                              <a:lnTo>
                                <a:pt x="978" y="2109"/>
                              </a:lnTo>
                              <a:lnTo>
                                <a:pt x="975" y="2107"/>
                              </a:lnTo>
                              <a:lnTo>
                                <a:pt x="918" y="2067"/>
                              </a:lnTo>
                              <a:lnTo>
                                <a:pt x="848" y="2073"/>
                              </a:lnTo>
                              <a:lnTo>
                                <a:pt x="847" y="2073"/>
                              </a:lnTo>
                              <a:lnTo>
                                <a:pt x="846" y="2073"/>
                              </a:lnTo>
                              <a:lnTo>
                                <a:pt x="805" y="2047"/>
                              </a:lnTo>
                              <a:lnTo>
                                <a:pt x="805" y="2047"/>
                              </a:lnTo>
                              <a:lnTo>
                                <a:pt x="756" y="2011"/>
                              </a:lnTo>
                              <a:lnTo>
                                <a:pt x="705" y="2007"/>
                              </a:lnTo>
                              <a:lnTo>
                                <a:pt x="702" y="2007"/>
                              </a:lnTo>
                              <a:lnTo>
                                <a:pt x="702" y="2004"/>
                              </a:lnTo>
                              <a:close/>
                              <a:moveTo>
                                <a:pt x="1095" y="0"/>
                              </a:moveTo>
                              <a:lnTo>
                                <a:pt x="1069" y="29"/>
                              </a:lnTo>
                              <a:lnTo>
                                <a:pt x="1068" y="30"/>
                              </a:lnTo>
                              <a:lnTo>
                                <a:pt x="1067" y="30"/>
                              </a:lnTo>
                              <a:lnTo>
                                <a:pt x="1004" y="43"/>
                              </a:lnTo>
                              <a:lnTo>
                                <a:pt x="948" y="69"/>
                              </a:lnTo>
                              <a:lnTo>
                                <a:pt x="951" y="131"/>
                              </a:lnTo>
                              <a:lnTo>
                                <a:pt x="967" y="174"/>
                              </a:lnTo>
                              <a:lnTo>
                                <a:pt x="968" y="175"/>
                              </a:lnTo>
                              <a:lnTo>
                                <a:pt x="967" y="177"/>
                              </a:lnTo>
                              <a:lnTo>
                                <a:pt x="935" y="248"/>
                              </a:lnTo>
                              <a:lnTo>
                                <a:pt x="967" y="299"/>
                              </a:lnTo>
                              <a:lnTo>
                                <a:pt x="967" y="300"/>
                              </a:lnTo>
                              <a:lnTo>
                                <a:pt x="967" y="301"/>
                              </a:lnTo>
                              <a:lnTo>
                                <a:pt x="974" y="377"/>
                              </a:lnTo>
                              <a:lnTo>
                                <a:pt x="974" y="378"/>
                              </a:lnTo>
                              <a:lnTo>
                                <a:pt x="974" y="379"/>
                              </a:lnTo>
                              <a:lnTo>
                                <a:pt x="924" y="475"/>
                              </a:lnTo>
                              <a:lnTo>
                                <a:pt x="923" y="476"/>
                              </a:lnTo>
                              <a:lnTo>
                                <a:pt x="922" y="477"/>
                              </a:lnTo>
                              <a:lnTo>
                                <a:pt x="840" y="528"/>
                              </a:lnTo>
                              <a:lnTo>
                                <a:pt x="871" y="581"/>
                              </a:lnTo>
                              <a:lnTo>
                                <a:pt x="872" y="583"/>
                              </a:lnTo>
                              <a:lnTo>
                                <a:pt x="870" y="585"/>
                              </a:lnTo>
                              <a:lnTo>
                                <a:pt x="835" y="633"/>
                              </a:lnTo>
                              <a:lnTo>
                                <a:pt x="854" y="695"/>
                              </a:lnTo>
                              <a:lnTo>
                                <a:pt x="925" y="718"/>
                              </a:lnTo>
                              <a:lnTo>
                                <a:pt x="927" y="719"/>
                              </a:lnTo>
                              <a:lnTo>
                                <a:pt x="928" y="721"/>
                              </a:lnTo>
                              <a:lnTo>
                                <a:pt x="937" y="767"/>
                              </a:lnTo>
                              <a:lnTo>
                                <a:pt x="938" y="769"/>
                              </a:lnTo>
                              <a:lnTo>
                                <a:pt x="936" y="771"/>
                              </a:lnTo>
                              <a:lnTo>
                                <a:pt x="884" y="826"/>
                              </a:lnTo>
                              <a:lnTo>
                                <a:pt x="882" y="864"/>
                              </a:lnTo>
                              <a:lnTo>
                                <a:pt x="915" y="873"/>
                              </a:lnTo>
                              <a:lnTo>
                                <a:pt x="917" y="874"/>
                              </a:lnTo>
                              <a:lnTo>
                                <a:pt x="917" y="876"/>
                              </a:lnTo>
                              <a:lnTo>
                                <a:pt x="934" y="926"/>
                              </a:lnTo>
                              <a:lnTo>
                                <a:pt x="935" y="928"/>
                              </a:lnTo>
                              <a:lnTo>
                                <a:pt x="933" y="930"/>
                              </a:lnTo>
                              <a:lnTo>
                                <a:pt x="894" y="969"/>
                              </a:lnTo>
                              <a:lnTo>
                                <a:pt x="878" y="1027"/>
                              </a:lnTo>
                              <a:lnTo>
                                <a:pt x="876" y="1033"/>
                              </a:lnTo>
                              <a:lnTo>
                                <a:pt x="872" y="1030"/>
                              </a:lnTo>
                              <a:lnTo>
                                <a:pt x="799" y="987"/>
                              </a:lnTo>
                              <a:lnTo>
                                <a:pt x="798" y="986"/>
                              </a:lnTo>
                              <a:lnTo>
                                <a:pt x="797" y="985"/>
                              </a:lnTo>
                              <a:lnTo>
                                <a:pt x="763" y="909"/>
                              </a:lnTo>
                              <a:lnTo>
                                <a:pt x="695" y="940"/>
                              </a:lnTo>
                              <a:lnTo>
                                <a:pt x="686" y="1004"/>
                              </a:lnTo>
                              <a:lnTo>
                                <a:pt x="686" y="1005"/>
                              </a:lnTo>
                              <a:lnTo>
                                <a:pt x="685" y="1006"/>
                              </a:lnTo>
                              <a:lnTo>
                                <a:pt x="537" y="1167"/>
                              </a:lnTo>
                              <a:lnTo>
                                <a:pt x="543" y="1241"/>
                              </a:lnTo>
                              <a:lnTo>
                                <a:pt x="544" y="1244"/>
                              </a:lnTo>
                              <a:lnTo>
                                <a:pt x="541" y="1245"/>
                              </a:lnTo>
                              <a:lnTo>
                                <a:pt x="501" y="1262"/>
                              </a:lnTo>
                              <a:lnTo>
                                <a:pt x="498" y="1263"/>
                              </a:lnTo>
                              <a:lnTo>
                                <a:pt x="496" y="1260"/>
                              </a:lnTo>
                              <a:lnTo>
                                <a:pt x="439" y="1137"/>
                              </a:lnTo>
                              <a:lnTo>
                                <a:pt x="400" y="1188"/>
                              </a:lnTo>
                              <a:lnTo>
                                <a:pt x="399" y="1189"/>
                              </a:lnTo>
                              <a:lnTo>
                                <a:pt x="397" y="1189"/>
                              </a:lnTo>
                              <a:lnTo>
                                <a:pt x="244" y="1196"/>
                              </a:lnTo>
                              <a:lnTo>
                                <a:pt x="183" y="1308"/>
                              </a:lnTo>
                              <a:lnTo>
                                <a:pt x="251" y="1415"/>
                              </a:lnTo>
                              <a:lnTo>
                                <a:pt x="252" y="1416"/>
                              </a:lnTo>
                              <a:lnTo>
                                <a:pt x="252" y="1418"/>
                              </a:lnTo>
                              <a:lnTo>
                                <a:pt x="239" y="1478"/>
                              </a:lnTo>
                              <a:lnTo>
                                <a:pt x="238" y="1480"/>
                              </a:lnTo>
                              <a:lnTo>
                                <a:pt x="235" y="1481"/>
                              </a:lnTo>
                              <a:lnTo>
                                <a:pt x="168" y="1490"/>
                              </a:lnTo>
                              <a:lnTo>
                                <a:pt x="129" y="1564"/>
                              </a:lnTo>
                              <a:lnTo>
                                <a:pt x="116" y="1762"/>
                              </a:lnTo>
                              <a:lnTo>
                                <a:pt x="116" y="1766"/>
                              </a:lnTo>
                              <a:lnTo>
                                <a:pt x="112" y="1766"/>
                              </a:lnTo>
                              <a:lnTo>
                                <a:pt x="47" y="1759"/>
                              </a:lnTo>
                              <a:lnTo>
                                <a:pt x="0" y="1781"/>
                              </a:lnTo>
                              <a:lnTo>
                                <a:pt x="0" y="1819"/>
                              </a:lnTo>
                              <a:lnTo>
                                <a:pt x="112" y="1919"/>
                              </a:lnTo>
                              <a:lnTo>
                                <a:pt x="279" y="2036"/>
                              </a:lnTo>
                              <a:lnTo>
                                <a:pt x="347" y="2032"/>
                              </a:lnTo>
                              <a:lnTo>
                                <a:pt x="350" y="2031"/>
                              </a:lnTo>
                              <a:lnTo>
                                <a:pt x="351" y="2035"/>
                              </a:lnTo>
                              <a:lnTo>
                                <a:pt x="354" y="2046"/>
                              </a:lnTo>
                              <a:lnTo>
                                <a:pt x="397" y="2047"/>
                              </a:lnTo>
                              <a:lnTo>
                                <a:pt x="474" y="1992"/>
                              </a:lnTo>
                              <a:lnTo>
                                <a:pt x="477" y="1990"/>
                              </a:lnTo>
                              <a:lnTo>
                                <a:pt x="479" y="1993"/>
                              </a:lnTo>
                              <a:lnTo>
                                <a:pt x="528" y="2059"/>
                              </a:lnTo>
                              <a:lnTo>
                                <a:pt x="675" y="2176"/>
                              </a:lnTo>
                              <a:lnTo>
                                <a:pt x="747" y="2176"/>
                              </a:lnTo>
                              <a:lnTo>
                                <a:pt x="749" y="2176"/>
                              </a:lnTo>
                              <a:lnTo>
                                <a:pt x="750" y="2177"/>
                              </a:lnTo>
                              <a:lnTo>
                                <a:pt x="806" y="2249"/>
                              </a:lnTo>
                              <a:lnTo>
                                <a:pt x="806" y="2250"/>
                              </a:lnTo>
                              <a:lnTo>
                                <a:pt x="806" y="2251"/>
                              </a:lnTo>
                              <a:lnTo>
                                <a:pt x="813" y="2305"/>
                              </a:lnTo>
                              <a:lnTo>
                                <a:pt x="890" y="2320"/>
                              </a:lnTo>
                              <a:lnTo>
                                <a:pt x="892" y="2321"/>
                              </a:lnTo>
                              <a:lnTo>
                                <a:pt x="893" y="2323"/>
                              </a:lnTo>
                              <a:lnTo>
                                <a:pt x="903" y="2364"/>
                              </a:lnTo>
                              <a:lnTo>
                                <a:pt x="970" y="2341"/>
                              </a:lnTo>
                              <a:lnTo>
                                <a:pt x="984" y="2295"/>
                              </a:lnTo>
                              <a:lnTo>
                                <a:pt x="913" y="2295"/>
                              </a:lnTo>
                              <a:lnTo>
                                <a:pt x="911" y="2295"/>
                              </a:lnTo>
                              <a:lnTo>
                                <a:pt x="910" y="2293"/>
                              </a:lnTo>
                              <a:lnTo>
                                <a:pt x="894" y="2259"/>
                              </a:lnTo>
                              <a:lnTo>
                                <a:pt x="893" y="2256"/>
                              </a:lnTo>
                              <a:lnTo>
                                <a:pt x="896" y="2254"/>
                              </a:lnTo>
                              <a:lnTo>
                                <a:pt x="929" y="2234"/>
                              </a:lnTo>
                              <a:lnTo>
                                <a:pt x="930" y="2234"/>
                              </a:lnTo>
                              <a:lnTo>
                                <a:pt x="931" y="2234"/>
                              </a:lnTo>
                              <a:lnTo>
                                <a:pt x="976" y="2227"/>
                              </a:lnTo>
                              <a:lnTo>
                                <a:pt x="1068" y="2164"/>
                              </a:lnTo>
                              <a:lnTo>
                                <a:pt x="1101" y="2113"/>
                              </a:lnTo>
                              <a:lnTo>
                                <a:pt x="1101" y="2113"/>
                              </a:lnTo>
                              <a:lnTo>
                                <a:pt x="1102" y="2113"/>
                              </a:lnTo>
                              <a:lnTo>
                                <a:pt x="1170" y="2051"/>
                              </a:lnTo>
                              <a:lnTo>
                                <a:pt x="1185" y="2005"/>
                              </a:lnTo>
                              <a:lnTo>
                                <a:pt x="1185" y="2005"/>
                              </a:lnTo>
                              <a:lnTo>
                                <a:pt x="1185" y="2005"/>
                              </a:lnTo>
                              <a:lnTo>
                                <a:pt x="1225" y="1936"/>
                              </a:lnTo>
                              <a:lnTo>
                                <a:pt x="1226" y="1936"/>
                              </a:lnTo>
                              <a:lnTo>
                                <a:pt x="1274" y="1861"/>
                              </a:lnTo>
                              <a:lnTo>
                                <a:pt x="1316" y="1745"/>
                              </a:lnTo>
                              <a:lnTo>
                                <a:pt x="1316" y="1745"/>
                              </a:lnTo>
                              <a:lnTo>
                                <a:pt x="1348" y="1653"/>
                              </a:lnTo>
                              <a:lnTo>
                                <a:pt x="1315" y="1576"/>
                              </a:lnTo>
                              <a:lnTo>
                                <a:pt x="1314" y="1575"/>
                              </a:lnTo>
                              <a:lnTo>
                                <a:pt x="1314" y="1574"/>
                              </a:lnTo>
                              <a:lnTo>
                                <a:pt x="1323" y="1491"/>
                              </a:lnTo>
                              <a:lnTo>
                                <a:pt x="1323" y="1490"/>
                              </a:lnTo>
                              <a:lnTo>
                                <a:pt x="1324" y="1489"/>
                              </a:lnTo>
                              <a:lnTo>
                                <a:pt x="1367" y="1438"/>
                              </a:lnTo>
                              <a:lnTo>
                                <a:pt x="1316" y="1395"/>
                              </a:lnTo>
                              <a:lnTo>
                                <a:pt x="1315" y="1394"/>
                              </a:lnTo>
                              <a:lnTo>
                                <a:pt x="1314" y="1393"/>
                              </a:lnTo>
                              <a:lnTo>
                                <a:pt x="1306" y="1344"/>
                              </a:lnTo>
                              <a:lnTo>
                                <a:pt x="1305" y="1340"/>
                              </a:lnTo>
                              <a:lnTo>
                                <a:pt x="1309" y="1339"/>
                              </a:lnTo>
                              <a:lnTo>
                                <a:pt x="1398" y="1328"/>
                              </a:lnTo>
                              <a:lnTo>
                                <a:pt x="1409" y="1277"/>
                              </a:lnTo>
                              <a:lnTo>
                                <a:pt x="1410" y="1272"/>
                              </a:lnTo>
                              <a:lnTo>
                                <a:pt x="1414" y="1274"/>
                              </a:lnTo>
                              <a:lnTo>
                                <a:pt x="1461" y="1291"/>
                              </a:lnTo>
                              <a:lnTo>
                                <a:pt x="1544" y="1263"/>
                              </a:lnTo>
                              <a:lnTo>
                                <a:pt x="1566" y="1211"/>
                              </a:lnTo>
                              <a:lnTo>
                                <a:pt x="1567" y="1206"/>
                              </a:lnTo>
                              <a:lnTo>
                                <a:pt x="1571" y="1209"/>
                              </a:lnTo>
                              <a:lnTo>
                                <a:pt x="1613" y="1231"/>
                              </a:lnTo>
                              <a:lnTo>
                                <a:pt x="1655" y="1231"/>
                              </a:lnTo>
                              <a:lnTo>
                                <a:pt x="1657" y="1231"/>
                              </a:lnTo>
                              <a:lnTo>
                                <a:pt x="1658" y="1233"/>
                              </a:lnTo>
                              <a:lnTo>
                                <a:pt x="1688" y="1273"/>
                              </a:lnTo>
                              <a:lnTo>
                                <a:pt x="1863" y="1226"/>
                              </a:lnTo>
                              <a:lnTo>
                                <a:pt x="1882" y="1151"/>
                              </a:lnTo>
                              <a:lnTo>
                                <a:pt x="1883" y="1148"/>
                              </a:lnTo>
                              <a:lnTo>
                                <a:pt x="1887" y="1148"/>
                              </a:lnTo>
                              <a:lnTo>
                                <a:pt x="1921" y="1154"/>
                              </a:lnTo>
                              <a:lnTo>
                                <a:pt x="1966" y="1104"/>
                              </a:lnTo>
                              <a:lnTo>
                                <a:pt x="1972" y="1097"/>
                              </a:lnTo>
                              <a:lnTo>
                                <a:pt x="1973" y="1106"/>
                              </a:lnTo>
                              <a:lnTo>
                                <a:pt x="1978" y="1160"/>
                              </a:lnTo>
                              <a:lnTo>
                                <a:pt x="2085" y="1177"/>
                              </a:lnTo>
                              <a:lnTo>
                                <a:pt x="2147" y="1133"/>
                              </a:lnTo>
                              <a:lnTo>
                                <a:pt x="2150" y="1052"/>
                              </a:lnTo>
                              <a:lnTo>
                                <a:pt x="2083" y="1004"/>
                              </a:lnTo>
                              <a:lnTo>
                                <a:pt x="2082" y="1003"/>
                              </a:lnTo>
                              <a:lnTo>
                                <a:pt x="2082" y="1001"/>
                              </a:lnTo>
                              <a:lnTo>
                                <a:pt x="2076" y="899"/>
                              </a:lnTo>
                              <a:lnTo>
                                <a:pt x="2076" y="897"/>
                              </a:lnTo>
                              <a:lnTo>
                                <a:pt x="2077" y="895"/>
                              </a:lnTo>
                              <a:lnTo>
                                <a:pt x="2114" y="867"/>
                              </a:lnTo>
                              <a:lnTo>
                                <a:pt x="2115" y="866"/>
                              </a:lnTo>
                              <a:lnTo>
                                <a:pt x="2117" y="866"/>
                              </a:lnTo>
                              <a:lnTo>
                                <a:pt x="2208" y="863"/>
                              </a:lnTo>
                              <a:lnTo>
                                <a:pt x="2122" y="669"/>
                              </a:lnTo>
                              <a:lnTo>
                                <a:pt x="2076" y="638"/>
                              </a:lnTo>
                              <a:lnTo>
                                <a:pt x="1996" y="674"/>
                              </a:lnTo>
                              <a:lnTo>
                                <a:pt x="1992" y="676"/>
                              </a:lnTo>
                              <a:lnTo>
                                <a:pt x="1991" y="672"/>
                              </a:lnTo>
                              <a:lnTo>
                                <a:pt x="1961" y="584"/>
                              </a:lnTo>
                              <a:lnTo>
                                <a:pt x="1833" y="532"/>
                              </a:lnTo>
                              <a:lnTo>
                                <a:pt x="1768" y="543"/>
                              </a:lnTo>
                              <a:lnTo>
                                <a:pt x="1668" y="758"/>
                              </a:lnTo>
                              <a:lnTo>
                                <a:pt x="1668" y="759"/>
                              </a:lnTo>
                              <a:lnTo>
                                <a:pt x="1668" y="759"/>
                              </a:lnTo>
                              <a:lnTo>
                                <a:pt x="1600" y="838"/>
                              </a:lnTo>
                              <a:lnTo>
                                <a:pt x="1597" y="841"/>
                              </a:lnTo>
                              <a:lnTo>
                                <a:pt x="1594" y="838"/>
                              </a:lnTo>
                              <a:lnTo>
                                <a:pt x="1545" y="790"/>
                              </a:lnTo>
                              <a:lnTo>
                                <a:pt x="1514" y="845"/>
                              </a:lnTo>
                              <a:lnTo>
                                <a:pt x="1513" y="847"/>
                              </a:lnTo>
                              <a:lnTo>
                                <a:pt x="1511" y="847"/>
                              </a:lnTo>
                              <a:lnTo>
                                <a:pt x="1418" y="851"/>
                              </a:lnTo>
                              <a:lnTo>
                                <a:pt x="1356" y="899"/>
                              </a:lnTo>
                              <a:lnTo>
                                <a:pt x="1353" y="901"/>
                              </a:lnTo>
                              <a:lnTo>
                                <a:pt x="1350" y="898"/>
                              </a:lnTo>
                              <a:lnTo>
                                <a:pt x="1290" y="835"/>
                              </a:lnTo>
                              <a:lnTo>
                                <a:pt x="1289" y="833"/>
                              </a:lnTo>
                              <a:lnTo>
                                <a:pt x="1289" y="831"/>
                              </a:lnTo>
                              <a:lnTo>
                                <a:pt x="1301" y="667"/>
                              </a:lnTo>
                              <a:lnTo>
                                <a:pt x="1301" y="666"/>
                              </a:lnTo>
                              <a:lnTo>
                                <a:pt x="1301" y="665"/>
                              </a:lnTo>
                              <a:lnTo>
                                <a:pt x="1355" y="538"/>
                              </a:lnTo>
                              <a:lnTo>
                                <a:pt x="1285" y="517"/>
                              </a:lnTo>
                              <a:lnTo>
                                <a:pt x="1283" y="516"/>
                              </a:lnTo>
                              <a:lnTo>
                                <a:pt x="1282" y="515"/>
                              </a:lnTo>
                              <a:lnTo>
                                <a:pt x="1248" y="440"/>
                              </a:lnTo>
                              <a:lnTo>
                                <a:pt x="1248" y="439"/>
                              </a:lnTo>
                              <a:lnTo>
                                <a:pt x="1248" y="437"/>
                              </a:lnTo>
                              <a:lnTo>
                                <a:pt x="1274" y="331"/>
                              </a:lnTo>
                              <a:lnTo>
                                <a:pt x="1216" y="299"/>
                              </a:lnTo>
                              <a:lnTo>
                                <a:pt x="1214" y="298"/>
                              </a:lnTo>
                              <a:lnTo>
                                <a:pt x="1214" y="296"/>
                              </a:lnTo>
                              <a:lnTo>
                                <a:pt x="1218" y="192"/>
                              </a:lnTo>
                              <a:lnTo>
                                <a:pt x="1176" y="110"/>
                              </a:lnTo>
                              <a:lnTo>
                                <a:pt x="1142" y="134"/>
                              </a:lnTo>
                              <a:lnTo>
                                <a:pt x="1141" y="135"/>
                              </a:lnTo>
                              <a:lnTo>
                                <a:pt x="1139" y="135"/>
                              </a:lnTo>
                              <a:lnTo>
                                <a:pt x="1091" y="131"/>
                              </a:lnTo>
                              <a:lnTo>
                                <a:pt x="1087" y="131"/>
                              </a:lnTo>
                              <a:lnTo>
                                <a:pt x="1087" y="127"/>
                              </a:lnTo>
                              <a:lnTo>
                                <a:pt x="1087" y="75"/>
                              </a:lnTo>
                              <a:lnTo>
                                <a:pt x="1087" y="72"/>
                              </a:lnTo>
                              <a:lnTo>
                                <a:pt x="1089" y="71"/>
                              </a:lnTo>
                              <a:lnTo>
                                <a:pt x="1127" y="47"/>
                              </a:lnTo>
                              <a:lnTo>
                                <a:pt x="1095" y="0"/>
                              </a:lnTo>
                              <a:lnTo>
                                <a:pt x="1095" y="0"/>
                              </a:lnTo>
                            </a:path>
                          </a:pathLst>
                        </a:custGeom>
                        <a:solidFill>
                          <a:schemeClr val="bg1">
                            <a:lumMod val="95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65" name="Freeform 276">
                          <a:extLst>
                            <a:ext uri="{FF2B5EF4-FFF2-40B4-BE49-F238E27FC236}">
                              <a16:creationId xmlns:a16="http://schemas.microsoft.com/office/drawing/2014/main" id="{77A59380-AFF8-48A2-9D14-F45E78225821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3532596" y="2771287"/>
                          <a:ext cx="169294" cy="103629"/>
                        </a:xfrm>
                        <a:custGeom>
                          <a:avLst/>
                          <a:gdLst>
                            <a:gd name="T0" fmla="*/ 0 w 165"/>
                            <a:gd name="T1" fmla="*/ 41 h 101"/>
                            <a:gd name="T2" fmla="*/ 3 w 165"/>
                            <a:gd name="T3" fmla="*/ 56 h 101"/>
                            <a:gd name="T4" fmla="*/ 24 w 165"/>
                            <a:gd name="T5" fmla="*/ 58 h 101"/>
                            <a:gd name="T6" fmla="*/ 25 w 165"/>
                            <a:gd name="T7" fmla="*/ 58 h 101"/>
                            <a:gd name="T8" fmla="*/ 25 w 165"/>
                            <a:gd name="T9" fmla="*/ 58 h 101"/>
                            <a:gd name="T10" fmla="*/ 26 w 165"/>
                            <a:gd name="T11" fmla="*/ 59 h 101"/>
                            <a:gd name="T12" fmla="*/ 26 w 165"/>
                            <a:gd name="T13" fmla="*/ 59 h 101"/>
                            <a:gd name="T14" fmla="*/ 26 w 165"/>
                            <a:gd name="T15" fmla="*/ 59 h 101"/>
                            <a:gd name="T16" fmla="*/ 48 w 165"/>
                            <a:gd name="T17" fmla="*/ 75 h 101"/>
                            <a:gd name="T18" fmla="*/ 66 w 165"/>
                            <a:gd name="T19" fmla="*/ 86 h 101"/>
                            <a:gd name="T20" fmla="*/ 97 w 165"/>
                            <a:gd name="T21" fmla="*/ 84 h 101"/>
                            <a:gd name="T22" fmla="*/ 98 w 165"/>
                            <a:gd name="T23" fmla="*/ 84 h 101"/>
                            <a:gd name="T24" fmla="*/ 98 w 165"/>
                            <a:gd name="T25" fmla="*/ 83 h 101"/>
                            <a:gd name="T26" fmla="*/ 99 w 165"/>
                            <a:gd name="T27" fmla="*/ 84 h 101"/>
                            <a:gd name="T28" fmla="*/ 100 w 165"/>
                            <a:gd name="T29" fmla="*/ 84 h 101"/>
                            <a:gd name="T30" fmla="*/ 124 w 165"/>
                            <a:gd name="T31" fmla="*/ 101 h 101"/>
                            <a:gd name="T32" fmla="*/ 165 w 165"/>
                            <a:gd name="T33" fmla="*/ 50 h 101"/>
                            <a:gd name="T34" fmla="*/ 155 w 165"/>
                            <a:gd name="T35" fmla="*/ 34 h 101"/>
                            <a:gd name="T36" fmla="*/ 134 w 165"/>
                            <a:gd name="T37" fmla="*/ 34 h 101"/>
                            <a:gd name="T38" fmla="*/ 119 w 165"/>
                            <a:gd name="T39" fmla="*/ 40 h 101"/>
                            <a:gd name="T40" fmla="*/ 118 w 165"/>
                            <a:gd name="T41" fmla="*/ 41 h 101"/>
                            <a:gd name="T42" fmla="*/ 117 w 165"/>
                            <a:gd name="T43" fmla="*/ 41 h 101"/>
                            <a:gd name="T44" fmla="*/ 116 w 165"/>
                            <a:gd name="T45" fmla="*/ 40 h 101"/>
                            <a:gd name="T46" fmla="*/ 115 w 165"/>
                            <a:gd name="T47" fmla="*/ 40 h 101"/>
                            <a:gd name="T48" fmla="*/ 103 w 165"/>
                            <a:gd name="T49" fmla="*/ 28 h 101"/>
                            <a:gd name="T50" fmla="*/ 103 w 165"/>
                            <a:gd name="T51" fmla="*/ 28 h 101"/>
                            <a:gd name="T52" fmla="*/ 103 w 165"/>
                            <a:gd name="T53" fmla="*/ 28 h 101"/>
                            <a:gd name="T54" fmla="*/ 103 w 165"/>
                            <a:gd name="T55" fmla="*/ 28 h 101"/>
                            <a:gd name="T56" fmla="*/ 103 w 165"/>
                            <a:gd name="T57" fmla="*/ 28 h 101"/>
                            <a:gd name="T58" fmla="*/ 103 w 165"/>
                            <a:gd name="T59" fmla="*/ 28 h 101"/>
                            <a:gd name="T60" fmla="*/ 89 w 165"/>
                            <a:gd name="T61" fmla="*/ 9 h 101"/>
                            <a:gd name="T62" fmla="*/ 50 w 165"/>
                            <a:gd name="T63" fmla="*/ 33 h 101"/>
                            <a:gd name="T64" fmla="*/ 48 w 165"/>
                            <a:gd name="T65" fmla="*/ 34 h 101"/>
                            <a:gd name="T66" fmla="*/ 47 w 165"/>
                            <a:gd name="T67" fmla="*/ 35 h 101"/>
                            <a:gd name="T68" fmla="*/ 46 w 165"/>
                            <a:gd name="T69" fmla="*/ 33 h 101"/>
                            <a:gd name="T70" fmla="*/ 45 w 165"/>
                            <a:gd name="T71" fmla="*/ 31 h 101"/>
                            <a:gd name="T72" fmla="*/ 29 w 165"/>
                            <a:gd name="T73" fmla="*/ 0 h 101"/>
                            <a:gd name="T74" fmla="*/ 11 w 165"/>
                            <a:gd name="T75" fmla="*/ 7 h 101"/>
                            <a:gd name="T76" fmla="*/ 19 w 165"/>
                            <a:gd name="T77" fmla="*/ 32 h 101"/>
                            <a:gd name="T78" fmla="*/ 19 w 165"/>
                            <a:gd name="T79" fmla="*/ 33 h 101"/>
                            <a:gd name="T80" fmla="*/ 19 w 165"/>
                            <a:gd name="T81" fmla="*/ 35 h 101"/>
                            <a:gd name="T82" fmla="*/ 18 w 165"/>
                            <a:gd name="T83" fmla="*/ 36 h 101"/>
                            <a:gd name="T84" fmla="*/ 16 w 165"/>
                            <a:gd name="T85" fmla="*/ 36 h 101"/>
                            <a:gd name="T86" fmla="*/ 0 w 165"/>
                            <a:gd name="T87" fmla="*/ 41 h 101"/>
                            <a:gd name="T88" fmla="*/ 0 w 165"/>
                            <a:gd name="T89" fmla="*/ 41 h 101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</a:cxnLst>
                          <a:rect l="0" t="0" r="r" b="b"/>
                          <a:pathLst>
                            <a:path w="165" h="101">
                              <a:moveTo>
                                <a:pt x="0" y="41"/>
                              </a:moveTo>
                              <a:lnTo>
                                <a:pt x="3" y="56"/>
                              </a:lnTo>
                              <a:lnTo>
                                <a:pt x="24" y="58"/>
                              </a:lnTo>
                              <a:lnTo>
                                <a:pt x="25" y="58"/>
                              </a:lnTo>
                              <a:lnTo>
                                <a:pt x="25" y="58"/>
                              </a:lnTo>
                              <a:lnTo>
                                <a:pt x="26" y="59"/>
                              </a:lnTo>
                              <a:lnTo>
                                <a:pt x="26" y="59"/>
                              </a:lnTo>
                              <a:lnTo>
                                <a:pt x="26" y="59"/>
                              </a:lnTo>
                              <a:lnTo>
                                <a:pt x="48" y="75"/>
                              </a:lnTo>
                              <a:lnTo>
                                <a:pt x="66" y="86"/>
                              </a:lnTo>
                              <a:lnTo>
                                <a:pt x="97" y="84"/>
                              </a:lnTo>
                              <a:lnTo>
                                <a:pt x="98" y="84"/>
                              </a:lnTo>
                              <a:lnTo>
                                <a:pt x="98" y="83"/>
                              </a:lnTo>
                              <a:lnTo>
                                <a:pt x="99" y="84"/>
                              </a:lnTo>
                              <a:lnTo>
                                <a:pt x="100" y="84"/>
                              </a:lnTo>
                              <a:lnTo>
                                <a:pt x="124" y="101"/>
                              </a:lnTo>
                              <a:lnTo>
                                <a:pt x="165" y="50"/>
                              </a:lnTo>
                              <a:lnTo>
                                <a:pt x="155" y="34"/>
                              </a:lnTo>
                              <a:lnTo>
                                <a:pt x="134" y="34"/>
                              </a:lnTo>
                              <a:lnTo>
                                <a:pt x="119" y="40"/>
                              </a:lnTo>
                              <a:lnTo>
                                <a:pt x="118" y="41"/>
                              </a:lnTo>
                              <a:lnTo>
                                <a:pt x="117" y="41"/>
                              </a:lnTo>
                              <a:lnTo>
                                <a:pt x="116" y="40"/>
                              </a:lnTo>
                              <a:lnTo>
                                <a:pt x="115" y="40"/>
                              </a:lnTo>
                              <a:lnTo>
                                <a:pt x="103" y="28"/>
                              </a:lnTo>
                              <a:lnTo>
                                <a:pt x="103" y="28"/>
                              </a:lnTo>
                              <a:lnTo>
                                <a:pt x="103" y="28"/>
                              </a:lnTo>
                              <a:lnTo>
                                <a:pt x="103" y="28"/>
                              </a:lnTo>
                              <a:lnTo>
                                <a:pt x="103" y="28"/>
                              </a:lnTo>
                              <a:lnTo>
                                <a:pt x="103" y="28"/>
                              </a:lnTo>
                              <a:lnTo>
                                <a:pt x="89" y="9"/>
                              </a:lnTo>
                              <a:lnTo>
                                <a:pt x="50" y="33"/>
                              </a:lnTo>
                              <a:lnTo>
                                <a:pt x="48" y="34"/>
                              </a:lnTo>
                              <a:lnTo>
                                <a:pt x="47" y="35"/>
                              </a:lnTo>
                              <a:lnTo>
                                <a:pt x="46" y="33"/>
                              </a:lnTo>
                              <a:lnTo>
                                <a:pt x="45" y="31"/>
                              </a:lnTo>
                              <a:lnTo>
                                <a:pt x="29" y="0"/>
                              </a:lnTo>
                              <a:lnTo>
                                <a:pt x="11" y="7"/>
                              </a:lnTo>
                              <a:lnTo>
                                <a:pt x="19" y="32"/>
                              </a:lnTo>
                              <a:lnTo>
                                <a:pt x="19" y="33"/>
                              </a:lnTo>
                              <a:lnTo>
                                <a:pt x="19" y="35"/>
                              </a:lnTo>
                              <a:lnTo>
                                <a:pt x="18" y="36"/>
                              </a:lnTo>
                              <a:lnTo>
                                <a:pt x="16" y="36"/>
                              </a:lnTo>
                              <a:lnTo>
                                <a:pt x="0" y="41"/>
                              </a:lnTo>
                              <a:lnTo>
                                <a:pt x="0" y="41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bg1">
                            <a:lumMod val="95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66" name="Freeform 277">
                          <a:extLst>
                            <a:ext uri="{FF2B5EF4-FFF2-40B4-BE49-F238E27FC236}">
                              <a16:creationId xmlns:a16="http://schemas.microsoft.com/office/drawing/2014/main" id="{977EB901-4364-4F57-99AA-F56E5C6B9F82}"/>
                            </a:ext>
                          </a:extLst>
                        </p:cNvPr>
                        <p:cNvSpPr>
                          <a:spLocks noEditPoints="1"/>
                        </p:cNvSpPr>
                        <p:nvPr/>
                      </p:nvSpPr>
                      <p:spPr bwMode="auto">
                        <a:xfrm>
                          <a:off x="3834246" y="2303421"/>
                          <a:ext cx="647421" cy="817740"/>
                        </a:xfrm>
                        <a:custGeom>
                          <a:avLst/>
                          <a:gdLst>
                            <a:gd name="T0" fmla="*/ 512 w 1391"/>
                            <a:gd name="T1" fmla="*/ 1348 h 1754"/>
                            <a:gd name="T2" fmla="*/ 518 w 1391"/>
                            <a:gd name="T3" fmla="*/ 1345 h 1754"/>
                            <a:gd name="T4" fmla="*/ 665 w 1391"/>
                            <a:gd name="T5" fmla="*/ 1259 h 1754"/>
                            <a:gd name="T6" fmla="*/ 675 w 1391"/>
                            <a:gd name="T7" fmla="*/ 1262 h 1754"/>
                            <a:gd name="T8" fmla="*/ 729 w 1391"/>
                            <a:gd name="T9" fmla="*/ 1220 h 1754"/>
                            <a:gd name="T10" fmla="*/ 734 w 1391"/>
                            <a:gd name="T11" fmla="*/ 1217 h 1754"/>
                            <a:gd name="T12" fmla="*/ 791 w 1391"/>
                            <a:gd name="T13" fmla="*/ 1206 h 1754"/>
                            <a:gd name="T14" fmla="*/ 795 w 1391"/>
                            <a:gd name="T15" fmla="*/ 1206 h 1754"/>
                            <a:gd name="T16" fmla="*/ 865 w 1391"/>
                            <a:gd name="T17" fmla="*/ 1250 h 1754"/>
                            <a:gd name="T18" fmla="*/ 869 w 1391"/>
                            <a:gd name="T19" fmla="*/ 1255 h 1754"/>
                            <a:gd name="T20" fmla="*/ 860 w 1391"/>
                            <a:gd name="T21" fmla="*/ 1304 h 1754"/>
                            <a:gd name="T22" fmla="*/ 857 w 1391"/>
                            <a:gd name="T23" fmla="*/ 1309 h 1754"/>
                            <a:gd name="T24" fmla="*/ 878 w 1391"/>
                            <a:gd name="T25" fmla="*/ 1370 h 1754"/>
                            <a:gd name="T26" fmla="*/ 887 w 1391"/>
                            <a:gd name="T27" fmla="*/ 1378 h 1754"/>
                            <a:gd name="T28" fmla="*/ 639 w 1391"/>
                            <a:gd name="T29" fmla="*/ 1498 h 1754"/>
                            <a:gd name="T30" fmla="*/ 635 w 1391"/>
                            <a:gd name="T31" fmla="*/ 1500 h 1754"/>
                            <a:gd name="T32" fmla="*/ 495 w 1391"/>
                            <a:gd name="T33" fmla="*/ 1412 h 1754"/>
                            <a:gd name="T34" fmla="*/ 490 w 1391"/>
                            <a:gd name="T35" fmla="*/ 1405 h 1754"/>
                            <a:gd name="T36" fmla="*/ 36 w 1391"/>
                            <a:gd name="T37" fmla="*/ 1658 h 1754"/>
                            <a:gd name="T38" fmla="*/ 549 w 1391"/>
                            <a:gd name="T39" fmla="*/ 1638 h 1754"/>
                            <a:gd name="T40" fmla="*/ 723 w 1391"/>
                            <a:gd name="T41" fmla="*/ 1486 h 1754"/>
                            <a:gd name="T42" fmla="*/ 948 w 1391"/>
                            <a:gd name="T43" fmla="*/ 1466 h 1754"/>
                            <a:gd name="T44" fmla="*/ 1289 w 1391"/>
                            <a:gd name="T45" fmla="*/ 1360 h 1754"/>
                            <a:gd name="T46" fmla="*/ 1350 w 1391"/>
                            <a:gd name="T47" fmla="*/ 1003 h 1754"/>
                            <a:gd name="T48" fmla="*/ 1287 w 1391"/>
                            <a:gd name="T49" fmla="*/ 781 h 1754"/>
                            <a:gd name="T50" fmla="*/ 1295 w 1391"/>
                            <a:gd name="T51" fmla="*/ 566 h 1754"/>
                            <a:gd name="T52" fmla="*/ 1272 w 1391"/>
                            <a:gd name="T53" fmla="*/ 487 h 1754"/>
                            <a:gd name="T54" fmla="*/ 1262 w 1391"/>
                            <a:gd name="T55" fmla="*/ 375 h 1754"/>
                            <a:gd name="T56" fmla="*/ 1203 w 1391"/>
                            <a:gd name="T57" fmla="*/ 386 h 1754"/>
                            <a:gd name="T58" fmla="*/ 1091 w 1391"/>
                            <a:gd name="T59" fmla="*/ 366 h 1754"/>
                            <a:gd name="T60" fmla="*/ 1041 w 1391"/>
                            <a:gd name="T61" fmla="*/ 316 h 1754"/>
                            <a:gd name="T62" fmla="*/ 979 w 1391"/>
                            <a:gd name="T63" fmla="*/ 216 h 1754"/>
                            <a:gd name="T64" fmla="*/ 861 w 1391"/>
                            <a:gd name="T65" fmla="*/ 0 h 1754"/>
                            <a:gd name="T66" fmla="*/ 739 w 1391"/>
                            <a:gd name="T67" fmla="*/ 128 h 1754"/>
                            <a:gd name="T68" fmla="*/ 808 w 1391"/>
                            <a:gd name="T69" fmla="*/ 179 h 1754"/>
                            <a:gd name="T70" fmla="*/ 803 w 1391"/>
                            <a:gd name="T71" fmla="*/ 267 h 1754"/>
                            <a:gd name="T72" fmla="*/ 735 w 1391"/>
                            <a:gd name="T73" fmla="*/ 314 h 1754"/>
                            <a:gd name="T74" fmla="*/ 627 w 1391"/>
                            <a:gd name="T75" fmla="*/ 370 h 1754"/>
                            <a:gd name="T76" fmla="*/ 682 w 1391"/>
                            <a:gd name="T77" fmla="*/ 531 h 1754"/>
                            <a:gd name="T78" fmla="*/ 747 w 1391"/>
                            <a:gd name="T79" fmla="*/ 543 h 1754"/>
                            <a:gd name="T80" fmla="*/ 808 w 1391"/>
                            <a:gd name="T81" fmla="*/ 600 h 1754"/>
                            <a:gd name="T82" fmla="*/ 811 w 1391"/>
                            <a:gd name="T83" fmla="*/ 684 h 1754"/>
                            <a:gd name="T84" fmla="*/ 679 w 1391"/>
                            <a:gd name="T85" fmla="*/ 803 h 1754"/>
                            <a:gd name="T86" fmla="*/ 571 w 1391"/>
                            <a:gd name="T87" fmla="*/ 941 h 1754"/>
                            <a:gd name="T88" fmla="*/ 623 w 1391"/>
                            <a:gd name="T89" fmla="*/ 977 h 1754"/>
                            <a:gd name="T90" fmla="*/ 616 w 1391"/>
                            <a:gd name="T91" fmla="*/ 1045 h 1754"/>
                            <a:gd name="T92" fmla="*/ 566 w 1391"/>
                            <a:gd name="T93" fmla="*/ 1106 h 1754"/>
                            <a:gd name="T94" fmla="*/ 481 w 1391"/>
                            <a:gd name="T95" fmla="*/ 1169 h 1754"/>
                            <a:gd name="T96" fmla="*/ 294 w 1391"/>
                            <a:gd name="T97" fmla="*/ 1325 h 1754"/>
                            <a:gd name="T98" fmla="*/ 229 w 1391"/>
                            <a:gd name="T99" fmla="*/ 1318 h 1754"/>
                            <a:gd name="T100" fmla="*/ 159 w 1391"/>
                            <a:gd name="T101" fmla="*/ 1375 h 1754"/>
                            <a:gd name="T102" fmla="*/ 76 w 1391"/>
                            <a:gd name="T103" fmla="*/ 1440 h 1754"/>
                            <a:gd name="T104" fmla="*/ 77 w 1391"/>
                            <a:gd name="T105" fmla="*/ 1553 h 1754"/>
                            <a:gd name="T106" fmla="*/ 18 w 1391"/>
                            <a:gd name="T107" fmla="*/ 1590 h 1754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</a:cxnLst>
                          <a:rect l="0" t="0" r="r" b="b"/>
                          <a:pathLst>
                            <a:path w="1391" h="1754">
                              <a:moveTo>
                                <a:pt x="491" y="1402"/>
                              </a:moveTo>
                              <a:lnTo>
                                <a:pt x="511" y="1351"/>
                              </a:lnTo>
                              <a:lnTo>
                                <a:pt x="512" y="1348"/>
                              </a:lnTo>
                              <a:lnTo>
                                <a:pt x="513" y="1346"/>
                              </a:lnTo>
                              <a:lnTo>
                                <a:pt x="515" y="1346"/>
                              </a:lnTo>
                              <a:lnTo>
                                <a:pt x="518" y="1345"/>
                              </a:lnTo>
                              <a:lnTo>
                                <a:pt x="630" y="1332"/>
                              </a:lnTo>
                              <a:lnTo>
                                <a:pt x="663" y="1264"/>
                              </a:lnTo>
                              <a:lnTo>
                                <a:pt x="665" y="1259"/>
                              </a:lnTo>
                              <a:lnTo>
                                <a:pt x="667" y="1255"/>
                              </a:lnTo>
                              <a:lnTo>
                                <a:pt x="671" y="1258"/>
                              </a:lnTo>
                              <a:lnTo>
                                <a:pt x="675" y="1262"/>
                              </a:lnTo>
                              <a:lnTo>
                                <a:pt x="701" y="1286"/>
                              </a:lnTo>
                              <a:lnTo>
                                <a:pt x="728" y="1222"/>
                              </a:lnTo>
                              <a:lnTo>
                                <a:pt x="729" y="1220"/>
                              </a:lnTo>
                              <a:lnTo>
                                <a:pt x="730" y="1218"/>
                              </a:lnTo>
                              <a:lnTo>
                                <a:pt x="732" y="1218"/>
                              </a:lnTo>
                              <a:lnTo>
                                <a:pt x="734" y="1217"/>
                              </a:lnTo>
                              <a:lnTo>
                                <a:pt x="734" y="1217"/>
                              </a:lnTo>
                              <a:lnTo>
                                <a:pt x="791" y="1206"/>
                              </a:lnTo>
                              <a:lnTo>
                                <a:pt x="791" y="1206"/>
                              </a:lnTo>
                              <a:lnTo>
                                <a:pt x="793" y="1205"/>
                              </a:lnTo>
                              <a:lnTo>
                                <a:pt x="794" y="1205"/>
                              </a:lnTo>
                              <a:lnTo>
                                <a:pt x="795" y="1206"/>
                              </a:lnTo>
                              <a:lnTo>
                                <a:pt x="797" y="1207"/>
                              </a:lnTo>
                              <a:lnTo>
                                <a:pt x="797" y="1207"/>
                              </a:lnTo>
                              <a:lnTo>
                                <a:pt x="865" y="1250"/>
                              </a:lnTo>
                              <a:lnTo>
                                <a:pt x="868" y="1251"/>
                              </a:lnTo>
                              <a:lnTo>
                                <a:pt x="870" y="1253"/>
                              </a:lnTo>
                              <a:lnTo>
                                <a:pt x="869" y="1255"/>
                              </a:lnTo>
                              <a:lnTo>
                                <a:pt x="869" y="1258"/>
                              </a:lnTo>
                              <a:lnTo>
                                <a:pt x="869" y="1258"/>
                              </a:lnTo>
                              <a:lnTo>
                                <a:pt x="860" y="1304"/>
                              </a:lnTo>
                              <a:lnTo>
                                <a:pt x="860" y="1306"/>
                              </a:lnTo>
                              <a:lnTo>
                                <a:pt x="859" y="1309"/>
                              </a:lnTo>
                              <a:lnTo>
                                <a:pt x="857" y="1309"/>
                              </a:lnTo>
                              <a:lnTo>
                                <a:pt x="854" y="1310"/>
                              </a:lnTo>
                              <a:lnTo>
                                <a:pt x="821" y="1318"/>
                              </a:lnTo>
                              <a:lnTo>
                                <a:pt x="878" y="1370"/>
                              </a:lnTo>
                              <a:lnTo>
                                <a:pt x="878" y="1370"/>
                              </a:lnTo>
                              <a:lnTo>
                                <a:pt x="882" y="1374"/>
                              </a:lnTo>
                              <a:lnTo>
                                <a:pt x="887" y="1378"/>
                              </a:lnTo>
                              <a:lnTo>
                                <a:pt x="881" y="1381"/>
                              </a:lnTo>
                              <a:lnTo>
                                <a:pt x="876" y="1384"/>
                              </a:lnTo>
                              <a:lnTo>
                                <a:pt x="639" y="1498"/>
                              </a:lnTo>
                              <a:lnTo>
                                <a:pt x="639" y="1498"/>
                              </a:lnTo>
                              <a:lnTo>
                                <a:pt x="637" y="1499"/>
                              </a:lnTo>
                              <a:lnTo>
                                <a:pt x="635" y="1500"/>
                              </a:lnTo>
                              <a:lnTo>
                                <a:pt x="633" y="1498"/>
                              </a:lnTo>
                              <a:lnTo>
                                <a:pt x="631" y="1497"/>
                              </a:lnTo>
                              <a:lnTo>
                                <a:pt x="495" y="1412"/>
                              </a:lnTo>
                              <a:lnTo>
                                <a:pt x="492" y="1410"/>
                              </a:lnTo>
                              <a:lnTo>
                                <a:pt x="489" y="1408"/>
                              </a:lnTo>
                              <a:lnTo>
                                <a:pt x="490" y="1405"/>
                              </a:lnTo>
                              <a:lnTo>
                                <a:pt x="491" y="1402"/>
                              </a:lnTo>
                              <a:close/>
                              <a:moveTo>
                                <a:pt x="0" y="1656"/>
                              </a:moveTo>
                              <a:lnTo>
                                <a:pt x="36" y="1658"/>
                              </a:lnTo>
                              <a:lnTo>
                                <a:pt x="73" y="1728"/>
                              </a:lnTo>
                              <a:lnTo>
                                <a:pt x="358" y="1754"/>
                              </a:lnTo>
                              <a:lnTo>
                                <a:pt x="549" y="1638"/>
                              </a:lnTo>
                              <a:lnTo>
                                <a:pt x="610" y="1636"/>
                              </a:lnTo>
                              <a:lnTo>
                                <a:pt x="630" y="1573"/>
                              </a:lnTo>
                              <a:lnTo>
                                <a:pt x="723" y="1486"/>
                              </a:lnTo>
                              <a:lnTo>
                                <a:pt x="854" y="1480"/>
                              </a:lnTo>
                              <a:lnTo>
                                <a:pt x="893" y="1517"/>
                              </a:lnTo>
                              <a:lnTo>
                                <a:pt x="948" y="1466"/>
                              </a:lnTo>
                              <a:lnTo>
                                <a:pt x="1178" y="1504"/>
                              </a:lnTo>
                              <a:lnTo>
                                <a:pt x="1211" y="1414"/>
                              </a:lnTo>
                              <a:lnTo>
                                <a:pt x="1289" y="1360"/>
                              </a:lnTo>
                              <a:lnTo>
                                <a:pt x="1256" y="1279"/>
                              </a:lnTo>
                              <a:lnTo>
                                <a:pt x="1291" y="1062"/>
                              </a:lnTo>
                              <a:lnTo>
                                <a:pt x="1350" y="1003"/>
                              </a:lnTo>
                              <a:lnTo>
                                <a:pt x="1311" y="899"/>
                              </a:lnTo>
                              <a:lnTo>
                                <a:pt x="1228" y="890"/>
                              </a:lnTo>
                              <a:lnTo>
                                <a:pt x="1287" y="781"/>
                              </a:lnTo>
                              <a:lnTo>
                                <a:pt x="1391" y="709"/>
                              </a:lnTo>
                              <a:lnTo>
                                <a:pt x="1297" y="569"/>
                              </a:lnTo>
                              <a:lnTo>
                                <a:pt x="1295" y="566"/>
                              </a:lnTo>
                              <a:lnTo>
                                <a:pt x="1297" y="564"/>
                              </a:lnTo>
                              <a:lnTo>
                                <a:pt x="1328" y="519"/>
                              </a:lnTo>
                              <a:lnTo>
                                <a:pt x="1272" y="487"/>
                              </a:lnTo>
                              <a:lnTo>
                                <a:pt x="1271" y="486"/>
                              </a:lnTo>
                              <a:lnTo>
                                <a:pt x="1270" y="484"/>
                              </a:lnTo>
                              <a:lnTo>
                                <a:pt x="1262" y="375"/>
                              </a:lnTo>
                              <a:lnTo>
                                <a:pt x="1207" y="388"/>
                              </a:lnTo>
                              <a:lnTo>
                                <a:pt x="1204" y="389"/>
                              </a:lnTo>
                              <a:lnTo>
                                <a:pt x="1203" y="386"/>
                              </a:lnTo>
                              <a:lnTo>
                                <a:pt x="1167" y="324"/>
                              </a:lnTo>
                              <a:lnTo>
                                <a:pt x="1094" y="365"/>
                              </a:lnTo>
                              <a:lnTo>
                                <a:pt x="1091" y="366"/>
                              </a:lnTo>
                              <a:lnTo>
                                <a:pt x="1089" y="364"/>
                              </a:lnTo>
                              <a:lnTo>
                                <a:pt x="1044" y="318"/>
                              </a:lnTo>
                              <a:lnTo>
                                <a:pt x="1041" y="316"/>
                              </a:lnTo>
                              <a:lnTo>
                                <a:pt x="1043" y="313"/>
                              </a:lnTo>
                              <a:lnTo>
                                <a:pt x="1069" y="277"/>
                              </a:lnTo>
                              <a:lnTo>
                                <a:pt x="979" y="216"/>
                              </a:lnTo>
                              <a:lnTo>
                                <a:pt x="978" y="216"/>
                              </a:lnTo>
                              <a:lnTo>
                                <a:pt x="977" y="215"/>
                              </a:lnTo>
                              <a:lnTo>
                                <a:pt x="861" y="0"/>
                              </a:lnTo>
                              <a:lnTo>
                                <a:pt x="768" y="3"/>
                              </a:lnTo>
                              <a:lnTo>
                                <a:pt x="734" y="29"/>
                              </a:lnTo>
                              <a:lnTo>
                                <a:pt x="739" y="128"/>
                              </a:lnTo>
                              <a:lnTo>
                                <a:pt x="806" y="175"/>
                              </a:lnTo>
                              <a:lnTo>
                                <a:pt x="808" y="177"/>
                              </a:lnTo>
                              <a:lnTo>
                                <a:pt x="808" y="179"/>
                              </a:lnTo>
                              <a:lnTo>
                                <a:pt x="805" y="264"/>
                              </a:lnTo>
                              <a:lnTo>
                                <a:pt x="805" y="266"/>
                              </a:lnTo>
                              <a:lnTo>
                                <a:pt x="803" y="267"/>
                              </a:lnTo>
                              <a:lnTo>
                                <a:pt x="738" y="313"/>
                              </a:lnTo>
                              <a:lnTo>
                                <a:pt x="736" y="314"/>
                              </a:lnTo>
                              <a:lnTo>
                                <a:pt x="735" y="314"/>
                              </a:lnTo>
                              <a:lnTo>
                                <a:pt x="626" y="297"/>
                              </a:lnTo>
                              <a:lnTo>
                                <a:pt x="595" y="341"/>
                              </a:lnTo>
                              <a:lnTo>
                                <a:pt x="627" y="370"/>
                              </a:lnTo>
                              <a:lnTo>
                                <a:pt x="628" y="370"/>
                              </a:lnTo>
                              <a:lnTo>
                                <a:pt x="628" y="371"/>
                              </a:lnTo>
                              <a:lnTo>
                                <a:pt x="682" y="531"/>
                              </a:lnTo>
                              <a:lnTo>
                                <a:pt x="745" y="542"/>
                              </a:lnTo>
                              <a:lnTo>
                                <a:pt x="746" y="543"/>
                              </a:lnTo>
                              <a:lnTo>
                                <a:pt x="747" y="543"/>
                              </a:lnTo>
                              <a:lnTo>
                                <a:pt x="807" y="598"/>
                              </a:lnTo>
                              <a:lnTo>
                                <a:pt x="808" y="599"/>
                              </a:lnTo>
                              <a:lnTo>
                                <a:pt x="808" y="600"/>
                              </a:lnTo>
                              <a:lnTo>
                                <a:pt x="814" y="680"/>
                              </a:lnTo>
                              <a:lnTo>
                                <a:pt x="814" y="683"/>
                              </a:lnTo>
                              <a:lnTo>
                                <a:pt x="811" y="684"/>
                              </a:lnTo>
                              <a:lnTo>
                                <a:pt x="716" y="718"/>
                              </a:lnTo>
                              <a:lnTo>
                                <a:pt x="679" y="802"/>
                              </a:lnTo>
                              <a:lnTo>
                                <a:pt x="679" y="803"/>
                              </a:lnTo>
                              <a:lnTo>
                                <a:pt x="678" y="803"/>
                              </a:lnTo>
                              <a:lnTo>
                                <a:pt x="571" y="885"/>
                              </a:lnTo>
                              <a:lnTo>
                                <a:pt x="571" y="941"/>
                              </a:lnTo>
                              <a:lnTo>
                                <a:pt x="621" y="974"/>
                              </a:lnTo>
                              <a:lnTo>
                                <a:pt x="623" y="975"/>
                              </a:lnTo>
                              <a:lnTo>
                                <a:pt x="623" y="977"/>
                              </a:lnTo>
                              <a:lnTo>
                                <a:pt x="617" y="1043"/>
                              </a:lnTo>
                              <a:lnTo>
                                <a:pt x="617" y="1044"/>
                              </a:lnTo>
                              <a:lnTo>
                                <a:pt x="616" y="1045"/>
                              </a:lnTo>
                              <a:lnTo>
                                <a:pt x="568" y="1105"/>
                              </a:lnTo>
                              <a:lnTo>
                                <a:pt x="567" y="1106"/>
                              </a:lnTo>
                              <a:lnTo>
                                <a:pt x="566" y="1106"/>
                              </a:lnTo>
                              <a:lnTo>
                                <a:pt x="504" y="1131"/>
                              </a:lnTo>
                              <a:lnTo>
                                <a:pt x="482" y="1167"/>
                              </a:lnTo>
                              <a:lnTo>
                                <a:pt x="481" y="1169"/>
                              </a:lnTo>
                              <a:lnTo>
                                <a:pt x="479" y="1169"/>
                              </a:lnTo>
                              <a:lnTo>
                                <a:pt x="407" y="1175"/>
                              </a:lnTo>
                              <a:lnTo>
                                <a:pt x="294" y="1325"/>
                              </a:lnTo>
                              <a:lnTo>
                                <a:pt x="292" y="1326"/>
                              </a:lnTo>
                              <a:lnTo>
                                <a:pt x="290" y="1326"/>
                              </a:lnTo>
                              <a:lnTo>
                                <a:pt x="229" y="1318"/>
                              </a:lnTo>
                              <a:lnTo>
                                <a:pt x="162" y="1374"/>
                              </a:lnTo>
                              <a:lnTo>
                                <a:pt x="161" y="1375"/>
                              </a:lnTo>
                              <a:lnTo>
                                <a:pt x="159" y="1375"/>
                              </a:lnTo>
                              <a:lnTo>
                                <a:pt x="54" y="1375"/>
                              </a:lnTo>
                              <a:lnTo>
                                <a:pt x="75" y="1438"/>
                              </a:lnTo>
                              <a:lnTo>
                                <a:pt x="76" y="1440"/>
                              </a:lnTo>
                              <a:lnTo>
                                <a:pt x="74" y="1442"/>
                              </a:lnTo>
                              <a:lnTo>
                                <a:pt x="17" y="1488"/>
                              </a:lnTo>
                              <a:lnTo>
                                <a:pt x="77" y="1553"/>
                              </a:lnTo>
                              <a:lnTo>
                                <a:pt x="80" y="1557"/>
                              </a:lnTo>
                              <a:lnTo>
                                <a:pt x="76" y="1560"/>
                              </a:lnTo>
                              <a:lnTo>
                                <a:pt x="18" y="1590"/>
                              </a:lnTo>
                              <a:lnTo>
                                <a:pt x="0" y="1656"/>
                              </a:lnTo>
                              <a:lnTo>
                                <a:pt x="0" y="1656"/>
                              </a:lnTo>
                            </a:path>
                          </a:pathLst>
                        </a:custGeom>
                        <a:solidFill>
                          <a:schemeClr val="bg1">
                            <a:lumMod val="95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67" name="Freeform 278">
                          <a:extLst>
                            <a:ext uri="{FF2B5EF4-FFF2-40B4-BE49-F238E27FC236}">
                              <a16:creationId xmlns:a16="http://schemas.microsoft.com/office/drawing/2014/main" id="{433F4FB3-6D37-485E-ABE6-B1F73DC69065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4066128" y="2868760"/>
                          <a:ext cx="174424" cy="129279"/>
                        </a:xfrm>
                        <a:custGeom>
                          <a:avLst/>
                          <a:gdLst>
                            <a:gd name="T0" fmla="*/ 9 w 170"/>
                            <a:gd name="T1" fmla="*/ 64 h 126"/>
                            <a:gd name="T2" fmla="*/ 0 w 170"/>
                            <a:gd name="T3" fmla="*/ 87 h 126"/>
                            <a:gd name="T4" fmla="*/ 62 w 170"/>
                            <a:gd name="T5" fmla="*/ 126 h 126"/>
                            <a:gd name="T6" fmla="*/ 170 w 170"/>
                            <a:gd name="T7" fmla="*/ 74 h 126"/>
                            <a:gd name="T8" fmla="*/ 170 w 170"/>
                            <a:gd name="T9" fmla="*/ 74 h 126"/>
                            <a:gd name="T10" fmla="*/ 170 w 170"/>
                            <a:gd name="T11" fmla="*/ 74 h 126"/>
                            <a:gd name="T12" fmla="*/ 141 w 170"/>
                            <a:gd name="T13" fmla="*/ 48 h 126"/>
                            <a:gd name="T14" fmla="*/ 139 w 170"/>
                            <a:gd name="T15" fmla="*/ 46 h 126"/>
                            <a:gd name="T16" fmla="*/ 142 w 170"/>
                            <a:gd name="T17" fmla="*/ 45 h 126"/>
                            <a:gd name="T18" fmla="*/ 160 w 170"/>
                            <a:gd name="T19" fmla="*/ 40 h 126"/>
                            <a:gd name="T20" fmla="*/ 165 w 170"/>
                            <a:gd name="T21" fmla="*/ 20 h 126"/>
                            <a:gd name="T22" fmla="*/ 134 w 170"/>
                            <a:gd name="T23" fmla="*/ 0 h 126"/>
                            <a:gd name="T24" fmla="*/ 108 w 170"/>
                            <a:gd name="T25" fmla="*/ 5 h 126"/>
                            <a:gd name="T26" fmla="*/ 94 w 170"/>
                            <a:gd name="T27" fmla="*/ 37 h 126"/>
                            <a:gd name="T28" fmla="*/ 93 w 170"/>
                            <a:gd name="T29" fmla="*/ 39 h 126"/>
                            <a:gd name="T30" fmla="*/ 91 w 170"/>
                            <a:gd name="T31" fmla="*/ 37 h 126"/>
                            <a:gd name="T32" fmla="*/ 78 w 170"/>
                            <a:gd name="T33" fmla="*/ 25 h 126"/>
                            <a:gd name="T34" fmla="*/ 63 w 170"/>
                            <a:gd name="T35" fmla="*/ 56 h 126"/>
                            <a:gd name="T36" fmla="*/ 62 w 170"/>
                            <a:gd name="T37" fmla="*/ 57 h 126"/>
                            <a:gd name="T38" fmla="*/ 61 w 170"/>
                            <a:gd name="T39" fmla="*/ 57 h 126"/>
                            <a:gd name="T40" fmla="*/ 9 w 170"/>
                            <a:gd name="T41" fmla="*/ 64 h 126"/>
                            <a:gd name="T42" fmla="*/ 9 w 170"/>
                            <a:gd name="T43" fmla="*/ 64 h 12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</a:cxnLst>
                          <a:rect l="0" t="0" r="r" b="b"/>
                          <a:pathLst>
                            <a:path w="170" h="126">
                              <a:moveTo>
                                <a:pt x="9" y="64"/>
                              </a:moveTo>
                              <a:lnTo>
                                <a:pt x="0" y="87"/>
                              </a:lnTo>
                              <a:lnTo>
                                <a:pt x="62" y="126"/>
                              </a:lnTo>
                              <a:lnTo>
                                <a:pt x="170" y="74"/>
                              </a:lnTo>
                              <a:lnTo>
                                <a:pt x="170" y="74"/>
                              </a:lnTo>
                              <a:lnTo>
                                <a:pt x="170" y="74"/>
                              </a:lnTo>
                              <a:lnTo>
                                <a:pt x="141" y="48"/>
                              </a:lnTo>
                              <a:lnTo>
                                <a:pt x="139" y="46"/>
                              </a:lnTo>
                              <a:lnTo>
                                <a:pt x="142" y="45"/>
                              </a:lnTo>
                              <a:lnTo>
                                <a:pt x="160" y="40"/>
                              </a:lnTo>
                              <a:lnTo>
                                <a:pt x="165" y="20"/>
                              </a:lnTo>
                              <a:lnTo>
                                <a:pt x="134" y="0"/>
                              </a:lnTo>
                              <a:lnTo>
                                <a:pt x="108" y="5"/>
                              </a:lnTo>
                              <a:lnTo>
                                <a:pt x="94" y="37"/>
                              </a:lnTo>
                              <a:lnTo>
                                <a:pt x="93" y="39"/>
                              </a:lnTo>
                              <a:lnTo>
                                <a:pt x="91" y="37"/>
                              </a:lnTo>
                              <a:lnTo>
                                <a:pt x="78" y="25"/>
                              </a:lnTo>
                              <a:lnTo>
                                <a:pt x="63" y="56"/>
                              </a:lnTo>
                              <a:lnTo>
                                <a:pt x="62" y="57"/>
                              </a:lnTo>
                              <a:lnTo>
                                <a:pt x="61" y="57"/>
                              </a:lnTo>
                              <a:lnTo>
                                <a:pt x="9" y="64"/>
                              </a:lnTo>
                              <a:lnTo>
                                <a:pt x="9" y="64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bg1">
                            <a:lumMod val="95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68" name="Freeform 279">
                          <a:extLst>
                            <a:ext uri="{FF2B5EF4-FFF2-40B4-BE49-F238E27FC236}">
                              <a16:creationId xmlns:a16="http://schemas.microsoft.com/office/drawing/2014/main" id="{CD7605FA-4643-4C88-A11D-D30A8A9FB775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2772313" y="741814"/>
                          <a:ext cx="968565" cy="2195688"/>
                        </a:xfrm>
                        <a:custGeom>
                          <a:avLst/>
                          <a:gdLst>
                            <a:gd name="T0" fmla="*/ 814 w 944"/>
                            <a:gd name="T1" fmla="*/ 1109 h 2140"/>
                            <a:gd name="T2" fmla="*/ 845 w 944"/>
                            <a:gd name="T3" fmla="*/ 1045 h 2140"/>
                            <a:gd name="T4" fmla="*/ 819 w 944"/>
                            <a:gd name="T5" fmla="*/ 966 h 2140"/>
                            <a:gd name="T6" fmla="*/ 805 w 944"/>
                            <a:gd name="T7" fmla="*/ 914 h 2140"/>
                            <a:gd name="T8" fmla="*/ 808 w 944"/>
                            <a:gd name="T9" fmla="*/ 691 h 2140"/>
                            <a:gd name="T10" fmla="*/ 880 w 944"/>
                            <a:gd name="T11" fmla="*/ 621 h 2140"/>
                            <a:gd name="T12" fmla="*/ 895 w 944"/>
                            <a:gd name="T13" fmla="*/ 579 h 2140"/>
                            <a:gd name="T14" fmla="*/ 923 w 944"/>
                            <a:gd name="T15" fmla="*/ 475 h 2140"/>
                            <a:gd name="T16" fmla="*/ 862 w 944"/>
                            <a:gd name="T17" fmla="*/ 367 h 2140"/>
                            <a:gd name="T18" fmla="*/ 807 w 944"/>
                            <a:gd name="T19" fmla="*/ 384 h 2140"/>
                            <a:gd name="T20" fmla="*/ 879 w 944"/>
                            <a:gd name="T21" fmla="*/ 217 h 2140"/>
                            <a:gd name="T22" fmla="*/ 733 w 944"/>
                            <a:gd name="T23" fmla="*/ 104 h 2140"/>
                            <a:gd name="T24" fmla="*/ 662 w 944"/>
                            <a:gd name="T25" fmla="*/ 10 h 2140"/>
                            <a:gd name="T26" fmla="*/ 602 w 944"/>
                            <a:gd name="T27" fmla="*/ 150 h 2140"/>
                            <a:gd name="T28" fmla="*/ 456 w 944"/>
                            <a:gd name="T29" fmla="*/ 136 h 2140"/>
                            <a:gd name="T30" fmla="*/ 292 w 944"/>
                            <a:gd name="T31" fmla="*/ 233 h 2140"/>
                            <a:gd name="T32" fmla="*/ 138 w 944"/>
                            <a:gd name="T33" fmla="*/ 308 h 2140"/>
                            <a:gd name="T34" fmla="*/ 124 w 944"/>
                            <a:gd name="T35" fmla="*/ 468 h 2140"/>
                            <a:gd name="T36" fmla="*/ 85 w 944"/>
                            <a:gd name="T37" fmla="*/ 457 h 2140"/>
                            <a:gd name="T38" fmla="*/ 75 w 944"/>
                            <a:gd name="T39" fmla="*/ 542 h 2140"/>
                            <a:gd name="T40" fmla="*/ 13 w 944"/>
                            <a:gd name="T41" fmla="*/ 592 h 2140"/>
                            <a:gd name="T42" fmla="*/ 84 w 944"/>
                            <a:gd name="T43" fmla="*/ 678 h 2140"/>
                            <a:gd name="T44" fmla="*/ 76 w 944"/>
                            <a:gd name="T45" fmla="*/ 772 h 2140"/>
                            <a:gd name="T46" fmla="*/ 49 w 944"/>
                            <a:gd name="T47" fmla="*/ 810 h 2140"/>
                            <a:gd name="T48" fmla="*/ 60 w 944"/>
                            <a:gd name="T49" fmla="*/ 955 h 2140"/>
                            <a:gd name="T50" fmla="*/ 110 w 944"/>
                            <a:gd name="T51" fmla="*/ 1065 h 2140"/>
                            <a:gd name="T52" fmla="*/ 116 w 944"/>
                            <a:gd name="T53" fmla="*/ 1104 h 2140"/>
                            <a:gd name="T54" fmla="*/ 34 w 944"/>
                            <a:gd name="T55" fmla="*/ 1248 h 2140"/>
                            <a:gd name="T56" fmla="*/ 67 w 944"/>
                            <a:gd name="T57" fmla="*/ 1339 h 2140"/>
                            <a:gd name="T58" fmla="*/ 30 w 944"/>
                            <a:gd name="T59" fmla="*/ 1355 h 2140"/>
                            <a:gd name="T60" fmla="*/ 0 w 944"/>
                            <a:gd name="T61" fmla="*/ 1423 h 2140"/>
                            <a:gd name="T62" fmla="*/ 123 w 944"/>
                            <a:gd name="T63" fmla="*/ 1520 h 2140"/>
                            <a:gd name="T64" fmla="*/ 149 w 944"/>
                            <a:gd name="T65" fmla="*/ 1547 h 2140"/>
                            <a:gd name="T66" fmla="*/ 166 w 944"/>
                            <a:gd name="T67" fmla="*/ 1637 h 2140"/>
                            <a:gd name="T68" fmla="*/ 161 w 944"/>
                            <a:gd name="T69" fmla="*/ 1659 h 2140"/>
                            <a:gd name="T70" fmla="*/ 121 w 944"/>
                            <a:gd name="T71" fmla="*/ 1741 h 2140"/>
                            <a:gd name="T72" fmla="*/ 135 w 944"/>
                            <a:gd name="T73" fmla="*/ 1816 h 2140"/>
                            <a:gd name="T74" fmla="*/ 193 w 944"/>
                            <a:gd name="T75" fmla="*/ 1862 h 2140"/>
                            <a:gd name="T76" fmla="*/ 213 w 944"/>
                            <a:gd name="T77" fmla="*/ 1876 h 2140"/>
                            <a:gd name="T78" fmla="*/ 230 w 944"/>
                            <a:gd name="T79" fmla="*/ 1958 h 2140"/>
                            <a:gd name="T80" fmla="*/ 242 w 944"/>
                            <a:gd name="T81" fmla="*/ 2011 h 2140"/>
                            <a:gd name="T82" fmla="*/ 208 w 944"/>
                            <a:gd name="T83" fmla="*/ 2062 h 2140"/>
                            <a:gd name="T84" fmla="*/ 209 w 944"/>
                            <a:gd name="T85" fmla="*/ 2131 h 2140"/>
                            <a:gd name="T86" fmla="*/ 323 w 944"/>
                            <a:gd name="T87" fmla="*/ 2111 h 2140"/>
                            <a:gd name="T88" fmla="*/ 347 w 944"/>
                            <a:gd name="T89" fmla="*/ 2061 h 2140"/>
                            <a:gd name="T90" fmla="*/ 373 w 944"/>
                            <a:gd name="T91" fmla="*/ 2029 h 2140"/>
                            <a:gd name="T92" fmla="*/ 418 w 944"/>
                            <a:gd name="T93" fmla="*/ 1955 h 2140"/>
                            <a:gd name="T94" fmla="*/ 443 w 944"/>
                            <a:gd name="T95" fmla="*/ 1922 h 2140"/>
                            <a:gd name="T96" fmla="*/ 495 w 944"/>
                            <a:gd name="T97" fmla="*/ 1801 h 2140"/>
                            <a:gd name="T98" fmla="*/ 501 w 944"/>
                            <a:gd name="T99" fmla="*/ 1722 h 2140"/>
                            <a:gd name="T100" fmla="*/ 531 w 944"/>
                            <a:gd name="T101" fmla="*/ 1666 h 2140"/>
                            <a:gd name="T102" fmla="*/ 650 w 944"/>
                            <a:gd name="T103" fmla="*/ 1696 h 2140"/>
                            <a:gd name="T104" fmla="*/ 730 w 944"/>
                            <a:gd name="T105" fmla="*/ 1581 h 2140"/>
                            <a:gd name="T106" fmla="*/ 787 w 944"/>
                            <a:gd name="T107" fmla="*/ 1572 h 2140"/>
                            <a:gd name="T108" fmla="*/ 842 w 944"/>
                            <a:gd name="T109" fmla="*/ 1547 h 2140"/>
                            <a:gd name="T110" fmla="*/ 819 w 944"/>
                            <a:gd name="T111" fmla="*/ 1501 h 2140"/>
                            <a:gd name="T112" fmla="*/ 807 w 944"/>
                            <a:gd name="T113" fmla="*/ 1446 h 2140"/>
                            <a:gd name="T114" fmla="*/ 798 w 944"/>
                            <a:gd name="T115" fmla="*/ 1413 h 2140"/>
                            <a:gd name="T116" fmla="*/ 838 w 944"/>
                            <a:gd name="T117" fmla="*/ 1340 h 2140"/>
                            <a:gd name="T118" fmla="*/ 842 w 944"/>
                            <a:gd name="T119" fmla="*/ 1239 h 2140"/>
                            <a:gd name="T120" fmla="*/ 848 w 944"/>
                            <a:gd name="T121" fmla="*/ 1157 h 2140"/>
                            <a:gd name="T122" fmla="*/ 877 w 944"/>
                            <a:gd name="T123" fmla="*/ 1143 h 214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  <a:cxn ang="0">
                              <a:pos x="T96" y="T97"/>
                            </a:cxn>
                            <a:cxn ang="0">
                              <a:pos x="T98" y="T99"/>
                            </a:cxn>
                            <a:cxn ang="0">
                              <a:pos x="T100" y="T101"/>
                            </a:cxn>
                            <a:cxn ang="0">
                              <a:pos x="T102" y="T103"/>
                            </a:cxn>
                            <a:cxn ang="0">
                              <a:pos x="T104" y="T105"/>
                            </a:cxn>
                            <a:cxn ang="0">
                              <a:pos x="T106" y="T107"/>
                            </a:cxn>
                            <a:cxn ang="0">
                              <a:pos x="T108" y="T109"/>
                            </a:cxn>
                            <a:cxn ang="0">
                              <a:pos x="T110" y="T111"/>
                            </a:cxn>
                            <a:cxn ang="0">
                              <a:pos x="T112" y="T113"/>
                            </a:cxn>
                            <a:cxn ang="0">
                              <a:pos x="T114" y="T115"/>
                            </a:cxn>
                            <a:cxn ang="0">
                              <a:pos x="T116" y="T117"/>
                            </a:cxn>
                            <a:cxn ang="0">
                              <a:pos x="T118" y="T119"/>
                            </a:cxn>
                            <a:cxn ang="0">
                              <a:pos x="T120" y="T121"/>
                            </a:cxn>
                            <a:cxn ang="0">
                              <a:pos x="T122" y="T123"/>
                            </a:cxn>
                          </a:cxnLst>
                          <a:rect l="0" t="0" r="r" b="b"/>
                          <a:pathLst>
                            <a:path w="944" h="2140">
                              <a:moveTo>
                                <a:pt x="886" y="1125"/>
                              </a:moveTo>
                              <a:lnTo>
                                <a:pt x="884" y="1126"/>
                              </a:lnTo>
                              <a:lnTo>
                                <a:pt x="884" y="1125"/>
                              </a:lnTo>
                              <a:lnTo>
                                <a:pt x="863" y="1109"/>
                              </a:lnTo>
                              <a:lnTo>
                                <a:pt x="814" y="1109"/>
                              </a:lnTo>
                              <a:lnTo>
                                <a:pt x="814" y="1107"/>
                              </a:lnTo>
                              <a:lnTo>
                                <a:pt x="817" y="1080"/>
                              </a:lnTo>
                              <a:lnTo>
                                <a:pt x="817" y="1079"/>
                              </a:lnTo>
                              <a:lnTo>
                                <a:pt x="817" y="1079"/>
                              </a:lnTo>
                              <a:lnTo>
                                <a:pt x="845" y="1045"/>
                              </a:lnTo>
                              <a:lnTo>
                                <a:pt x="854" y="1022"/>
                              </a:lnTo>
                              <a:lnTo>
                                <a:pt x="835" y="1010"/>
                              </a:lnTo>
                              <a:lnTo>
                                <a:pt x="835" y="1009"/>
                              </a:lnTo>
                              <a:lnTo>
                                <a:pt x="835" y="983"/>
                              </a:lnTo>
                              <a:lnTo>
                                <a:pt x="819" y="966"/>
                              </a:lnTo>
                              <a:lnTo>
                                <a:pt x="818" y="965"/>
                              </a:lnTo>
                              <a:lnTo>
                                <a:pt x="818" y="964"/>
                              </a:lnTo>
                              <a:lnTo>
                                <a:pt x="825" y="929"/>
                              </a:lnTo>
                              <a:lnTo>
                                <a:pt x="807" y="915"/>
                              </a:lnTo>
                              <a:lnTo>
                                <a:pt x="805" y="914"/>
                              </a:lnTo>
                              <a:lnTo>
                                <a:pt x="807" y="912"/>
                              </a:lnTo>
                              <a:lnTo>
                                <a:pt x="834" y="882"/>
                              </a:lnTo>
                              <a:lnTo>
                                <a:pt x="824" y="750"/>
                              </a:lnTo>
                              <a:lnTo>
                                <a:pt x="791" y="700"/>
                              </a:lnTo>
                              <a:lnTo>
                                <a:pt x="808" y="691"/>
                              </a:lnTo>
                              <a:lnTo>
                                <a:pt x="847" y="659"/>
                              </a:lnTo>
                              <a:lnTo>
                                <a:pt x="848" y="659"/>
                              </a:lnTo>
                              <a:lnTo>
                                <a:pt x="849" y="659"/>
                              </a:lnTo>
                              <a:lnTo>
                                <a:pt x="872" y="661"/>
                              </a:lnTo>
                              <a:lnTo>
                                <a:pt x="880" y="621"/>
                              </a:lnTo>
                              <a:lnTo>
                                <a:pt x="881" y="620"/>
                              </a:lnTo>
                              <a:lnTo>
                                <a:pt x="881" y="620"/>
                              </a:lnTo>
                              <a:lnTo>
                                <a:pt x="892" y="603"/>
                              </a:lnTo>
                              <a:lnTo>
                                <a:pt x="895" y="580"/>
                              </a:lnTo>
                              <a:lnTo>
                                <a:pt x="895" y="579"/>
                              </a:lnTo>
                              <a:lnTo>
                                <a:pt x="896" y="578"/>
                              </a:lnTo>
                              <a:lnTo>
                                <a:pt x="944" y="540"/>
                              </a:lnTo>
                              <a:lnTo>
                                <a:pt x="923" y="515"/>
                              </a:lnTo>
                              <a:lnTo>
                                <a:pt x="923" y="515"/>
                              </a:lnTo>
                              <a:lnTo>
                                <a:pt x="923" y="475"/>
                              </a:lnTo>
                              <a:lnTo>
                                <a:pt x="881" y="415"/>
                              </a:lnTo>
                              <a:lnTo>
                                <a:pt x="881" y="415"/>
                              </a:lnTo>
                              <a:lnTo>
                                <a:pt x="880" y="414"/>
                              </a:lnTo>
                              <a:lnTo>
                                <a:pt x="875" y="384"/>
                              </a:lnTo>
                              <a:lnTo>
                                <a:pt x="862" y="367"/>
                              </a:lnTo>
                              <a:lnTo>
                                <a:pt x="861" y="366"/>
                              </a:lnTo>
                              <a:lnTo>
                                <a:pt x="861" y="365"/>
                              </a:lnTo>
                              <a:lnTo>
                                <a:pt x="863" y="348"/>
                              </a:lnTo>
                              <a:lnTo>
                                <a:pt x="837" y="361"/>
                              </a:lnTo>
                              <a:lnTo>
                                <a:pt x="807" y="384"/>
                              </a:lnTo>
                              <a:lnTo>
                                <a:pt x="766" y="396"/>
                              </a:lnTo>
                              <a:lnTo>
                                <a:pt x="751" y="424"/>
                              </a:lnTo>
                              <a:lnTo>
                                <a:pt x="752" y="384"/>
                              </a:lnTo>
                              <a:lnTo>
                                <a:pt x="834" y="299"/>
                              </a:lnTo>
                              <a:lnTo>
                                <a:pt x="879" y="217"/>
                              </a:lnTo>
                              <a:lnTo>
                                <a:pt x="900" y="144"/>
                              </a:lnTo>
                              <a:lnTo>
                                <a:pt x="837" y="72"/>
                              </a:lnTo>
                              <a:lnTo>
                                <a:pt x="777" y="70"/>
                              </a:lnTo>
                              <a:lnTo>
                                <a:pt x="757" y="99"/>
                              </a:lnTo>
                              <a:lnTo>
                                <a:pt x="733" y="104"/>
                              </a:lnTo>
                              <a:lnTo>
                                <a:pt x="751" y="53"/>
                              </a:lnTo>
                              <a:lnTo>
                                <a:pt x="702" y="47"/>
                              </a:lnTo>
                              <a:lnTo>
                                <a:pt x="718" y="25"/>
                              </a:lnTo>
                              <a:lnTo>
                                <a:pt x="689" y="0"/>
                              </a:lnTo>
                              <a:lnTo>
                                <a:pt x="662" y="10"/>
                              </a:lnTo>
                              <a:lnTo>
                                <a:pt x="619" y="73"/>
                              </a:lnTo>
                              <a:lnTo>
                                <a:pt x="629" y="110"/>
                              </a:lnTo>
                              <a:lnTo>
                                <a:pt x="584" y="114"/>
                              </a:lnTo>
                              <a:lnTo>
                                <a:pt x="585" y="125"/>
                              </a:lnTo>
                              <a:lnTo>
                                <a:pt x="602" y="150"/>
                              </a:lnTo>
                              <a:lnTo>
                                <a:pt x="569" y="143"/>
                              </a:lnTo>
                              <a:lnTo>
                                <a:pt x="552" y="159"/>
                              </a:lnTo>
                              <a:lnTo>
                                <a:pt x="515" y="152"/>
                              </a:lnTo>
                              <a:lnTo>
                                <a:pt x="510" y="135"/>
                              </a:lnTo>
                              <a:lnTo>
                                <a:pt x="456" y="136"/>
                              </a:lnTo>
                              <a:lnTo>
                                <a:pt x="458" y="167"/>
                              </a:lnTo>
                              <a:lnTo>
                                <a:pt x="393" y="176"/>
                              </a:lnTo>
                              <a:lnTo>
                                <a:pt x="350" y="210"/>
                              </a:lnTo>
                              <a:lnTo>
                                <a:pt x="316" y="211"/>
                              </a:lnTo>
                              <a:lnTo>
                                <a:pt x="292" y="233"/>
                              </a:lnTo>
                              <a:lnTo>
                                <a:pt x="281" y="277"/>
                              </a:lnTo>
                              <a:lnTo>
                                <a:pt x="302" y="315"/>
                              </a:lnTo>
                              <a:lnTo>
                                <a:pt x="270" y="323"/>
                              </a:lnTo>
                              <a:lnTo>
                                <a:pt x="186" y="309"/>
                              </a:lnTo>
                              <a:lnTo>
                                <a:pt x="138" y="308"/>
                              </a:lnTo>
                              <a:lnTo>
                                <a:pt x="123" y="335"/>
                              </a:lnTo>
                              <a:lnTo>
                                <a:pt x="121" y="404"/>
                              </a:lnTo>
                              <a:lnTo>
                                <a:pt x="151" y="434"/>
                              </a:lnTo>
                              <a:lnTo>
                                <a:pt x="166" y="468"/>
                              </a:lnTo>
                              <a:lnTo>
                                <a:pt x="124" y="468"/>
                              </a:lnTo>
                              <a:lnTo>
                                <a:pt x="87" y="400"/>
                              </a:lnTo>
                              <a:lnTo>
                                <a:pt x="60" y="401"/>
                              </a:lnTo>
                              <a:lnTo>
                                <a:pt x="60" y="405"/>
                              </a:lnTo>
                              <a:lnTo>
                                <a:pt x="84" y="454"/>
                              </a:lnTo>
                              <a:lnTo>
                                <a:pt x="85" y="457"/>
                              </a:lnTo>
                              <a:lnTo>
                                <a:pt x="83" y="457"/>
                              </a:lnTo>
                              <a:lnTo>
                                <a:pt x="57" y="461"/>
                              </a:lnTo>
                              <a:lnTo>
                                <a:pt x="52" y="492"/>
                              </a:lnTo>
                              <a:lnTo>
                                <a:pt x="75" y="541"/>
                              </a:lnTo>
                              <a:lnTo>
                                <a:pt x="75" y="542"/>
                              </a:lnTo>
                              <a:lnTo>
                                <a:pt x="75" y="542"/>
                              </a:lnTo>
                              <a:lnTo>
                                <a:pt x="70" y="566"/>
                              </a:lnTo>
                              <a:lnTo>
                                <a:pt x="69" y="567"/>
                              </a:lnTo>
                              <a:lnTo>
                                <a:pt x="68" y="567"/>
                              </a:lnTo>
                              <a:lnTo>
                                <a:pt x="13" y="592"/>
                              </a:lnTo>
                              <a:lnTo>
                                <a:pt x="6" y="619"/>
                              </a:lnTo>
                              <a:lnTo>
                                <a:pt x="42" y="666"/>
                              </a:lnTo>
                              <a:lnTo>
                                <a:pt x="83" y="676"/>
                              </a:lnTo>
                              <a:lnTo>
                                <a:pt x="84" y="677"/>
                              </a:lnTo>
                              <a:lnTo>
                                <a:pt x="84" y="678"/>
                              </a:lnTo>
                              <a:lnTo>
                                <a:pt x="93" y="729"/>
                              </a:lnTo>
                              <a:lnTo>
                                <a:pt x="90" y="735"/>
                              </a:lnTo>
                              <a:lnTo>
                                <a:pt x="90" y="735"/>
                              </a:lnTo>
                              <a:lnTo>
                                <a:pt x="76" y="771"/>
                              </a:lnTo>
                              <a:lnTo>
                                <a:pt x="76" y="772"/>
                              </a:lnTo>
                              <a:lnTo>
                                <a:pt x="75" y="773"/>
                              </a:lnTo>
                              <a:lnTo>
                                <a:pt x="38" y="783"/>
                              </a:lnTo>
                              <a:lnTo>
                                <a:pt x="49" y="809"/>
                              </a:lnTo>
                              <a:lnTo>
                                <a:pt x="49" y="810"/>
                              </a:lnTo>
                              <a:lnTo>
                                <a:pt x="49" y="810"/>
                              </a:lnTo>
                              <a:lnTo>
                                <a:pt x="37" y="846"/>
                              </a:lnTo>
                              <a:lnTo>
                                <a:pt x="67" y="884"/>
                              </a:lnTo>
                              <a:lnTo>
                                <a:pt x="67" y="884"/>
                              </a:lnTo>
                              <a:lnTo>
                                <a:pt x="67" y="885"/>
                              </a:lnTo>
                              <a:lnTo>
                                <a:pt x="60" y="955"/>
                              </a:lnTo>
                              <a:lnTo>
                                <a:pt x="83" y="988"/>
                              </a:lnTo>
                              <a:lnTo>
                                <a:pt x="84" y="988"/>
                              </a:lnTo>
                              <a:lnTo>
                                <a:pt x="84" y="989"/>
                              </a:lnTo>
                              <a:lnTo>
                                <a:pt x="75" y="1039"/>
                              </a:lnTo>
                              <a:lnTo>
                                <a:pt x="110" y="1065"/>
                              </a:lnTo>
                              <a:lnTo>
                                <a:pt x="111" y="1066"/>
                              </a:lnTo>
                              <a:lnTo>
                                <a:pt x="111" y="1067"/>
                              </a:lnTo>
                              <a:lnTo>
                                <a:pt x="117" y="1103"/>
                              </a:lnTo>
                              <a:lnTo>
                                <a:pt x="117" y="1103"/>
                              </a:lnTo>
                              <a:lnTo>
                                <a:pt x="116" y="1104"/>
                              </a:lnTo>
                              <a:lnTo>
                                <a:pt x="85" y="1147"/>
                              </a:lnTo>
                              <a:lnTo>
                                <a:pt x="82" y="1186"/>
                              </a:lnTo>
                              <a:lnTo>
                                <a:pt x="82" y="1186"/>
                              </a:lnTo>
                              <a:lnTo>
                                <a:pt x="82" y="1187"/>
                              </a:lnTo>
                              <a:lnTo>
                                <a:pt x="34" y="1248"/>
                              </a:lnTo>
                              <a:lnTo>
                                <a:pt x="34" y="1296"/>
                              </a:lnTo>
                              <a:lnTo>
                                <a:pt x="73" y="1319"/>
                              </a:lnTo>
                              <a:lnTo>
                                <a:pt x="75" y="1319"/>
                              </a:lnTo>
                              <a:lnTo>
                                <a:pt x="74" y="1320"/>
                              </a:lnTo>
                              <a:lnTo>
                                <a:pt x="67" y="1339"/>
                              </a:lnTo>
                              <a:lnTo>
                                <a:pt x="66" y="1340"/>
                              </a:lnTo>
                              <a:lnTo>
                                <a:pt x="66" y="1340"/>
                              </a:lnTo>
                              <a:lnTo>
                                <a:pt x="31" y="1355"/>
                              </a:lnTo>
                              <a:lnTo>
                                <a:pt x="30" y="1355"/>
                              </a:lnTo>
                              <a:lnTo>
                                <a:pt x="30" y="1355"/>
                              </a:lnTo>
                              <a:lnTo>
                                <a:pt x="0" y="1359"/>
                              </a:lnTo>
                              <a:lnTo>
                                <a:pt x="13" y="1405"/>
                              </a:lnTo>
                              <a:lnTo>
                                <a:pt x="13" y="1406"/>
                              </a:lnTo>
                              <a:lnTo>
                                <a:pt x="12" y="1407"/>
                              </a:lnTo>
                              <a:lnTo>
                                <a:pt x="0" y="1423"/>
                              </a:lnTo>
                              <a:lnTo>
                                <a:pt x="0" y="1447"/>
                              </a:lnTo>
                              <a:lnTo>
                                <a:pt x="94" y="1462"/>
                              </a:lnTo>
                              <a:lnTo>
                                <a:pt x="95" y="1462"/>
                              </a:lnTo>
                              <a:lnTo>
                                <a:pt x="95" y="1463"/>
                              </a:lnTo>
                              <a:lnTo>
                                <a:pt x="123" y="1520"/>
                              </a:lnTo>
                              <a:lnTo>
                                <a:pt x="149" y="1523"/>
                              </a:lnTo>
                              <a:lnTo>
                                <a:pt x="150" y="1523"/>
                              </a:lnTo>
                              <a:lnTo>
                                <a:pt x="150" y="1525"/>
                              </a:lnTo>
                              <a:lnTo>
                                <a:pt x="149" y="1546"/>
                              </a:lnTo>
                              <a:lnTo>
                                <a:pt x="149" y="1547"/>
                              </a:lnTo>
                              <a:lnTo>
                                <a:pt x="148" y="1547"/>
                              </a:lnTo>
                              <a:lnTo>
                                <a:pt x="111" y="1580"/>
                              </a:lnTo>
                              <a:lnTo>
                                <a:pt x="114" y="1606"/>
                              </a:lnTo>
                              <a:lnTo>
                                <a:pt x="134" y="1627"/>
                              </a:lnTo>
                              <a:lnTo>
                                <a:pt x="166" y="1637"/>
                              </a:lnTo>
                              <a:lnTo>
                                <a:pt x="167" y="1638"/>
                              </a:lnTo>
                              <a:lnTo>
                                <a:pt x="167" y="1639"/>
                              </a:lnTo>
                              <a:lnTo>
                                <a:pt x="162" y="1658"/>
                              </a:lnTo>
                              <a:lnTo>
                                <a:pt x="162" y="1658"/>
                              </a:lnTo>
                              <a:lnTo>
                                <a:pt x="161" y="1659"/>
                              </a:lnTo>
                              <a:lnTo>
                                <a:pt x="127" y="1684"/>
                              </a:lnTo>
                              <a:lnTo>
                                <a:pt x="125" y="1719"/>
                              </a:lnTo>
                              <a:lnTo>
                                <a:pt x="125" y="1719"/>
                              </a:lnTo>
                              <a:lnTo>
                                <a:pt x="125" y="1719"/>
                              </a:lnTo>
                              <a:lnTo>
                                <a:pt x="121" y="1741"/>
                              </a:lnTo>
                              <a:lnTo>
                                <a:pt x="150" y="1798"/>
                              </a:lnTo>
                              <a:lnTo>
                                <a:pt x="151" y="1800"/>
                              </a:lnTo>
                              <a:lnTo>
                                <a:pt x="150" y="1801"/>
                              </a:lnTo>
                              <a:lnTo>
                                <a:pt x="135" y="1816"/>
                              </a:lnTo>
                              <a:lnTo>
                                <a:pt x="135" y="1816"/>
                              </a:lnTo>
                              <a:lnTo>
                                <a:pt x="134" y="1816"/>
                              </a:lnTo>
                              <a:lnTo>
                                <a:pt x="122" y="1822"/>
                              </a:lnTo>
                              <a:lnTo>
                                <a:pt x="137" y="1866"/>
                              </a:lnTo>
                              <a:lnTo>
                                <a:pt x="165" y="1866"/>
                              </a:lnTo>
                              <a:lnTo>
                                <a:pt x="193" y="1862"/>
                              </a:lnTo>
                              <a:lnTo>
                                <a:pt x="193" y="1862"/>
                              </a:lnTo>
                              <a:lnTo>
                                <a:pt x="194" y="1862"/>
                              </a:lnTo>
                              <a:lnTo>
                                <a:pt x="213" y="1874"/>
                              </a:lnTo>
                              <a:lnTo>
                                <a:pt x="214" y="1875"/>
                              </a:lnTo>
                              <a:lnTo>
                                <a:pt x="213" y="1876"/>
                              </a:lnTo>
                              <a:lnTo>
                                <a:pt x="203" y="1897"/>
                              </a:lnTo>
                              <a:lnTo>
                                <a:pt x="224" y="1929"/>
                              </a:lnTo>
                              <a:lnTo>
                                <a:pt x="225" y="1930"/>
                              </a:lnTo>
                              <a:lnTo>
                                <a:pt x="225" y="1930"/>
                              </a:lnTo>
                              <a:lnTo>
                                <a:pt x="230" y="1958"/>
                              </a:lnTo>
                              <a:lnTo>
                                <a:pt x="240" y="1988"/>
                              </a:lnTo>
                              <a:lnTo>
                                <a:pt x="240" y="1988"/>
                              </a:lnTo>
                              <a:lnTo>
                                <a:pt x="240" y="1988"/>
                              </a:lnTo>
                              <a:lnTo>
                                <a:pt x="242" y="2009"/>
                              </a:lnTo>
                              <a:lnTo>
                                <a:pt x="242" y="2011"/>
                              </a:lnTo>
                              <a:lnTo>
                                <a:pt x="240" y="2011"/>
                              </a:lnTo>
                              <a:lnTo>
                                <a:pt x="217" y="2024"/>
                              </a:lnTo>
                              <a:lnTo>
                                <a:pt x="217" y="2043"/>
                              </a:lnTo>
                              <a:lnTo>
                                <a:pt x="217" y="2044"/>
                              </a:lnTo>
                              <a:lnTo>
                                <a:pt x="208" y="2062"/>
                              </a:lnTo>
                              <a:lnTo>
                                <a:pt x="208" y="2063"/>
                              </a:lnTo>
                              <a:lnTo>
                                <a:pt x="207" y="2063"/>
                              </a:lnTo>
                              <a:lnTo>
                                <a:pt x="181" y="2073"/>
                              </a:lnTo>
                              <a:lnTo>
                                <a:pt x="168" y="2102"/>
                              </a:lnTo>
                              <a:lnTo>
                                <a:pt x="209" y="2131"/>
                              </a:lnTo>
                              <a:lnTo>
                                <a:pt x="277" y="2140"/>
                              </a:lnTo>
                              <a:lnTo>
                                <a:pt x="307" y="2115"/>
                              </a:lnTo>
                              <a:lnTo>
                                <a:pt x="307" y="2115"/>
                              </a:lnTo>
                              <a:lnTo>
                                <a:pt x="308" y="2115"/>
                              </a:lnTo>
                              <a:lnTo>
                                <a:pt x="323" y="2111"/>
                              </a:lnTo>
                              <a:lnTo>
                                <a:pt x="324" y="2095"/>
                              </a:lnTo>
                              <a:lnTo>
                                <a:pt x="324" y="2094"/>
                              </a:lnTo>
                              <a:lnTo>
                                <a:pt x="325" y="2094"/>
                              </a:lnTo>
                              <a:lnTo>
                                <a:pt x="350" y="2078"/>
                              </a:lnTo>
                              <a:lnTo>
                                <a:pt x="347" y="2061"/>
                              </a:lnTo>
                              <a:lnTo>
                                <a:pt x="347" y="2060"/>
                              </a:lnTo>
                              <a:lnTo>
                                <a:pt x="349" y="2059"/>
                              </a:lnTo>
                              <a:lnTo>
                                <a:pt x="367" y="2054"/>
                              </a:lnTo>
                              <a:lnTo>
                                <a:pt x="373" y="2030"/>
                              </a:lnTo>
                              <a:lnTo>
                                <a:pt x="373" y="2029"/>
                              </a:lnTo>
                              <a:lnTo>
                                <a:pt x="375" y="2029"/>
                              </a:lnTo>
                              <a:lnTo>
                                <a:pt x="465" y="2021"/>
                              </a:lnTo>
                              <a:lnTo>
                                <a:pt x="469" y="2000"/>
                              </a:lnTo>
                              <a:lnTo>
                                <a:pt x="419" y="1955"/>
                              </a:lnTo>
                              <a:lnTo>
                                <a:pt x="418" y="1955"/>
                              </a:lnTo>
                              <a:lnTo>
                                <a:pt x="418" y="1933"/>
                              </a:lnTo>
                              <a:lnTo>
                                <a:pt x="420" y="1932"/>
                              </a:lnTo>
                              <a:lnTo>
                                <a:pt x="442" y="1922"/>
                              </a:lnTo>
                              <a:lnTo>
                                <a:pt x="442" y="1922"/>
                              </a:lnTo>
                              <a:lnTo>
                                <a:pt x="443" y="1922"/>
                              </a:lnTo>
                              <a:lnTo>
                                <a:pt x="471" y="1925"/>
                              </a:lnTo>
                              <a:lnTo>
                                <a:pt x="477" y="1837"/>
                              </a:lnTo>
                              <a:lnTo>
                                <a:pt x="477" y="1836"/>
                              </a:lnTo>
                              <a:lnTo>
                                <a:pt x="477" y="1836"/>
                              </a:lnTo>
                              <a:lnTo>
                                <a:pt x="495" y="1801"/>
                              </a:lnTo>
                              <a:lnTo>
                                <a:pt x="496" y="1800"/>
                              </a:lnTo>
                              <a:lnTo>
                                <a:pt x="497" y="1800"/>
                              </a:lnTo>
                              <a:lnTo>
                                <a:pt x="527" y="1796"/>
                              </a:lnTo>
                              <a:lnTo>
                                <a:pt x="533" y="1771"/>
                              </a:lnTo>
                              <a:lnTo>
                                <a:pt x="501" y="1722"/>
                              </a:lnTo>
                              <a:lnTo>
                                <a:pt x="501" y="1721"/>
                              </a:lnTo>
                              <a:lnTo>
                                <a:pt x="501" y="1720"/>
                              </a:lnTo>
                              <a:lnTo>
                                <a:pt x="530" y="1667"/>
                              </a:lnTo>
                              <a:lnTo>
                                <a:pt x="530" y="1666"/>
                              </a:lnTo>
                              <a:lnTo>
                                <a:pt x="531" y="1666"/>
                              </a:lnTo>
                              <a:lnTo>
                                <a:pt x="601" y="1663"/>
                              </a:lnTo>
                              <a:lnTo>
                                <a:pt x="620" y="1639"/>
                              </a:lnTo>
                              <a:lnTo>
                                <a:pt x="622" y="1636"/>
                              </a:lnTo>
                              <a:lnTo>
                                <a:pt x="623" y="1639"/>
                              </a:lnTo>
                              <a:lnTo>
                                <a:pt x="650" y="1696"/>
                              </a:lnTo>
                              <a:lnTo>
                                <a:pt x="665" y="1689"/>
                              </a:lnTo>
                              <a:lnTo>
                                <a:pt x="662" y="1656"/>
                              </a:lnTo>
                              <a:lnTo>
                                <a:pt x="662" y="1655"/>
                              </a:lnTo>
                              <a:lnTo>
                                <a:pt x="662" y="1655"/>
                              </a:lnTo>
                              <a:lnTo>
                                <a:pt x="730" y="1581"/>
                              </a:lnTo>
                              <a:lnTo>
                                <a:pt x="734" y="1552"/>
                              </a:lnTo>
                              <a:lnTo>
                                <a:pt x="734" y="1551"/>
                              </a:lnTo>
                              <a:lnTo>
                                <a:pt x="770" y="1535"/>
                              </a:lnTo>
                              <a:lnTo>
                                <a:pt x="770" y="1537"/>
                              </a:lnTo>
                              <a:lnTo>
                                <a:pt x="787" y="1572"/>
                              </a:lnTo>
                              <a:lnTo>
                                <a:pt x="817" y="1590"/>
                              </a:lnTo>
                              <a:lnTo>
                                <a:pt x="824" y="1566"/>
                              </a:lnTo>
                              <a:lnTo>
                                <a:pt x="824" y="1565"/>
                              </a:lnTo>
                              <a:lnTo>
                                <a:pt x="825" y="1565"/>
                              </a:lnTo>
                              <a:lnTo>
                                <a:pt x="842" y="1547"/>
                              </a:lnTo>
                              <a:lnTo>
                                <a:pt x="835" y="1527"/>
                              </a:lnTo>
                              <a:lnTo>
                                <a:pt x="819" y="1522"/>
                              </a:lnTo>
                              <a:lnTo>
                                <a:pt x="818" y="1522"/>
                              </a:lnTo>
                              <a:lnTo>
                                <a:pt x="818" y="1521"/>
                              </a:lnTo>
                              <a:lnTo>
                                <a:pt x="819" y="1501"/>
                              </a:lnTo>
                              <a:lnTo>
                                <a:pt x="820" y="1501"/>
                              </a:lnTo>
                              <a:lnTo>
                                <a:pt x="820" y="1500"/>
                              </a:lnTo>
                              <a:lnTo>
                                <a:pt x="844" y="1475"/>
                              </a:lnTo>
                              <a:lnTo>
                                <a:pt x="839" y="1456"/>
                              </a:lnTo>
                              <a:lnTo>
                                <a:pt x="807" y="1446"/>
                              </a:lnTo>
                              <a:lnTo>
                                <a:pt x="806" y="1446"/>
                              </a:lnTo>
                              <a:lnTo>
                                <a:pt x="806" y="1445"/>
                              </a:lnTo>
                              <a:lnTo>
                                <a:pt x="797" y="1414"/>
                              </a:lnTo>
                              <a:lnTo>
                                <a:pt x="797" y="1414"/>
                              </a:lnTo>
                              <a:lnTo>
                                <a:pt x="798" y="1413"/>
                              </a:lnTo>
                              <a:lnTo>
                                <a:pt x="813" y="1391"/>
                              </a:lnTo>
                              <a:lnTo>
                                <a:pt x="799" y="1367"/>
                              </a:lnTo>
                              <a:lnTo>
                                <a:pt x="798" y="1365"/>
                              </a:lnTo>
                              <a:lnTo>
                                <a:pt x="800" y="1364"/>
                              </a:lnTo>
                              <a:lnTo>
                                <a:pt x="838" y="1340"/>
                              </a:lnTo>
                              <a:lnTo>
                                <a:pt x="860" y="1298"/>
                              </a:lnTo>
                              <a:lnTo>
                                <a:pt x="857" y="1264"/>
                              </a:lnTo>
                              <a:lnTo>
                                <a:pt x="843" y="1241"/>
                              </a:lnTo>
                              <a:lnTo>
                                <a:pt x="842" y="1240"/>
                              </a:lnTo>
                              <a:lnTo>
                                <a:pt x="842" y="1239"/>
                              </a:lnTo>
                              <a:lnTo>
                                <a:pt x="857" y="1207"/>
                              </a:lnTo>
                              <a:lnTo>
                                <a:pt x="850" y="1188"/>
                              </a:lnTo>
                              <a:lnTo>
                                <a:pt x="850" y="1187"/>
                              </a:lnTo>
                              <a:lnTo>
                                <a:pt x="850" y="1187"/>
                              </a:lnTo>
                              <a:lnTo>
                                <a:pt x="848" y="1157"/>
                              </a:lnTo>
                              <a:lnTo>
                                <a:pt x="848" y="1156"/>
                              </a:lnTo>
                              <a:lnTo>
                                <a:pt x="849" y="1155"/>
                              </a:lnTo>
                              <a:lnTo>
                                <a:pt x="876" y="1143"/>
                              </a:lnTo>
                              <a:lnTo>
                                <a:pt x="877" y="1143"/>
                              </a:lnTo>
                              <a:lnTo>
                                <a:pt x="877" y="1143"/>
                              </a:lnTo>
                              <a:lnTo>
                                <a:pt x="905" y="1138"/>
                              </a:lnTo>
                              <a:lnTo>
                                <a:pt x="917" y="1124"/>
                              </a:lnTo>
                              <a:lnTo>
                                <a:pt x="907" y="1111"/>
                              </a:lnTo>
                              <a:lnTo>
                                <a:pt x="886" y="1125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bg1">
                            <a:lumMod val="95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69" name="Freeform 280">
                          <a:extLst>
                            <a:ext uri="{FF2B5EF4-FFF2-40B4-BE49-F238E27FC236}">
                              <a16:creationId xmlns:a16="http://schemas.microsoft.com/office/drawing/2014/main" id="{8C546C1E-E0E1-43FE-B9F6-E3270271101A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5370202" y="674097"/>
                          <a:ext cx="685383" cy="1175822"/>
                        </a:xfrm>
                        <a:custGeom>
                          <a:avLst/>
                          <a:gdLst>
                            <a:gd name="T0" fmla="*/ 660 w 668"/>
                            <a:gd name="T1" fmla="*/ 1047 h 1146"/>
                            <a:gd name="T2" fmla="*/ 617 w 668"/>
                            <a:gd name="T3" fmla="*/ 969 h 1146"/>
                            <a:gd name="T4" fmla="*/ 636 w 668"/>
                            <a:gd name="T5" fmla="*/ 907 h 1146"/>
                            <a:gd name="T6" fmla="*/ 581 w 668"/>
                            <a:gd name="T7" fmla="*/ 796 h 1146"/>
                            <a:gd name="T8" fmla="*/ 599 w 668"/>
                            <a:gd name="T9" fmla="*/ 745 h 1146"/>
                            <a:gd name="T10" fmla="*/ 503 w 668"/>
                            <a:gd name="T11" fmla="*/ 646 h 1146"/>
                            <a:gd name="T12" fmla="*/ 530 w 668"/>
                            <a:gd name="T13" fmla="*/ 658 h 1146"/>
                            <a:gd name="T14" fmla="*/ 517 w 668"/>
                            <a:gd name="T15" fmla="*/ 609 h 1146"/>
                            <a:gd name="T16" fmla="*/ 466 w 668"/>
                            <a:gd name="T17" fmla="*/ 599 h 1146"/>
                            <a:gd name="T18" fmla="*/ 449 w 668"/>
                            <a:gd name="T19" fmla="*/ 562 h 1146"/>
                            <a:gd name="T20" fmla="*/ 412 w 668"/>
                            <a:gd name="T21" fmla="*/ 584 h 1146"/>
                            <a:gd name="T22" fmla="*/ 324 w 668"/>
                            <a:gd name="T23" fmla="*/ 448 h 1146"/>
                            <a:gd name="T24" fmla="*/ 355 w 668"/>
                            <a:gd name="T25" fmla="*/ 400 h 1146"/>
                            <a:gd name="T26" fmla="*/ 378 w 668"/>
                            <a:gd name="T27" fmla="*/ 354 h 1146"/>
                            <a:gd name="T28" fmla="*/ 412 w 668"/>
                            <a:gd name="T29" fmla="*/ 225 h 1146"/>
                            <a:gd name="T30" fmla="*/ 434 w 668"/>
                            <a:gd name="T31" fmla="*/ 154 h 1146"/>
                            <a:gd name="T32" fmla="*/ 388 w 668"/>
                            <a:gd name="T33" fmla="*/ 13 h 1146"/>
                            <a:gd name="T34" fmla="*/ 386 w 668"/>
                            <a:gd name="T35" fmla="*/ 13 h 1146"/>
                            <a:gd name="T36" fmla="*/ 320 w 668"/>
                            <a:gd name="T37" fmla="*/ 120 h 1146"/>
                            <a:gd name="T38" fmla="*/ 319 w 668"/>
                            <a:gd name="T39" fmla="*/ 121 h 1146"/>
                            <a:gd name="T40" fmla="*/ 216 w 668"/>
                            <a:gd name="T41" fmla="*/ 135 h 1146"/>
                            <a:gd name="T42" fmla="*/ 214 w 668"/>
                            <a:gd name="T43" fmla="*/ 134 h 1146"/>
                            <a:gd name="T44" fmla="*/ 131 w 668"/>
                            <a:gd name="T45" fmla="*/ 94 h 1146"/>
                            <a:gd name="T46" fmla="*/ 119 w 668"/>
                            <a:gd name="T47" fmla="*/ 116 h 1146"/>
                            <a:gd name="T48" fmla="*/ 72 w 668"/>
                            <a:gd name="T49" fmla="*/ 126 h 1146"/>
                            <a:gd name="T50" fmla="*/ 64 w 668"/>
                            <a:gd name="T51" fmla="*/ 151 h 1146"/>
                            <a:gd name="T52" fmla="*/ 38 w 668"/>
                            <a:gd name="T53" fmla="*/ 154 h 1146"/>
                            <a:gd name="T54" fmla="*/ 29 w 668"/>
                            <a:gd name="T55" fmla="*/ 183 h 1146"/>
                            <a:gd name="T56" fmla="*/ 0 w 668"/>
                            <a:gd name="T57" fmla="*/ 192 h 1146"/>
                            <a:gd name="T58" fmla="*/ 46 w 668"/>
                            <a:gd name="T59" fmla="*/ 281 h 1146"/>
                            <a:gd name="T60" fmla="*/ 73 w 668"/>
                            <a:gd name="T61" fmla="*/ 286 h 1146"/>
                            <a:gd name="T62" fmla="*/ 91 w 668"/>
                            <a:gd name="T63" fmla="*/ 333 h 1146"/>
                            <a:gd name="T64" fmla="*/ 121 w 668"/>
                            <a:gd name="T65" fmla="*/ 330 h 1146"/>
                            <a:gd name="T66" fmla="*/ 141 w 668"/>
                            <a:gd name="T67" fmla="*/ 349 h 1146"/>
                            <a:gd name="T68" fmla="*/ 141 w 668"/>
                            <a:gd name="T69" fmla="*/ 350 h 1146"/>
                            <a:gd name="T70" fmla="*/ 173 w 668"/>
                            <a:gd name="T71" fmla="*/ 393 h 1146"/>
                            <a:gd name="T72" fmla="*/ 141 w 668"/>
                            <a:gd name="T73" fmla="*/ 316 h 1146"/>
                            <a:gd name="T74" fmla="*/ 202 w 668"/>
                            <a:gd name="T75" fmla="*/ 259 h 1146"/>
                            <a:gd name="T76" fmla="*/ 182 w 668"/>
                            <a:gd name="T77" fmla="*/ 328 h 1146"/>
                            <a:gd name="T78" fmla="*/ 239 w 668"/>
                            <a:gd name="T79" fmla="*/ 355 h 1146"/>
                            <a:gd name="T80" fmla="*/ 254 w 668"/>
                            <a:gd name="T81" fmla="*/ 387 h 1146"/>
                            <a:gd name="T82" fmla="*/ 256 w 668"/>
                            <a:gd name="T83" fmla="*/ 495 h 1146"/>
                            <a:gd name="T84" fmla="*/ 276 w 668"/>
                            <a:gd name="T85" fmla="*/ 647 h 1146"/>
                            <a:gd name="T86" fmla="*/ 273 w 668"/>
                            <a:gd name="T87" fmla="*/ 730 h 1146"/>
                            <a:gd name="T88" fmla="*/ 268 w 668"/>
                            <a:gd name="T89" fmla="*/ 768 h 1146"/>
                            <a:gd name="T90" fmla="*/ 304 w 668"/>
                            <a:gd name="T91" fmla="*/ 860 h 1146"/>
                            <a:gd name="T92" fmla="*/ 346 w 668"/>
                            <a:gd name="T93" fmla="*/ 907 h 1146"/>
                            <a:gd name="T94" fmla="*/ 668 w 668"/>
                            <a:gd name="T95" fmla="*/ 1146 h 1146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  <a:cxn ang="0">
                              <a:pos x="T84" y="T85"/>
                            </a:cxn>
                            <a:cxn ang="0">
                              <a:pos x="T86" y="T87"/>
                            </a:cxn>
                            <a:cxn ang="0">
                              <a:pos x="T88" y="T89"/>
                            </a:cxn>
                            <a:cxn ang="0">
                              <a:pos x="T90" y="T91"/>
                            </a:cxn>
                            <a:cxn ang="0">
                              <a:pos x="T92" y="T93"/>
                            </a:cxn>
                            <a:cxn ang="0">
                              <a:pos x="T94" y="T95"/>
                            </a:cxn>
                          </a:cxnLst>
                          <a:rect l="0" t="0" r="r" b="b"/>
                          <a:pathLst>
                            <a:path w="668" h="1146">
                              <a:moveTo>
                                <a:pt x="668" y="1146"/>
                              </a:moveTo>
                              <a:lnTo>
                                <a:pt x="660" y="1047"/>
                              </a:lnTo>
                              <a:lnTo>
                                <a:pt x="649" y="1002"/>
                              </a:lnTo>
                              <a:lnTo>
                                <a:pt x="617" y="969"/>
                              </a:lnTo>
                              <a:lnTo>
                                <a:pt x="619" y="921"/>
                              </a:lnTo>
                              <a:lnTo>
                                <a:pt x="636" y="907"/>
                              </a:lnTo>
                              <a:lnTo>
                                <a:pt x="580" y="842"/>
                              </a:lnTo>
                              <a:lnTo>
                                <a:pt x="581" y="796"/>
                              </a:lnTo>
                              <a:lnTo>
                                <a:pt x="605" y="771"/>
                              </a:lnTo>
                              <a:lnTo>
                                <a:pt x="599" y="745"/>
                              </a:lnTo>
                              <a:lnTo>
                                <a:pt x="551" y="731"/>
                              </a:lnTo>
                              <a:lnTo>
                                <a:pt x="503" y="646"/>
                              </a:lnTo>
                              <a:lnTo>
                                <a:pt x="515" y="638"/>
                              </a:lnTo>
                              <a:lnTo>
                                <a:pt x="530" y="658"/>
                              </a:lnTo>
                              <a:lnTo>
                                <a:pt x="554" y="643"/>
                              </a:lnTo>
                              <a:lnTo>
                                <a:pt x="517" y="609"/>
                              </a:lnTo>
                              <a:lnTo>
                                <a:pt x="497" y="620"/>
                              </a:lnTo>
                              <a:lnTo>
                                <a:pt x="466" y="599"/>
                              </a:lnTo>
                              <a:lnTo>
                                <a:pt x="465" y="600"/>
                              </a:lnTo>
                              <a:lnTo>
                                <a:pt x="449" y="562"/>
                              </a:lnTo>
                              <a:lnTo>
                                <a:pt x="416" y="562"/>
                              </a:lnTo>
                              <a:lnTo>
                                <a:pt x="412" y="584"/>
                              </a:lnTo>
                              <a:lnTo>
                                <a:pt x="392" y="582"/>
                              </a:lnTo>
                              <a:lnTo>
                                <a:pt x="324" y="448"/>
                              </a:lnTo>
                              <a:lnTo>
                                <a:pt x="329" y="406"/>
                              </a:lnTo>
                              <a:lnTo>
                                <a:pt x="355" y="400"/>
                              </a:lnTo>
                              <a:lnTo>
                                <a:pt x="335" y="321"/>
                              </a:lnTo>
                              <a:lnTo>
                                <a:pt x="378" y="354"/>
                              </a:lnTo>
                              <a:lnTo>
                                <a:pt x="378" y="259"/>
                              </a:lnTo>
                              <a:lnTo>
                                <a:pt x="412" y="225"/>
                              </a:lnTo>
                              <a:lnTo>
                                <a:pt x="462" y="224"/>
                              </a:lnTo>
                              <a:lnTo>
                                <a:pt x="434" y="154"/>
                              </a:lnTo>
                              <a:lnTo>
                                <a:pt x="420" y="3"/>
                              </a:lnTo>
                              <a:lnTo>
                                <a:pt x="388" y="13"/>
                              </a:lnTo>
                              <a:lnTo>
                                <a:pt x="387" y="13"/>
                              </a:lnTo>
                              <a:lnTo>
                                <a:pt x="386" y="13"/>
                              </a:lnTo>
                              <a:lnTo>
                                <a:pt x="362" y="0"/>
                              </a:lnTo>
                              <a:lnTo>
                                <a:pt x="320" y="120"/>
                              </a:lnTo>
                              <a:lnTo>
                                <a:pt x="319" y="121"/>
                              </a:lnTo>
                              <a:lnTo>
                                <a:pt x="319" y="121"/>
                              </a:lnTo>
                              <a:lnTo>
                                <a:pt x="265" y="120"/>
                              </a:lnTo>
                              <a:lnTo>
                                <a:pt x="216" y="135"/>
                              </a:lnTo>
                              <a:lnTo>
                                <a:pt x="214" y="136"/>
                              </a:lnTo>
                              <a:lnTo>
                                <a:pt x="214" y="134"/>
                              </a:lnTo>
                              <a:lnTo>
                                <a:pt x="197" y="90"/>
                              </a:lnTo>
                              <a:lnTo>
                                <a:pt x="131" y="94"/>
                              </a:lnTo>
                              <a:lnTo>
                                <a:pt x="119" y="115"/>
                              </a:lnTo>
                              <a:lnTo>
                                <a:pt x="119" y="116"/>
                              </a:lnTo>
                              <a:lnTo>
                                <a:pt x="118" y="116"/>
                              </a:lnTo>
                              <a:lnTo>
                                <a:pt x="72" y="126"/>
                              </a:lnTo>
                              <a:lnTo>
                                <a:pt x="64" y="151"/>
                              </a:lnTo>
                              <a:lnTo>
                                <a:pt x="64" y="151"/>
                              </a:lnTo>
                              <a:lnTo>
                                <a:pt x="62" y="151"/>
                              </a:lnTo>
                              <a:lnTo>
                                <a:pt x="38" y="154"/>
                              </a:lnTo>
                              <a:lnTo>
                                <a:pt x="30" y="182"/>
                              </a:lnTo>
                              <a:lnTo>
                                <a:pt x="29" y="183"/>
                              </a:lnTo>
                              <a:lnTo>
                                <a:pt x="28" y="183"/>
                              </a:lnTo>
                              <a:lnTo>
                                <a:pt x="0" y="192"/>
                              </a:lnTo>
                              <a:lnTo>
                                <a:pt x="5" y="220"/>
                              </a:lnTo>
                              <a:lnTo>
                                <a:pt x="46" y="281"/>
                              </a:lnTo>
                              <a:lnTo>
                                <a:pt x="72" y="286"/>
                              </a:lnTo>
                              <a:lnTo>
                                <a:pt x="73" y="286"/>
                              </a:lnTo>
                              <a:lnTo>
                                <a:pt x="73" y="287"/>
                              </a:lnTo>
                              <a:lnTo>
                                <a:pt x="91" y="333"/>
                              </a:lnTo>
                              <a:lnTo>
                                <a:pt x="120" y="330"/>
                              </a:lnTo>
                              <a:lnTo>
                                <a:pt x="121" y="330"/>
                              </a:lnTo>
                              <a:lnTo>
                                <a:pt x="121" y="331"/>
                              </a:lnTo>
                              <a:lnTo>
                                <a:pt x="141" y="349"/>
                              </a:lnTo>
                              <a:lnTo>
                                <a:pt x="141" y="349"/>
                              </a:lnTo>
                              <a:lnTo>
                                <a:pt x="141" y="350"/>
                              </a:lnTo>
                              <a:lnTo>
                                <a:pt x="146" y="378"/>
                              </a:lnTo>
                              <a:lnTo>
                                <a:pt x="173" y="393"/>
                              </a:lnTo>
                              <a:lnTo>
                                <a:pt x="192" y="376"/>
                              </a:lnTo>
                              <a:lnTo>
                                <a:pt x="141" y="316"/>
                              </a:lnTo>
                              <a:lnTo>
                                <a:pt x="153" y="276"/>
                              </a:lnTo>
                              <a:lnTo>
                                <a:pt x="202" y="259"/>
                              </a:lnTo>
                              <a:lnTo>
                                <a:pt x="176" y="298"/>
                              </a:lnTo>
                              <a:lnTo>
                                <a:pt x="182" y="328"/>
                              </a:lnTo>
                              <a:lnTo>
                                <a:pt x="220" y="354"/>
                              </a:lnTo>
                              <a:lnTo>
                                <a:pt x="239" y="355"/>
                              </a:lnTo>
                              <a:lnTo>
                                <a:pt x="237" y="383"/>
                              </a:lnTo>
                              <a:lnTo>
                                <a:pt x="254" y="387"/>
                              </a:lnTo>
                              <a:lnTo>
                                <a:pt x="239" y="466"/>
                              </a:lnTo>
                              <a:lnTo>
                                <a:pt x="256" y="495"/>
                              </a:lnTo>
                              <a:lnTo>
                                <a:pt x="262" y="587"/>
                              </a:lnTo>
                              <a:lnTo>
                                <a:pt x="276" y="647"/>
                              </a:lnTo>
                              <a:lnTo>
                                <a:pt x="295" y="706"/>
                              </a:lnTo>
                              <a:lnTo>
                                <a:pt x="273" y="730"/>
                              </a:lnTo>
                              <a:lnTo>
                                <a:pt x="280" y="752"/>
                              </a:lnTo>
                              <a:lnTo>
                                <a:pt x="268" y="768"/>
                              </a:lnTo>
                              <a:lnTo>
                                <a:pt x="299" y="804"/>
                              </a:lnTo>
                              <a:lnTo>
                                <a:pt x="304" y="860"/>
                              </a:lnTo>
                              <a:lnTo>
                                <a:pt x="346" y="907"/>
                              </a:lnTo>
                              <a:lnTo>
                                <a:pt x="346" y="907"/>
                              </a:lnTo>
                              <a:lnTo>
                                <a:pt x="395" y="963"/>
                              </a:lnTo>
                              <a:lnTo>
                                <a:pt x="668" y="1146"/>
                              </a:lnTo>
                              <a:close/>
                            </a:path>
                          </a:pathLst>
                        </a:custGeom>
                        <a:grpFill/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70" name="Freeform 281">
                          <a:extLst>
                            <a:ext uri="{FF2B5EF4-FFF2-40B4-BE49-F238E27FC236}">
                              <a16:creationId xmlns:a16="http://schemas.microsoft.com/office/drawing/2014/main" id="{C3E6F4F3-5224-41E7-B41B-42407EC9BE89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1461056" y="1596492"/>
                          <a:ext cx="420669" cy="444268"/>
                        </a:xfrm>
                        <a:custGeom>
                          <a:avLst/>
                          <a:gdLst>
                            <a:gd name="T0" fmla="*/ 375 w 410"/>
                            <a:gd name="T1" fmla="*/ 104 h 433"/>
                            <a:gd name="T2" fmla="*/ 318 w 410"/>
                            <a:gd name="T3" fmla="*/ 57 h 433"/>
                            <a:gd name="T4" fmla="*/ 298 w 410"/>
                            <a:gd name="T5" fmla="*/ 69 h 433"/>
                            <a:gd name="T6" fmla="*/ 242 w 410"/>
                            <a:gd name="T7" fmla="*/ 63 h 433"/>
                            <a:gd name="T8" fmla="*/ 205 w 410"/>
                            <a:gd name="T9" fmla="*/ 43 h 433"/>
                            <a:gd name="T10" fmla="*/ 204 w 410"/>
                            <a:gd name="T11" fmla="*/ 43 h 433"/>
                            <a:gd name="T12" fmla="*/ 126 w 410"/>
                            <a:gd name="T13" fmla="*/ 0 h 433"/>
                            <a:gd name="T14" fmla="*/ 145 w 410"/>
                            <a:gd name="T15" fmla="*/ 74 h 433"/>
                            <a:gd name="T16" fmla="*/ 145 w 410"/>
                            <a:gd name="T17" fmla="*/ 74 h 433"/>
                            <a:gd name="T18" fmla="*/ 147 w 410"/>
                            <a:gd name="T19" fmla="*/ 105 h 433"/>
                            <a:gd name="T20" fmla="*/ 94 w 410"/>
                            <a:gd name="T21" fmla="*/ 127 h 433"/>
                            <a:gd name="T22" fmla="*/ 108 w 410"/>
                            <a:gd name="T23" fmla="*/ 157 h 433"/>
                            <a:gd name="T24" fmla="*/ 93 w 410"/>
                            <a:gd name="T25" fmla="*/ 179 h 433"/>
                            <a:gd name="T26" fmla="*/ 79 w 410"/>
                            <a:gd name="T27" fmla="*/ 195 h 433"/>
                            <a:gd name="T28" fmla="*/ 61 w 410"/>
                            <a:gd name="T29" fmla="*/ 244 h 433"/>
                            <a:gd name="T30" fmla="*/ 44 w 410"/>
                            <a:gd name="T31" fmla="*/ 261 h 433"/>
                            <a:gd name="T32" fmla="*/ 34 w 410"/>
                            <a:gd name="T33" fmla="*/ 288 h 433"/>
                            <a:gd name="T34" fmla="*/ 17 w 410"/>
                            <a:gd name="T35" fmla="*/ 307 h 433"/>
                            <a:gd name="T36" fmla="*/ 15 w 410"/>
                            <a:gd name="T37" fmla="*/ 308 h 433"/>
                            <a:gd name="T38" fmla="*/ 0 w 410"/>
                            <a:gd name="T39" fmla="*/ 344 h 433"/>
                            <a:gd name="T40" fmla="*/ 18 w 410"/>
                            <a:gd name="T41" fmla="*/ 343 h 433"/>
                            <a:gd name="T42" fmla="*/ 54 w 410"/>
                            <a:gd name="T43" fmla="*/ 374 h 433"/>
                            <a:gd name="T44" fmla="*/ 56 w 410"/>
                            <a:gd name="T45" fmla="*/ 375 h 433"/>
                            <a:gd name="T46" fmla="*/ 73 w 410"/>
                            <a:gd name="T47" fmla="*/ 399 h 433"/>
                            <a:gd name="T48" fmla="*/ 75 w 410"/>
                            <a:gd name="T49" fmla="*/ 401 h 433"/>
                            <a:gd name="T50" fmla="*/ 77 w 410"/>
                            <a:gd name="T51" fmla="*/ 411 h 433"/>
                            <a:gd name="T52" fmla="*/ 84 w 410"/>
                            <a:gd name="T53" fmla="*/ 433 h 433"/>
                            <a:gd name="T54" fmla="*/ 129 w 410"/>
                            <a:gd name="T55" fmla="*/ 393 h 433"/>
                            <a:gd name="T56" fmla="*/ 130 w 410"/>
                            <a:gd name="T57" fmla="*/ 393 h 433"/>
                            <a:gd name="T58" fmla="*/ 186 w 410"/>
                            <a:gd name="T59" fmla="*/ 354 h 433"/>
                            <a:gd name="T60" fmla="*/ 189 w 410"/>
                            <a:gd name="T61" fmla="*/ 354 h 433"/>
                            <a:gd name="T62" fmla="*/ 219 w 410"/>
                            <a:gd name="T63" fmla="*/ 363 h 433"/>
                            <a:gd name="T64" fmla="*/ 225 w 410"/>
                            <a:gd name="T65" fmla="*/ 337 h 433"/>
                            <a:gd name="T66" fmla="*/ 264 w 410"/>
                            <a:gd name="T67" fmla="*/ 335 h 433"/>
                            <a:gd name="T68" fmla="*/ 278 w 410"/>
                            <a:gd name="T69" fmla="*/ 295 h 433"/>
                            <a:gd name="T70" fmla="*/ 278 w 410"/>
                            <a:gd name="T71" fmla="*/ 295 h 433"/>
                            <a:gd name="T72" fmla="*/ 283 w 410"/>
                            <a:gd name="T73" fmla="*/ 251 h 433"/>
                            <a:gd name="T74" fmla="*/ 282 w 410"/>
                            <a:gd name="T75" fmla="*/ 250 h 433"/>
                            <a:gd name="T76" fmla="*/ 283 w 410"/>
                            <a:gd name="T77" fmla="*/ 229 h 433"/>
                            <a:gd name="T78" fmla="*/ 325 w 410"/>
                            <a:gd name="T79" fmla="*/ 210 h 433"/>
                            <a:gd name="T80" fmla="*/ 404 w 410"/>
                            <a:gd name="T81" fmla="*/ 122 h 433"/>
                            <a:gd name="T82" fmla="*/ 376 w 410"/>
                            <a:gd name="T83" fmla="*/ 104 h 433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  <a:cxn ang="0">
                              <a:pos x="T28" y="T29"/>
                            </a:cxn>
                            <a:cxn ang="0">
                              <a:pos x="T30" y="T31"/>
                            </a:cxn>
                            <a:cxn ang="0">
                              <a:pos x="T32" y="T33"/>
                            </a:cxn>
                            <a:cxn ang="0">
                              <a:pos x="T34" y="T35"/>
                            </a:cxn>
                            <a:cxn ang="0">
                              <a:pos x="T36" y="T37"/>
                            </a:cxn>
                            <a:cxn ang="0">
                              <a:pos x="T38" y="T39"/>
                            </a:cxn>
                            <a:cxn ang="0">
                              <a:pos x="T40" y="T41"/>
                            </a:cxn>
                            <a:cxn ang="0">
                              <a:pos x="T42" y="T43"/>
                            </a:cxn>
                            <a:cxn ang="0">
                              <a:pos x="T44" y="T45"/>
                            </a:cxn>
                            <a:cxn ang="0">
                              <a:pos x="T46" y="T47"/>
                            </a:cxn>
                            <a:cxn ang="0">
                              <a:pos x="T48" y="T49"/>
                            </a:cxn>
                            <a:cxn ang="0">
                              <a:pos x="T50" y="T51"/>
                            </a:cxn>
                            <a:cxn ang="0">
                              <a:pos x="T52" y="T53"/>
                            </a:cxn>
                            <a:cxn ang="0">
                              <a:pos x="T54" y="T55"/>
                            </a:cxn>
                            <a:cxn ang="0">
                              <a:pos x="T56" y="T57"/>
                            </a:cxn>
                            <a:cxn ang="0">
                              <a:pos x="T58" y="T59"/>
                            </a:cxn>
                            <a:cxn ang="0">
                              <a:pos x="T60" y="T61"/>
                            </a:cxn>
                            <a:cxn ang="0">
                              <a:pos x="T62" y="T63"/>
                            </a:cxn>
                            <a:cxn ang="0">
                              <a:pos x="T64" y="T65"/>
                            </a:cxn>
                            <a:cxn ang="0">
                              <a:pos x="T66" y="T67"/>
                            </a:cxn>
                            <a:cxn ang="0">
                              <a:pos x="T68" y="T69"/>
                            </a:cxn>
                            <a:cxn ang="0">
                              <a:pos x="T70" y="T71"/>
                            </a:cxn>
                            <a:cxn ang="0">
                              <a:pos x="T72" y="T73"/>
                            </a:cxn>
                            <a:cxn ang="0">
                              <a:pos x="T74" y="T75"/>
                            </a:cxn>
                            <a:cxn ang="0">
                              <a:pos x="T76" y="T77"/>
                            </a:cxn>
                            <a:cxn ang="0">
                              <a:pos x="T78" y="T79"/>
                            </a:cxn>
                            <a:cxn ang="0">
                              <a:pos x="T80" y="T81"/>
                            </a:cxn>
                            <a:cxn ang="0">
                              <a:pos x="T82" y="T83"/>
                            </a:cxn>
                          </a:cxnLst>
                          <a:rect l="0" t="0" r="r" b="b"/>
                          <a:pathLst>
                            <a:path w="410" h="433">
                              <a:moveTo>
                                <a:pt x="376" y="104"/>
                              </a:moveTo>
                              <a:lnTo>
                                <a:pt x="375" y="104"/>
                              </a:lnTo>
                              <a:lnTo>
                                <a:pt x="375" y="103"/>
                              </a:lnTo>
                              <a:lnTo>
                                <a:pt x="318" y="57"/>
                              </a:lnTo>
                              <a:lnTo>
                                <a:pt x="298" y="69"/>
                              </a:lnTo>
                              <a:lnTo>
                                <a:pt x="298" y="69"/>
                              </a:lnTo>
                              <a:lnTo>
                                <a:pt x="297" y="69"/>
                              </a:lnTo>
                              <a:lnTo>
                                <a:pt x="242" y="63"/>
                              </a:lnTo>
                              <a:lnTo>
                                <a:pt x="242" y="62"/>
                              </a:lnTo>
                              <a:lnTo>
                                <a:pt x="205" y="43"/>
                              </a:lnTo>
                              <a:lnTo>
                                <a:pt x="204" y="43"/>
                              </a:lnTo>
                              <a:lnTo>
                                <a:pt x="204" y="43"/>
                              </a:lnTo>
                              <a:lnTo>
                                <a:pt x="170" y="4"/>
                              </a:lnTo>
                              <a:lnTo>
                                <a:pt x="126" y="0"/>
                              </a:lnTo>
                              <a:lnTo>
                                <a:pt x="113" y="32"/>
                              </a:lnTo>
                              <a:lnTo>
                                <a:pt x="145" y="74"/>
                              </a:lnTo>
                              <a:lnTo>
                                <a:pt x="145" y="74"/>
                              </a:lnTo>
                              <a:lnTo>
                                <a:pt x="145" y="74"/>
                              </a:lnTo>
                              <a:lnTo>
                                <a:pt x="146" y="104"/>
                              </a:lnTo>
                              <a:lnTo>
                                <a:pt x="147" y="105"/>
                              </a:lnTo>
                              <a:lnTo>
                                <a:pt x="145" y="106"/>
                              </a:lnTo>
                              <a:lnTo>
                                <a:pt x="94" y="127"/>
                              </a:lnTo>
                              <a:lnTo>
                                <a:pt x="94" y="144"/>
                              </a:lnTo>
                              <a:lnTo>
                                <a:pt x="108" y="157"/>
                              </a:lnTo>
                              <a:lnTo>
                                <a:pt x="110" y="158"/>
                              </a:lnTo>
                              <a:lnTo>
                                <a:pt x="93" y="179"/>
                              </a:lnTo>
                              <a:lnTo>
                                <a:pt x="93" y="179"/>
                              </a:lnTo>
                              <a:lnTo>
                                <a:pt x="79" y="195"/>
                              </a:lnTo>
                              <a:lnTo>
                                <a:pt x="61" y="244"/>
                              </a:lnTo>
                              <a:lnTo>
                                <a:pt x="61" y="244"/>
                              </a:lnTo>
                              <a:lnTo>
                                <a:pt x="60" y="244"/>
                              </a:lnTo>
                              <a:lnTo>
                                <a:pt x="44" y="261"/>
                              </a:lnTo>
                              <a:lnTo>
                                <a:pt x="34" y="288"/>
                              </a:lnTo>
                              <a:lnTo>
                                <a:pt x="34" y="288"/>
                              </a:lnTo>
                              <a:lnTo>
                                <a:pt x="34" y="289"/>
                              </a:lnTo>
                              <a:lnTo>
                                <a:pt x="17" y="307"/>
                              </a:lnTo>
                              <a:lnTo>
                                <a:pt x="16" y="308"/>
                              </a:lnTo>
                              <a:lnTo>
                                <a:pt x="15" y="308"/>
                              </a:lnTo>
                              <a:lnTo>
                                <a:pt x="0" y="307"/>
                              </a:lnTo>
                              <a:lnTo>
                                <a:pt x="0" y="344"/>
                              </a:lnTo>
                              <a:lnTo>
                                <a:pt x="16" y="343"/>
                              </a:lnTo>
                              <a:lnTo>
                                <a:pt x="18" y="343"/>
                              </a:lnTo>
                              <a:lnTo>
                                <a:pt x="18" y="372"/>
                              </a:lnTo>
                              <a:lnTo>
                                <a:pt x="54" y="374"/>
                              </a:lnTo>
                              <a:lnTo>
                                <a:pt x="56" y="374"/>
                              </a:lnTo>
                              <a:lnTo>
                                <a:pt x="56" y="375"/>
                              </a:lnTo>
                              <a:lnTo>
                                <a:pt x="58" y="396"/>
                              </a:lnTo>
                              <a:lnTo>
                                <a:pt x="73" y="399"/>
                              </a:lnTo>
                              <a:lnTo>
                                <a:pt x="74" y="400"/>
                              </a:lnTo>
                              <a:lnTo>
                                <a:pt x="75" y="401"/>
                              </a:lnTo>
                              <a:lnTo>
                                <a:pt x="77" y="411"/>
                              </a:lnTo>
                              <a:lnTo>
                                <a:pt x="77" y="411"/>
                              </a:lnTo>
                              <a:lnTo>
                                <a:pt x="79" y="426"/>
                              </a:lnTo>
                              <a:lnTo>
                                <a:pt x="84" y="433"/>
                              </a:lnTo>
                              <a:lnTo>
                                <a:pt x="98" y="430"/>
                              </a:lnTo>
                              <a:lnTo>
                                <a:pt x="129" y="393"/>
                              </a:lnTo>
                              <a:lnTo>
                                <a:pt x="129" y="393"/>
                              </a:lnTo>
                              <a:lnTo>
                                <a:pt x="130" y="393"/>
                              </a:lnTo>
                              <a:lnTo>
                                <a:pt x="165" y="389"/>
                              </a:lnTo>
                              <a:lnTo>
                                <a:pt x="186" y="354"/>
                              </a:lnTo>
                              <a:lnTo>
                                <a:pt x="188" y="353"/>
                              </a:lnTo>
                              <a:lnTo>
                                <a:pt x="189" y="354"/>
                              </a:lnTo>
                              <a:lnTo>
                                <a:pt x="205" y="372"/>
                              </a:lnTo>
                              <a:lnTo>
                                <a:pt x="219" y="363"/>
                              </a:lnTo>
                              <a:lnTo>
                                <a:pt x="224" y="338"/>
                              </a:lnTo>
                              <a:lnTo>
                                <a:pt x="225" y="337"/>
                              </a:lnTo>
                              <a:lnTo>
                                <a:pt x="226" y="337"/>
                              </a:lnTo>
                              <a:lnTo>
                                <a:pt x="264" y="335"/>
                              </a:lnTo>
                              <a:lnTo>
                                <a:pt x="275" y="322"/>
                              </a:lnTo>
                              <a:lnTo>
                                <a:pt x="278" y="295"/>
                              </a:lnTo>
                              <a:lnTo>
                                <a:pt x="278" y="295"/>
                              </a:lnTo>
                              <a:lnTo>
                                <a:pt x="278" y="295"/>
                              </a:lnTo>
                              <a:lnTo>
                                <a:pt x="295" y="275"/>
                              </a:lnTo>
                              <a:lnTo>
                                <a:pt x="283" y="251"/>
                              </a:lnTo>
                              <a:lnTo>
                                <a:pt x="282" y="251"/>
                              </a:lnTo>
                              <a:lnTo>
                                <a:pt x="282" y="250"/>
                              </a:lnTo>
                              <a:lnTo>
                                <a:pt x="283" y="231"/>
                              </a:lnTo>
                              <a:lnTo>
                                <a:pt x="283" y="229"/>
                              </a:lnTo>
                              <a:lnTo>
                                <a:pt x="284" y="229"/>
                              </a:lnTo>
                              <a:lnTo>
                                <a:pt x="325" y="210"/>
                              </a:lnTo>
                              <a:lnTo>
                                <a:pt x="372" y="164"/>
                              </a:lnTo>
                              <a:lnTo>
                                <a:pt x="404" y="122"/>
                              </a:lnTo>
                              <a:lnTo>
                                <a:pt x="410" y="109"/>
                              </a:lnTo>
                              <a:lnTo>
                                <a:pt x="376" y="104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71" name="Freeform 282">
                          <a:extLst>
                            <a:ext uri="{FF2B5EF4-FFF2-40B4-BE49-F238E27FC236}">
                              <a16:creationId xmlns:a16="http://schemas.microsoft.com/office/drawing/2014/main" id="{5A5098D3-9814-439C-B987-9421A1857F9F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-48662" y="1986995"/>
                          <a:ext cx="117260" cy="127933"/>
                        </a:xfrm>
                        <a:custGeom>
                          <a:avLst/>
                          <a:gdLst>
                            <a:gd name="T0" fmla="*/ 139 w 160"/>
                            <a:gd name="T1" fmla="*/ 220 h 220"/>
                            <a:gd name="T2" fmla="*/ 160 w 160"/>
                            <a:gd name="T3" fmla="*/ 195 h 220"/>
                            <a:gd name="T4" fmla="*/ 112 w 160"/>
                            <a:gd name="T5" fmla="*/ 133 h 220"/>
                            <a:gd name="T6" fmla="*/ 141 w 160"/>
                            <a:gd name="T7" fmla="*/ 53 h 220"/>
                            <a:gd name="T8" fmla="*/ 120 w 160"/>
                            <a:gd name="T9" fmla="*/ 36 h 220"/>
                            <a:gd name="T10" fmla="*/ 103 w 160"/>
                            <a:gd name="T11" fmla="*/ 48 h 220"/>
                            <a:gd name="T12" fmla="*/ 33 w 160"/>
                            <a:gd name="T13" fmla="*/ 0 h 220"/>
                            <a:gd name="T14" fmla="*/ 24 w 160"/>
                            <a:gd name="T15" fmla="*/ 14 h 220"/>
                            <a:gd name="T16" fmla="*/ 26 w 160"/>
                            <a:gd name="T17" fmla="*/ 71 h 220"/>
                            <a:gd name="T18" fmla="*/ 0 w 160"/>
                            <a:gd name="T19" fmla="*/ 99 h 220"/>
                            <a:gd name="T20" fmla="*/ 7 w 160"/>
                            <a:gd name="T21" fmla="*/ 138 h 220"/>
                            <a:gd name="T22" fmla="*/ 53 w 160"/>
                            <a:gd name="T23" fmla="*/ 136 h 220"/>
                            <a:gd name="T24" fmla="*/ 105 w 160"/>
                            <a:gd name="T25" fmla="*/ 200 h 220"/>
                            <a:gd name="T26" fmla="*/ 139 w 160"/>
                            <a:gd name="T27" fmla="*/ 220 h 220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  <a:cxn ang="0">
                              <a:pos x="T22" y="T23"/>
                            </a:cxn>
                            <a:cxn ang="0">
                              <a:pos x="T24" y="T25"/>
                            </a:cxn>
                            <a:cxn ang="0">
                              <a:pos x="T26" y="T27"/>
                            </a:cxn>
                          </a:cxnLst>
                          <a:rect l="0" t="0" r="r" b="b"/>
                          <a:pathLst>
                            <a:path w="160" h="220">
                              <a:moveTo>
                                <a:pt x="139" y="220"/>
                              </a:moveTo>
                              <a:lnTo>
                                <a:pt x="160" y="195"/>
                              </a:lnTo>
                              <a:lnTo>
                                <a:pt x="112" y="133"/>
                              </a:lnTo>
                              <a:lnTo>
                                <a:pt x="141" y="53"/>
                              </a:lnTo>
                              <a:lnTo>
                                <a:pt x="120" y="36"/>
                              </a:lnTo>
                              <a:lnTo>
                                <a:pt x="103" y="48"/>
                              </a:lnTo>
                              <a:lnTo>
                                <a:pt x="33" y="0"/>
                              </a:lnTo>
                              <a:lnTo>
                                <a:pt x="24" y="14"/>
                              </a:lnTo>
                              <a:lnTo>
                                <a:pt x="26" y="71"/>
                              </a:lnTo>
                              <a:lnTo>
                                <a:pt x="0" y="99"/>
                              </a:lnTo>
                              <a:lnTo>
                                <a:pt x="7" y="138"/>
                              </a:lnTo>
                              <a:lnTo>
                                <a:pt x="53" y="136"/>
                              </a:lnTo>
                              <a:lnTo>
                                <a:pt x="105" y="200"/>
                              </a:lnTo>
                              <a:lnTo>
                                <a:pt x="139" y="220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  <p:sp>
                      <p:nvSpPr>
                        <p:cNvPr id="172" name="Freeform 283">
                          <a:extLst>
                            <a:ext uri="{FF2B5EF4-FFF2-40B4-BE49-F238E27FC236}">
                              <a16:creationId xmlns:a16="http://schemas.microsoft.com/office/drawing/2014/main" id="{FFBBC926-D673-4227-B208-A78042AECB06}"/>
                            </a:ext>
                          </a:extLst>
                        </p:cNvPr>
                        <p:cNvSpPr>
                          <a:spLocks/>
                        </p:cNvSpPr>
                        <p:nvPr/>
                      </p:nvSpPr>
                      <p:spPr bwMode="auto">
                        <a:xfrm>
                          <a:off x="835182" y="1442588"/>
                          <a:ext cx="51301" cy="48223"/>
                        </a:xfrm>
                        <a:custGeom>
                          <a:avLst/>
                          <a:gdLst>
                            <a:gd name="T0" fmla="*/ 40 w 50"/>
                            <a:gd name="T1" fmla="*/ 47 h 47"/>
                            <a:gd name="T2" fmla="*/ 25 w 50"/>
                            <a:gd name="T3" fmla="*/ 39 h 47"/>
                            <a:gd name="T4" fmla="*/ 9 w 50"/>
                            <a:gd name="T5" fmla="*/ 47 h 47"/>
                            <a:gd name="T6" fmla="*/ 12 w 50"/>
                            <a:gd name="T7" fmla="*/ 30 h 47"/>
                            <a:gd name="T8" fmla="*/ 0 w 50"/>
                            <a:gd name="T9" fmla="*/ 18 h 47"/>
                            <a:gd name="T10" fmla="*/ 17 w 50"/>
                            <a:gd name="T11" fmla="*/ 15 h 47"/>
                            <a:gd name="T12" fmla="*/ 25 w 50"/>
                            <a:gd name="T13" fmla="*/ 0 h 47"/>
                            <a:gd name="T14" fmla="*/ 32 w 50"/>
                            <a:gd name="T15" fmla="*/ 15 h 47"/>
                            <a:gd name="T16" fmla="*/ 50 w 50"/>
                            <a:gd name="T17" fmla="*/ 18 h 47"/>
                            <a:gd name="T18" fmla="*/ 37 w 50"/>
                            <a:gd name="T19" fmla="*/ 30 h 47"/>
                            <a:gd name="T20" fmla="*/ 40 w 50"/>
                            <a:gd name="T21" fmla="*/ 47 h 47"/>
                          </a:gdLst>
                          <a:ahLst/>
                          <a:cxnLst>
                            <a:cxn ang="0">
                              <a:pos x="T0" y="T1"/>
                            </a:cxn>
                            <a:cxn ang="0">
                              <a:pos x="T2" y="T3"/>
                            </a:cxn>
                            <a:cxn ang="0">
                              <a:pos x="T4" y="T5"/>
                            </a:cxn>
                            <a:cxn ang="0">
                              <a:pos x="T6" y="T7"/>
                            </a:cxn>
                            <a:cxn ang="0">
                              <a:pos x="T8" y="T9"/>
                            </a:cxn>
                            <a:cxn ang="0">
                              <a:pos x="T10" y="T11"/>
                            </a:cxn>
                            <a:cxn ang="0">
                              <a:pos x="T12" y="T13"/>
                            </a:cxn>
                            <a:cxn ang="0">
                              <a:pos x="T14" y="T15"/>
                            </a:cxn>
                            <a:cxn ang="0">
                              <a:pos x="T16" y="T17"/>
                            </a:cxn>
                            <a:cxn ang="0">
                              <a:pos x="T18" y="T19"/>
                            </a:cxn>
                            <a:cxn ang="0">
                              <a:pos x="T20" y="T21"/>
                            </a:cxn>
                          </a:cxnLst>
                          <a:rect l="0" t="0" r="r" b="b"/>
                          <a:pathLst>
                            <a:path w="50" h="47">
                              <a:moveTo>
                                <a:pt x="40" y="47"/>
                              </a:moveTo>
                              <a:lnTo>
                                <a:pt x="25" y="39"/>
                              </a:lnTo>
                              <a:lnTo>
                                <a:pt x="9" y="47"/>
                              </a:lnTo>
                              <a:lnTo>
                                <a:pt x="12" y="30"/>
                              </a:lnTo>
                              <a:lnTo>
                                <a:pt x="0" y="18"/>
                              </a:lnTo>
                              <a:lnTo>
                                <a:pt x="17" y="15"/>
                              </a:lnTo>
                              <a:lnTo>
                                <a:pt x="25" y="0"/>
                              </a:lnTo>
                              <a:lnTo>
                                <a:pt x="32" y="15"/>
                              </a:lnTo>
                              <a:lnTo>
                                <a:pt x="50" y="18"/>
                              </a:lnTo>
                              <a:lnTo>
                                <a:pt x="37" y="30"/>
                              </a:lnTo>
                              <a:lnTo>
                                <a:pt x="40" y="47"/>
                              </a:lnTo>
                              <a:close/>
                            </a:path>
                          </a:pathLst>
                        </a:custGeom>
                        <a:solidFill>
                          <a:schemeClr val="accent6">
                            <a:lumMod val="40000"/>
                            <a:lumOff val="60000"/>
                          </a:schemeClr>
                        </a:solidFill>
                        <a:ln w="6350">
                          <a:solidFill>
                            <a:schemeClr val="bg1"/>
                          </a:solidFill>
                        </a:ln>
                      </p:spPr>
                      <p:txBody>
                        <a:bodyPr lIns="135786" tIns="67893" rIns="135786" bIns="67893"/>
                        <a:lstStyle/>
                        <a:p>
                          <a:pPr defTabSz="1425739">
                            <a:defRPr/>
                          </a:pPr>
                          <a:endParaRPr lang="ru-RU" sz="5836">
                            <a:solidFill>
                              <a:srgbClr val="3E5057"/>
                            </a:solidFill>
                            <a:latin typeface="Tahoma"/>
                          </a:endParaRPr>
                        </a:p>
                      </p:txBody>
                    </p:sp>
                  </p:grpSp>
                </p:grpSp>
                <p:sp>
                  <p:nvSpPr>
                    <p:cNvPr id="189" name="Заголовок 2"/>
                    <p:cNvSpPr txBox="1">
                      <a:spLocks/>
                    </p:cNvSpPr>
                    <p:nvPr/>
                  </p:nvSpPr>
                  <p:spPr bwMode="auto">
                    <a:xfrm>
                      <a:off x="3654154" y="5451313"/>
                      <a:ext cx="2478090" cy="22872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0" tIns="0" rIns="0" bIns="0"/>
                    <a:lstStyle>
                      <a:lvl1pPr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1pPr>
                      <a:lvl2pPr marL="742950" indent="-28575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2pPr>
                      <a:lvl3pPr marL="11430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3pPr>
                      <a:lvl4pPr marL="16002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4pPr>
                      <a:lvl5pPr marL="20574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5pPr>
                      <a:lvl6pPr marL="25146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6pPr>
                      <a:lvl7pPr marL="29718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7pPr>
                      <a:lvl8pPr marL="34290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8pPr>
                      <a:lvl9pPr marL="38862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9pPr>
                    </a:lstStyle>
                    <a:p>
                      <a:pPr algn="ctr" defTabSz="1425739">
                        <a:defRPr/>
                      </a:pPr>
                      <a:r>
                        <a:rPr lang="en-US" altLang="ru-RU" sz="1600" b="1" dirty="0">
                          <a:solidFill>
                            <a:srgbClr val="3E5057"/>
                          </a:solidFill>
                          <a:cs typeface="Calibri" panose="020F0502020204030204" pitchFamily="34" charset="0"/>
                        </a:rPr>
                        <a:t>ЦФО – 31%</a:t>
                      </a:r>
                      <a:endParaRPr lang="ru-RU" altLang="ru-RU" sz="1600" b="1" dirty="0">
                        <a:solidFill>
                          <a:srgbClr val="3E5057"/>
                        </a:solidFill>
                        <a:latin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190" name="Заголовок 2"/>
                    <p:cNvSpPr txBox="1">
                      <a:spLocks/>
                    </p:cNvSpPr>
                    <p:nvPr/>
                  </p:nvSpPr>
                  <p:spPr bwMode="auto">
                    <a:xfrm>
                      <a:off x="5740249" y="6257265"/>
                      <a:ext cx="2478090" cy="22872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0" tIns="0" rIns="0" bIns="0"/>
                    <a:lstStyle>
                      <a:lvl1pPr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1pPr>
                      <a:lvl2pPr marL="742950" indent="-28575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2pPr>
                      <a:lvl3pPr marL="11430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3pPr>
                      <a:lvl4pPr marL="16002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4pPr>
                      <a:lvl5pPr marL="20574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5pPr>
                      <a:lvl6pPr marL="25146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6pPr>
                      <a:lvl7pPr marL="29718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7pPr>
                      <a:lvl8pPr marL="34290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8pPr>
                      <a:lvl9pPr marL="38862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9pPr>
                    </a:lstStyle>
                    <a:p>
                      <a:pPr algn="ctr" defTabSz="1425739">
                        <a:defRPr/>
                      </a:pPr>
                      <a:r>
                        <a:rPr lang="en-US" altLang="ru-RU" sz="1600" b="1" dirty="0">
                          <a:solidFill>
                            <a:srgbClr val="3E5057"/>
                          </a:solidFill>
                          <a:cs typeface="Calibri" panose="020F0502020204030204" pitchFamily="34" charset="0"/>
                        </a:rPr>
                        <a:t>ПФО – 14%</a:t>
                      </a:r>
                      <a:endParaRPr lang="ru-RU" altLang="ru-RU" sz="1600" b="1" dirty="0">
                        <a:solidFill>
                          <a:srgbClr val="3E5057"/>
                        </a:solidFill>
                        <a:latin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191" name="Заголовок 2"/>
                    <p:cNvSpPr txBox="1">
                      <a:spLocks/>
                    </p:cNvSpPr>
                    <p:nvPr/>
                  </p:nvSpPr>
                  <p:spPr bwMode="auto">
                    <a:xfrm>
                      <a:off x="3283639" y="7897845"/>
                      <a:ext cx="2478090" cy="22872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0" tIns="0" rIns="0" bIns="0"/>
                    <a:lstStyle>
                      <a:lvl1pPr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1pPr>
                      <a:lvl2pPr marL="742950" indent="-28575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2pPr>
                      <a:lvl3pPr marL="11430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3pPr>
                      <a:lvl4pPr marL="16002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4pPr>
                      <a:lvl5pPr marL="20574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5pPr>
                      <a:lvl6pPr marL="25146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6pPr>
                      <a:lvl7pPr marL="29718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7pPr>
                      <a:lvl8pPr marL="34290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8pPr>
                      <a:lvl9pPr marL="38862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9pPr>
                    </a:lstStyle>
                    <a:p>
                      <a:pPr algn="ctr" defTabSz="1425739">
                        <a:defRPr/>
                      </a:pPr>
                      <a:r>
                        <a:rPr lang="en-US" altLang="ru-RU" sz="1600" b="1" dirty="0">
                          <a:solidFill>
                            <a:srgbClr val="3E5057"/>
                          </a:solidFill>
                          <a:cs typeface="Calibri" panose="020F0502020204030204" pitchFamily="34" charset="0"/>
                        </a:rPr>
                        <a:t>СКФО – 2%</a:t>
                      </a:r>
                      <a:endParaRPr lang="ru-RU" altLang="ru-RU" sz="5400" b="1" dirty="0">
                        <a:solidFill>
                          <a:srgbClr val="3E5057"/>
                        </a:solidFill>
                        <a:latin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192" name="Заголовок 2"/>
                    <p:cNvSpPr txBox="1">
                      <a:spLocks/>
                    </p:cNvSpPr>
                    <p:nvPr/>
                  </p:nvSpPr>
                  <p:spPr bwMode="auto">
                    <a:xfrm>
                      <a:off x="3804388" y="6627897"/>
                      <a:ext cx="2478090" cy="22872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0" tIns="0" rIns="0" bIns="0"/>
                    <a:lstStyle>
                      <a:lvl1pPr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1pPr>
                      <a:lvl2pPr marL="742950" indent="-28575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2pPr>
                      <a:lvl3pPr marL="11430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3pPr>
                      <a:lvl4pPr marL="16002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4pPr>
                      <a:lvl5pPr marL="20574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5pPr>
                      <a:lvl6pPr marL="25146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6pPr>
                      <a:lvl7pPr marL="29718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7pPr>
                      <a:lvl8pPr marL="34290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8pPr>
                      <a:lvl9pPr marL="38862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9pPr>
                    </a:lstStyle>
                    <a:p>
                      <a:pPr algn="ctr" defTabSz="1425739">
                        <a:defRPr/>
                      </a:pPr>
                      <a:r>
                        <a:rPr lang="en-US" altLang="ru-RU" sz="1600" b="1" dirty="0">
                          <a:solidFill>
                            <a:srgbClr val="3E5057"/>
                          </a:solidFill>
                          <a:cs typeface="Calibri" panose="020F0502020204030204" pitchFamily="34" charset="0"/>
                        </a:rPr>
                        <a:t>ЮФО – 12%</a:t>
                      </a:r>
                      <a:endParaRPr lang="ru-RU" altLang="ru-RU" sz="1600" b="1" dirty="0">
                        <a:solidFill>
                          <a:srgbClr val="3E5057"/>
                        </a:solidFill>
                        <a:latin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194" name="Заголовок 2"/>
                    <p:cNvSpPr txBox="1">
                      <a:spLocks/>
                    </p:cNvSpPr>
                    <p:nvPr/>
                  </p:nvSpPr>
                  <p:spPr bwMode="auto">
                    <a:xfrm>
                      <a:off x="6314636" y="4390270"/>
                      <a:ext cx="2478090" cy="22872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0" tIns="0" rIns="0" bIns="0"/>
                    <a:lstStyle>
                      <a:lvl1pPr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1pPr>
                      <a:lvl2pPr marL="742950" indent="-28575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2pPr>
                      <a:lvl3pPr marL="11430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3pPr>
                      <a:lvl4pPr marL="16002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4pPr>
                      <a:lvl5pPr marL="20574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5pPr>
                      <a:lvl6pPr marL="25146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6pPr>
                      <a:lvl7pPr marL="29718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7pPr>
                      <a:lvl8pPr marL="34290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8pPr>
                      <a:lvl9pPr marL="38862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9pPr>
                    </a:lstStyle>
                    <a:p>
                      <a:pPr algn="ctr" defTabSz="1425739">
                        <a:defRPr/>
                      </a:pPr>
                      <a:r>
                        <a:rPr lang="en-US" altLang="ru-RU" sz="1600" b="1" dirty="0">
                          <a:solidFill>
                            <a:srgbClr val="3E5057"/>
                          </a:solidFill>
                          <a:cs typeface="Calibri" panose="020F0502020204030204" pitchFamily="34" charset="0"/>
                        </a:rPr>
                        <a:t>СЗФО – 10%</a:t>
                      </a:r>
                      <a:endParaRPr lang="ru-RU" altLang="ru-RU" sz="1600" b="1" dirty="0">
                        <a:solidFill>
                          <a:srgbClr val="3E5057"/>
                        </a:solidFill>
                        <a:latin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196" name="Заголовок 2"/>
                    <p:cNvSpPr txBox="1">
                      <a:spLocks/>
                    </p:cNvSpPr>
                    <p:nvPr/>
                  </p:nvSpPr>
                  <p:spPr bwMode="auto">
                    <a:xfrm>
                      <a:off x="8120308" y="6385688"/>
                      <a:ext cx="2478090" cy="22872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0" tIns="0" rIns="0" bIns="0"/>
                    <a:lstStyle>
                      <a:lvl1pPr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1pPr>
                      <a:lvl2pPr marL="742950" indent="-28575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2pPr>
                      <a:lvl3pPr marL="11430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3pPr>
                      <a:lvl4pPr marL="16002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4pPr>
                      <a:lvl5pPr marL="20574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5pPr>
                      <a:lvl6pPr marL="25146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6pPr>
                      <a:lvl7pPr marL="29718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7pPr>
                      <a:lvl8pPr marL="34290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8pPr>
                      <a:lvl9pPr marL="38862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9pPr>
                    </a:lstStyle>
                    <a:p>
                      <a:pPr algn="ctr" defTabSz="1425739">
                        <a:defRPr/>
                      </a:pPr>
                      <a:r>
                        <a:rPr lang="en-US" altLang="ru-RU" sz="1600" b="1" dirty="0">
                          <a:solidFill>
                            <a:srgbClr val="3E5057"/>
                          </a:solidFill>
                          <a:cs typeface="Calibri" panose="020F0502020204030204" pitchFamily="34" charset="0"/>
                        </a:rPr>
                        <a:t>УФО – 12%</a:t>
                      </a:r>
                      <a:endParaRPr lang="ru-RU" altLang="ru-RU" sz="1600" b="1" dirty="0">
                        <a:solidFill>
                          <a:srgbClr val="3E5057"/>
                        </a:solidFill>
                        <a:latin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198" name="Заголовок 2"/>
                    <p:cNvSpPr txBox="1">
                      <a:spLocks/>
                    </p:cNvSpPr>
                    <p:nvPr/>
                  </p:nvSpPr>
                  <p:spPr bwMode="auto">
                    <a:xfrm>
                      <a:off x="10607108" y="7151431"/>
                      <a:ext cx="2478090" cy="22872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0" tIns="0" rIns="0" bIns="0"/>
                    <a:lstStyle>
                      <a:lvl1pPr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1pPr>
                      <a:lvl2pPr marL="742950" indent="-28575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2pPr>
                      <a:lvl3pPr marL="11430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3pPr>
                      <a:lvl4pPr marL="16002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4pPr>
                      <a:lvl5pPr marL="20574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5pPr>
                      <a:lvl6pPr marL="25146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6pPr>
                      <a:lvl7pPr marL="29718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7pPr>
                      <a:lvl8pPr marL="34290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8pPr>
                      <a:lvl9pPr marL="38862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9pPr>
                    </a:lstStyle>
                    <a:p>
                      <a:pPr algn="ctr" defTabSz="1425739">
                        <a:defRPr/>
                      </a:pPr>
                      <a:r>
                        <a:rPr lang="en-US" altLang="ru-RU" sz="1600" b="1" dirty="0">
                          <a:solidFill>
                            <a:srgbClr val="3E5057"/>
                          </a:solidFill>
                          <a:cs typeface="Calibri" panose="020F0502020204030204" pitchFamily="34" charset="0"/>
                        </a:rPr>
                        <a:t>СФО – 7%</a:t>
                      </a:r>
                      <a:endParaRPr lang="ru-RU" altLang="ru-RU" sz="1600" b="1" dirty="0">
                        <a:solidFill>
                          <a:srgbClr val="3E5057"/>
                        </a:solidFill>
                        <a:latin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p:txBody>
                </p:sp>
                <p:sp>
                  <p:nvSpPr>
                    <p:cNvPr id="199" name="Заголовок 2"/>
                    <p:cNvSpPr txBox="1">
                      <a:spLocks/>
                    </p:cNvSpPr>
                    <p:nvPr/>
                  </p:nvSpPr>
                  <p:spPr bwMode="auto">
                    <a:xfrm>
                      <a:off x="14724506" y="8465065"/>
                      <a:ext cx="2478090" cy="22872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0" tIns="0" rIns="0" bIns="0"/>
                    <a:lstStyle>
                      <a:lvl1pPr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1pPr>
                      <a:lvl2pPr marL="742950" indent="-28575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2pPr>
                      <a:lvl3pPr marL="11430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3pPr>
                      <a:lvl4pPr marL="16002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4pPr>
                      <a:lvl5pPr marL="2057400" indent="-228600"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5pPr>
                      <a:lvl6pPr marL="25146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6pPr>
                      <a:lvl7pPr marL="29718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7pPr>
                      <a:lvl8pPr marL="34290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8pPr>
                      <a:lvl9pPr marL="3886200" indent="-228600" defTabSz="6858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 sz="1300">
                          <a:solidFill>
                            <a:schemeClr val="tx1"/>
                          </a:solidFill>
                          <a:latin typeface="Tahoma" panose="020B0604030504040204" pitchFamily="34" charset="0"/>
                        </a:defRPr>
                      </a:lvl9pPr>
                    </a:lstStyle>
                    <a:p>
                      <a:pPr algn="ctr" defTabSz="1425739">
                        <a:defRPr/>
                      </a:pPr>
                      <a:r>
                        <a:rPr lang="en-US" altLang="ru-RU" sz="1600" b="1" dirty="0">
                          <a:solidFill>
                            <a:srgbClr val="3E5057"/>
                          </a:solidFill>
                          <a:cs typeface="Calibri" panose="020F0502020204030204" pitchFamily="34" charset="0"/>
                        </a:rPr>
                        <a:t>ДФО – 6%</a:t>
                      </a:r>
                      <a:endParaRPr lang="ru-RU" altLang="ru-RU" sz="5400" b="1" dirty="0">
                        <a:solidFill>
                          <a:srgbClr val="3E5057"/>
                        </a:solidFill>
                        <a:latin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p:txBody>
                </p:sp>
              </p:grpSp>
              <p:sp>
                <p:nvSpPr>
                  <p:cNvPr id="226" name="Freeform: Shape 342">
                    <a:extLst>
                      <a:ext uri="{FF2B5EF4-FFF2-40B4-BE49-F238E27FC236}">
                        <a16:creationId xmlns:a16="http://schemas.microsoft.com/office/drawing/2014/main" id="{87998478-5D05-483B-AF7A-3550A6B10843}"/>
                      </a:ext>
                    </a:extLst>
                  </p:cNvPr>
                  <p:cNvSpPr/>
                  <p:nvPr/>
                </p:nvSpPr>
                <p:spPr>
                  <a:xfrm rot="669251">
                    <a:off x="2158914" y="5795375"/>
                    <a:ext cx="583152" cy="418719"/>
                  </a:xfrm>
                  <a:custGeom>
                    <a:avLst/>
                    <a:gdLst>
                      <a:gd name="connsiteX0" fmla="*/ 449580 w 1546860"/>
                      <a:gd name="connsiteY0" fmla="*/ 930544 h 953404"/>
                      <a:gd name="connsiteX1" fmla="*/ 449580 w 1546860"/>
                      <a:gd name="connsiteY1" fmla="*/ 930544 h 953404"/>
                      <a:gd name="connsiteX2" fmla="*/ 381000 w 1546860"/>
                      <a:gd name="connsiteY2" fmla="*/ 915304 h 953404"/>
                      <a:gd name="connsiteX3" fmla="*/ 373380 w 1546860"/>
                      <a:gd name="connsiteY3" fmla="*/ 892444 h 953404"/>
                      <a:gd name="connsiteX4" fmla="*/ 350520 w 1546860"/>
                      <a:gd name="connsiteY4" fmla="*/ 861964 h 953404"/>
                      <a:gd name="connsiteX5" fmla="*/ 327660 w 1546860"/>
                      <a:gd name="connsiteY5" fmla="*/ 823864 h 953404"/>
                      <a:gd name="connsiteX6" fmla="*/ 304800 w 1546860"/>
                      <a:gd name="connsiteY6" fmla="*/ 816244 h 953404"/>
                      <a:gd name="connsiteX7" fmla="*/ 281940 w 1546860"/>
                      <a:gd name="connsiteY7" fmla="*/ 801004 h 953404"/>
                      <a:gd name="connsiteX8" fmla="*/ 259080 w 1546860"/>
                      <a:gd name="connsiteY8" fmla="*/ 793384 h 953404"/>
                      <a:gd name="connsiteX9" fmla="*/ 213360 w 1546860"/>
                      <a:gd name="connsiteY9" fmla="*/ 762904 h 953404"/>
                      <a:gd name="connsiteX10" fmla="*/ 175260 w 1546860"/>
                      <a:gd name="connsiteY10" fmla="*/ 770524 h 953404"/>
                      <a:gd name="connsiteX11" fmla="*/ 129540 w 1546860"/>
                      <a:gd name="connsiteY11" fmla="*/ 801004 h 953404"/>
                      <a:gd name="connsiteX12" fmla="*/ 121920 w 1546860"/>
                      <a:gd name="connsiteY12" fmla="*/ 717184 h 953404"/>
                      <a:gd name="connsiteX13" fmla="*/ 198120 w 1546860"/>
                      <a:gd name="connsiteY13" fmla="*/ 709564 h 953404"/>
                      <a:gd name="connsiteX14" fmla="*/ 190500 w 1546860"/>
                      <a:gd name="connsiteY14" fmla="*/ 648604 h 953404"/>
                      <a:gd name="connsiteX15" fmla="*/ 83820 w 1546860"/>
                      <a:gd name="connsiteY15" fmla="*/ 656224 h 953404"/>
                      <a:gd name="connsiteX16" fmla="*/ 38100 w 1546860"/>
                      <a:gd name="connsiteY16" fmla="*/ 671464 h 953404"/>
                      <a:gd name="connsiteX17" fmla="*/ 15240 w 1546860"/>
                      <a:gd name="connsiteY17" fmla="*/ 656224 h 953404"/>
                      <a:gd name="connsiteX18" fmla="*/ 0 w 1546860"/>
                      <a:gd name="connsiteY18" fmla="*/ 610504 h 953404"/>
                      <a:gd name="connsiteX19" fmla="*/ 7620 w 1546860"/>
                      <a:gd name="connsiteY19" fmla="*/ 587644 h 953404"/>
                      <a:gd name="connsiteX20" fmla="*/ 30480 w 1546860"/>
                      <a:gd name="connsiteY20" fmla="*/ 580024 h 953404"/>
                      <a:gd name="connsiteX21" fmla="*/ 114300 w 1546860"/>
                      <a:gd name="connsiteY21" fmla="*/ 587644 h 953404"/>
                      <a:gd name="connsiteX22" fmla="*/ 152400 w 1546860"/>
                      <a:gd name="connsiteY22" fmla="*/ 595264 h 953404"/>
                      <a:gd name="connsiteX23" fmla="*/ 213360 w 1546860"/>
                      <a:gd name="connsiteY23" fmla="*/ 602884 h 953404"/>
                      <a:gd name="connsiteX24" fmla="*/ 236220 w 1546860"/>
                      <a:gd name="connsiteY24" fmla="*/ 610504 h 953404"/>
                      <a:gd name="connsiteX25" fmla="*/ 327660 w 1546860"/>
                      <a:gd name="connsiteY25" fmla="*/ 625744 h 953404"/>
                      <a:gd name="connsiteX26" fmla="*/ 449580 w 1546860"/>
                      <a:gd name="connsiteY26" fmla="*/ 595264 h 953404"/>
                      <a:gd name="connsiteX27" fmla="*/ 441960 w 1546860"/>
                      <a:gd name="connsiteY27" fmla="*/ 549544 h 953404"/>
                      <a:gd name="connsiteX28" fmla="*/ 373380 w 1546860"/>
                      <a:gd name="connsiteY28" fmla="*/ 557164 h 953404"/>
                      <a:gd name="connsiteX29" fmla="*/ 350520 w 1546860"/>
                      <a:gd name="connsiteY29" fmla="*/ 564784 h 953404"/>
                      <a:gd name="connsiteX30" fmla="*/ 251460 w 1546860"/>
                      <a:gd name="connsiteY30" fmla="*/ 557164 h 953404"/>
                      <a:gd name="connsiteX31" fmla="*/ 228600 w 1546860"/>
                      <a:gd name="connsiteY31" fmla="*/ 549544 h 953404"/>
                      <a:gd name="connsiteX32" fmla="*/ 220980 w 1546860"/>
                      <a:gd name="connsiteY32" fmla="*/ 503824 h 953404"/>
                      <a:gd name="connsiteX33" fmla="*/ 266700 w 1546860"/>
                      <a:gd name="connsiteY33" fmla="*/ 488584 h 953404"/>
                      <a:gd name="connsiteX34" fmla="*/ 320040 w 1546860"/>
                      <a:gd name="connsiteY34" fmla="*/ 465724 h 953404"/>
                      <a:gd name="connsiteX35" fmla="*/ 342900 w 1546860"/>
                      <a:gd name="connsiteY35" fmla="*/ 450484 h 953404"/>
                      <a:gd name="connsiteX36" fmla="*/ 365760 w 1546860"/>
                      <a:gd name="connsiteY36" fmla="*/ 442864 h 953404"/>
                      <a:gd name="connsiteX37" fmla="*/ 502920 w 1546860"/>
                      <a:gd name="connsiteY37" fmla="*/ 427624 h 953404"/>
                      <a:gd name="connsiteX38" fmla="*/ 571500 w 1546860"/>
                      <a:gd name="connsiteY38" fmla="*/ 420004 h 953404"/>
                      <a:gd name="connsiteX39" fmla="*/ 609600 w 1546860"/>
                      <a:gd name="connsiteY39" fmla="*/ 366664 h 953404"/>
                      <a:gd name="connsiteX40" fmla="*/ 624840 w 1546860"/>
                      <a:gd name="connsiteY40" fmla="*/ 343804 h 953404"/>
                      <a:gd name="connsiteX41" fmla="*/ 647700 w 1546860"/>
                      <a:gd name="connsiteY41" fmla="*/ 336184 h 953404"/>
                      <a:gd name="connsiteX42" fmla="*/ 655320 w 1546860"/>
                      <a:gd name="connsiteY42" fmla="*/ 313324 h 953404"/>
                      <a:gd name="connsiteX43" fmla="*/ 632460 w 1546860"/>
                      <a:gd name="connsiteY43" fmla="*/ 229504 h 953404"/>
                      <a:gd name="connsiteX44" fmla="*/ 662940 w 1546860"/>
                      <a:gd name="connsiteY44" fmla="*/ 191404 h 953404"/>
                      <a:gd name="connsiteX45" fmla="*/ 678180 w 1546860"/>
                      <a:gd name="connsiteY45" fmla="*/ 168544 h 953404"/>
                      <a:gd name="connsiteX46" fmla="*/ 701040 w 1546860"/>
                      <a:gd name="connsiteY46" fmla="*/ 160924 h 953404"/>
                      <a:gd name="connsiteX47" fmla="*/ 777240 w 1546860"/>
                      <a:gd name="connsiteY47" fmla="*/ 153304 h 953404"/>
                      <a:gd name="connsiteX48" fmla="*/ 800100 w 1546860"/>
                      <a:gd name="connsiteY48" fmla="*/ 138064 h 953404"/>
                      <a:gd name="connsiteX49" fmla="*/ 777240 w 1546860"/>
                      <a:gd name="connsiteY49" fmla="*/ 69484 h 953404"/>
                      <a:gd name="connsiteX50" fmla="*/ 731520 w 1546860"/>
                      <a:gd name="connsiteY50" fmla="*/ 54244 h 953404"/>
                      <a:gd name="connsiteX51" fmla="*/ 708660 w 1546860"/>
                      <a:gd name="connsiteY51" fmla="*/ 46624 h 953404"/>
                      <a:gd name="connsiteX52" fmla="*/ 685800 w 1546860"/>
                      <a:gd name="connsiteY52" fmla="*/ 16144 h 953404"/>
                      <a:gd name="connsiteX53" fmla="*/ 731520 w 1546860"/>
                      <a:gd name="connsiteY53" fmla="*/ 8524 h 953404"/>
                      <a:gd name="connsiteX54" fmla="*/ 822960 w 1546860"/>
                      <a:gd name="connsiteY54" fmla="*/ 23764 h 953404"/>
                      <a:gd name="connsiteX55" fmla="*/ 845820 w 1546860"/>
                      <a:gd name="connsiteY55" fmla="*/ 31384 h 953404"/>
                      <a:gd name="connsiteX56" fmla="*/ 1219200 w 1546860"/>
                      <a:gd name="connsiteY56" fmla="*/ 46624 h 953404"/>
                      <a:gd name="connsiteX57" fmla="*/ 1226820 w 1546860"/>
                      <a:gd name="connsiteY57" fmla="*/ 115204 h 953404"/>
                      <a:gd name="connsiteX58" fmla="*/ 1234440 w 1546860"/>
                      <a:gd name="connsiteY58" fmla="*/ 160924 h 953404"/>
                      <a:gd name="connsiteX59" fmla="*/ 1257300 w 1546860"/>
                      <a:gd name="connsiteY59" fmla="*/ 153304 h 953404"/>
                      <a:gd name="connsiteX60" fmla="*/ 1333500 w 1546860"/>
                      <a:gd name="connsiteY60" fmla="*/ 160924 h 953404"/>
                      <a:gd name="connsiteX61" fmla="*/ 1310640 w 1546860"/>
                      <a:gd name="connsiteY61" fmla="*/ 237124 h 953404"/>
                      <a:gd name="connsiteX62" fmla="*/ 1310640 w 1546860"/>
                      <a:gd name="connsiteY62" fmla="*/ 328564 h 953404"/>
                      <a:gd name="connsiteX63" fmla="*/ 1333500 w 1546860"/>
                      <a:gd name="connsiteY63" fmla="*/ 351424 h 953404"/>
                      <a:gd name="connsiteX64" fmla="*/ 1379220 w 1546860"/>
                      <a:gd name="connsiteY64" fmla="*/ 366664 h 953404"/>
                      <a:gd name="connsiteX65" fmla="*/ 1394460 w 1546860"/>
                      <a:gd name="connsiteY65" fmla="*/ 389524 h 953404"/>
                      <a:gd name="connsiteX66" fmla="*/ 1363980 w 1546860"/>
                      <a:gd name="connsiteY66" fmla="*/ 465724 h 953404"/>
                      <a:gd name="connsiteX67" fmla="*/ 1325880 w 1546860"/>
                      <a:gd name="connsiteY67" fmla="*/ 511444 h 953404"/>
                      <a:gd name="connsiteX68" fmla="*/ 1333500 w 1546860"/>
                      <a:gd name="connsiteY68" fmla="*/ 564784 h 953404"/>
                      <a:gd name="connsiteX69" fmla="*/ 1402080 w 1546860"/>
                      <a:gd name="connsiteY69" fmla="*/ 602884 h 953404"/>
                      <a:gd name="connsiteX70" fmla="*/ 1447800 w 1546860"/>
                      <a:gd name="connsiteY70" fmla="*/ 633364 h 953404"/>
                      <a:gd name="connsiteX71" fmla="*/ 1470660 w 1546860"/>
                      <a:gd name="connsiteY71" fmla="*/ 648604 h 953404"/>
                      <a:gd name="connsiteX72" fmla="*/ 1493520 w 1546860"/>
                      <a:gd name="connsiteY72" fmla="*/ 671464 h 953404"/>
                      <a:gd name="connsiteX73" fmla="*/ 1524000 w 1546860"/>
                      <a:gd name="connsiteY73" fmla="*/ 686704 h 953404"/>
                      <a:gd name="connsiteX74" fmla="*/ 1539240 w 1546860"/>
                      <a:gd name="connsiteY74" fmla="*/ 732424 h 953404"/>
                      <a:gd name="connsiteX75" fmla="*/ 1546860 w 1546860"/>
                      <a:gd name="connsiteY75" fmla="*/ 755284 h 953404"/>
                      <a:gd name="connsiteX76" fmla="*/ 1539240 w 1546860"/>
                      <a:gd name="connsiteY76" fmla="*/ 801004 h 953404"/>
                      <a:gd name="connsiteX77" fmla="*/ 1485900 w 1546860"/>
                      <a:gd name="connsiteY77" fmla="*/ 831484 h 953404"/>
                      <a:gd name="connsiteX78" fmla="*/ 1455420 w 1546860"/>
                      <a:gd name="connsiteY78" fmla="*/ 846724 h 953404"/>
                      <a:gd name="connsiteX79" fmla="*/ 1402080 w 1546860"/>
                      <a:gd name="connsiteY79" fmla="*/ 861964 h 953404"/>
                      <a:gd name="connsiteX80" fmla="*/ 1379220 w 1546860"/>
                      <a:gd name="connsiteY80" fmla="*/ 869584 h 953404"/>
                      <a:gd name="connsiteX81" fmla="*/ 1386840 w 1546860"/>
                      <a:gd name="connsiteY81" fmla="*/ 892444 h 953404"/>
                      <a:gd name="connsiteX82" fmla="*/ 1409700 w 1546860"/>
                      <a:gd name="connsiteY82" fmla="*/ 907684 h 953404"/>
                      <a:gd name="connsiteX83" fmla="*/ 1402080 w 1546860"/>
                      <a:gd name="connsiteY83" fmla="*/ 930544 h 953404"/>
                      <a:gd name="connsiteX84" fmla="*/ 1303020 w 1546860"/>
                      <a:gd name="connsiteY84" fmla="*/ 922924 h 953404"/>
                      <a:gd name="connsiteX85" fmla="*/ 1280160 w 1546860"/>
                      <a:gd name="connsiteY85" fmla="*/ 915304 h 953404"/>
                      <a:gd name="connsiteX86" fmla="*/ 1272540 w 1546860"/>
                      <a:gd name="connsiteY86" fmla="*/ 938164 h 953404"/>
                      <a:gd name="connsiteX87" fmla="*/ 1249680 w 1546860"/>
                      <a:gd name="connsiteY87" fmla="*/ 953404 h 953404"/>
                      <a:gd name="connsiteX88" fmla="*/ 1226820 w 1546860"/>
                      <a:gd name="connsiteY88" fmla="*/ 945784 h 953404"/>
                      <a:gd name="connsiteX89" fmla="*/ 1203960 w 1546860"/>
                      <a:gd name="connsiteY89" fmla="*/ 877204 h 953404"/>
                      <a:gd name="connsiteX90" fmla="*/ 1188720 w 1546860"/>
                      <a:gd name="connsiteY90" fmla="*/ 831484 h 953404"/>
                      <a:gd name="connsiteX91" fmla="*/ 1165860 w 1546860"/>
                      <a:gd name="connsiteY91" fmla="*/ 808624 h 953404"/>
                      <a:gd name="connsiteX92" fmla="*/ 1150620 w 1546860"/>
                      <a:gd name="connsiteY92" fmla="*/ 831484 h 953404"/>
                      <a:gd name="connsiteX93" fmla="*/ 1104900 w 1546860"/>
                      <a:gd name="connsiteY93" fmla="*/ 877204 h 953404"/>
                      <a:gd name="connsiteX94" fmla="*/ 1043940 w 1546860"/>
                      <a:gd name="connsiteY94" fmla="*/ 869584 h 953404"/>
                      <a:gd name="connsiteX95" fmla="*/ 1005840 w 1546860"/>
                      <a:gd name="connsiteY95" fmla="*/ 831484 h 953404"/>
                      <a:gd name="connsiteX96" fmla="*/ 975360 w 1546860"/>
                      <a:gd name="connsiteY96" fmla="*/ 823864 h 953404"/>
                      <a:gd name="connsiteX97" fmla="*/ 922020 w 1546860"/>
                      <a:gd name="connsiteY97" fmla="*/ 846724 h 953404"/>
                      <a:gd name="connsiteX98" fmla="*/ 914400 w 1546860"/>
                      <a:gd name="connsiteY98" fmla="*/ 869584 h 953404"/>
                      <a:gd name="connsiteX99" fmla="*/ 891540 w 1546860"/>
                      <a:gd name="connsiteY99" fmla="*/ 892444 h 953404"/>
                      <a:gd name="connsiteX100" fmla="*/ 853440 w 1546860"/>
                      <a:gd name="connsiteY100" fmla="*/ 922924 h 953404"/>
                      <a:gd name="connsiteX101" fmla="*/ 777240 w 1546860"/>
                      <a:gd name="connsiteY101" fmla="*/ 915304 h 953404"/>
                      <a:gd name="connsiteX102" fmla="*/ 754380 w 1546860"/>
                      <a:gd name="connsiteY102" fmla="*/ 861964 h 953404"/>
                      <a:gd name="connsiteX103" fmla="*/ 731520 w 1546860"/>
                      <a:gd name="connsiteY103" fmla="*/ 854344 h 953404"/>
                      <a:gd name="connsiteX104" fmla="*/ 617220 w 1546860"/>
                      <a:gd name="connsiteY104" fmla="*/ 861964 h 953404"/>
                      <a:gd name="connsiteX105" fmla="*/ 541020 w 1546860"/>
                      <a:gd name="connsiteY105" fmla="*/ 877204 h 953404"/>
                      <a:gd name="connsiteX106" fmla="*/ 472440 w 1546860"/>
                      <a:gd name="connsiteY106" fmla="*/ 907684 h 953404"/>
                      <a:gd name="connsiteX107" fmla="*/ 449580 w 1546860"/>
                      <a:gd name="connsiteY107" fmla="*/ 915304 h 953404"/>
                      <a:gd name="connsiteX108" fmla="*/ 449580 w 1546860"/>
                      <a:gd name="connsiteY108" fmla="*/ 930544 h 9534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</a:cxnLst>
                    <a:rect l="l" t="t" r="r" b="b"/>
                    <a:pathLst>
                      <a:path w="1546860" h="953404">
                        <a:moveTo>
                          <a:pt x="449580" y="930544"/>
                        </a:moveTo>
                        <a:lnTo>
                          <a:pt x="449580" y="930544"/>
                        </a:lnTo>
                        <a:cubicBezTo>
                          <a:pt x="426720" y="925464"/>
                          <a:pt x="401945" y="925777"/>
                          <a:pt x="381000" y="915304"/>
                        </a:cubicBezTo>
                        <a:cubicBezTo>
                          <a:pt x="373816" y="911712"/>
                          <a:pt x="377365" y="899418"/>
                          <a:pt x="373380" y="892444"/>
                        </a:cubicBezTo>
                        <a:cubicBezTo>
                          <a:pt x="367079" y="881417"/>
                          <a:pt x="357565" y="872531"/>
                          <a:pt x="350520" y="861964"/>
                        </a:cubicBezTo>
                        <a:cubicBezTo>
                          <a:pt x="342305" y="849641"/>
                          <a:pt x="338133" y="834337"/>
                          <a:pt x="327660" y="823864"/>
                        </a:cubicBezTo>
                        <a:cubicBezTo>
                          <a:pt x="321980" y="818184"/>
                          <a:pt x="311984" y="819836"/>
                          <a:pt x="304800" y="816244"/>
                        </a:cubicBezTo>
                        <a:cubicBezTo>
                          <a:pt x="296609" y="812148"/>
                          <a:pt x="290131" y="805100"/>
                          <a:pt x="281940" y="801004"/>
                        </a:cubicBezTo>
                        <a:cubicBezTo>
                          <a:pt x="274756" y="797412"/>
                          <a:pt x="266101" y="797285"/>
                          <a:pt x="259080" y="793384"/>
                        </a:cubicBezTo>
                        <a:cubicBezTo>
                          <a:pt x="243069" y="784489"/>
                          <a:pt x="213360" y="762904"/>
                          <a:pt x="213360" y="762904"/>
                        </a:cubicBezTo>
                        <a:cubicBezTo>
                          <a:pt x="200660" y="765444"/>
                          <a:pt x="187051" y="765165"/>
                          <a:pt x="175260" y="770524"/>
                        </a:cubicBezTo>
                        <a:cubicBezTo>
                          <a:pt x="158586" y="778103"/>
                          <a:pt x="129540" y="801004"/>
                          <a:pt x="129540" y="801004"/>
                        </a:cubicBezTo>
                        <a:cubicBezTo>
                          <a:pt x="108928" y="780392"/>
                          <a:pt x="70910" y="755442"/>
                          <a:pt x="121920" y="717184"/>
                        </a:cubicBezTo>
                        <a:cubicBezTo>
                          <a:pt x="142341" y="701868"/>
                          <a:pt x="172720" y="712104"/>
                          <a:pt x="198120" y="709564"/>
                        </a:cubicBezTo>
                        <a:cubicBezTo>
                          <a:pt x="195580" y="689244"/>
                          <a:pt x="209057" y="657264"/>
                          <a:pt x="190500" y="648604"/>
                        </a:cubicBezTo>
                        <a:cubicBezTo>
                          <a:pt x="158194" y="633528"/>
                          <a:pt x="119076" y="650936"/>
                          <a:pt x="83820" y="656224"/>
                        </a:cubicBezTo>
                        <a:cubicBezTo>
                          <a:pt x="67933" y="658607"/>
                          <a:pt x="38100" y="671464"/>
                          <a:pt x="38100" y="671464"/>
                        </a:cubicBezTo>
                        <a:cubicBezTo>
                          <a:pt x="30480" y="666384"/>
                          <a:pt x="20094" y="663990"/>
                          <a:pt x="15240" y="656224"/>
                        </a:cubicBezTo>
                        <a:cubicBezTo>
                          <a:pt x="6726" y="642601"/>
                          <a:pt x="0" y="610504"/>
                          <a:pt x="0" y="610504"/>
                        </a:cubicBezTo>
                        <a:cubicBezTo>
                          <a:pt x="2540" y="602884"/>
                          <a:pt x="1940" y="593324"/>
                          <a:pt x="7620" y="587644"/>
                        </a:cubicBezTo>
                        <a:cubicBezTo>
                          <a:pt x="13300" y="581964"/>
                          <a:pt x="22448" y="580024"/>
                          <a:pt x="30480" y="580024"/>
                        </a:cubicBezTo>
                        <a:cubicBezTo>
                          <a:pt x="58535" y="580024"/>
                          <a:pt x="86360" y="585104"/>
                          <a:pt x="114300" y="587644"/>
                        </a:cubicBezTo>
                        <a:cubicBezTo>
                          <a:pt x="127000" y="590184"/>
                          <a:pt x="139599" y="593295"/>
                          <a:pt x="152400" y="595264"/>
                        </a:cubicBezTo>
                        <a:cubicBezTo>
                          <a:pt x="172640" y="598378"/>
                          <a:pt x="193212" y="599221"/>
                          <a:pt x="213360" y="602884"/>
                        </a:cubicBezTo>
                        <a:cubicBezTo>
                          <a:pt x="221263" y="604321"/>
                          <a:pt x="228317" y="609067"/>
                          <a:pt x="236220" y="610504"/>
                        </a:cubicBezTo>
                        <a:cubicBezTo>
                          <a:pt x="367032" y="634288"/>
                          <a:pt x="246905" y="605555"/>
                          <a:pt x="327660" y="625744"/>
                        </a:cubicBezTo>
                        <a:cubicBezTo>
                          <a:pt x="328976" y="625650"/>
                          <a:pt x="443978" y="645686"/>
                          <a:pt x="449580" y="595264"/>
                        </a:cubicBezTo>
                        <a:cubicBezTo>
                          <a:pt x="451286" y="579908"/>
                          <a:pt x="444500" y="564784"/>
                          <a:pt x="441960" y="549544"/>
                        </a:cubicBezTo>
                        <a:cubicBezTo>
                          <a:pt x="419100" y="552084"/>
                          <a:pt x="396068" y="553383"/>
                          <a:pt x="373380" y="557164"/>
                        </a:cubicBezTo>
                        <a:cubicBezTo>
                          <a:pt x="365457" y="558484"/>
                          <a:pt x="358552" y="564784"/>
                          <a:pt x="350520" y="564784"/>
                        </a:cubicBezTo>
                        <a:cubicBezTo>
                          <a:pt x="317402" y="564784"/>
                          <a:pt x="284480" y="559704"/>
                          <a:pt x="251460" y="557164"/>
                        </a:cubicBezTo>
                        <a:cubicBezTo>
                          <a:pt x="243840" y="554624"/>
                          <a:pt x="234872" y="554562"/>
                          <a:pt x="228600" y="549544"/>
                        </a:cubicBezTo>
                        <a:cubicBezTo>
                          <a:pt x="217898" y="540983"/>
                          <a:pt x="202576" y="516970"/>
                          <a:pt x="220980" y="503824"/>
                        </a:cubicBezTo>
                        <a:cubicBezTo>
                          <a:pt x="234052" y="494487"/>
                          <a:pt x="253334" y="497495"/>
                          <a:pt x="266700" y="488584"/>
                        </a:cubicBezTo>
                        <a:cubicBezTo>
                          <a:pt x="298274" y="467535"/>
                          <a:pt x="280675" y="475565"/>
                          <a:pt x="320040" y="465724"/>
                        </a:cubicBezTo>
                        <a:cubicBezTo>
                          <a:pt x="327660" y="460644"/>
                          <a:pt x="334709" y="454580"/>
                          <a:pt x="342900" y="450484"/>
                        </a:cubicBezTo>
                        <a:cubicBezTo>
                          <a:pt x="350084" y="446892"/>
                          <a:pt x="357968" y="444812"/>
                          <a:pt x="365760" y="442864"/>
                        </a:cubicBezTo>
                        <a:cubicBezTo>
                          <a:pt x="418004" y="429803"/>
                          <a:pt x="437819" y="433542"/>
                          <a:pt x="502920" y="427624"/>
                        </a:cubicBezTo>
                        <a:cubicBezTo>
                          <a:pt x="525826" y="425542"/>
                          <a:pt x="548640" y="422544"/>
                          <a:pt x="571500" y="420004"/>
                        </a:cubicBezTo>
                        <a:cubicBezTo>
                          <a:pt x="607416" y="366130"/>
                          <a:pt x="562342" y="432825"/>
                          <a:pt x="609600" y="366664"/>
                        </a:cubicBezTo>
                        <a:cubicBezTo>
                          <a:pt x="614923" y="359212"/>
                          <a:pt x="617689" y="349525"/>
                          <a:pt x="624840" y="343804"/>
                        </a:cubicBezTo>
                        <a:cubicBezTo>
                          <a:pt x="631112" y="338786"/>
                          <a:pt x="640080" y="338724"/>
                          <a:pt x="647700" y="336184"/>
                        </a:cubicBezTo>
                        <a:cubicBezTo>
                          <a:pt x="650240" y="328564"/>
                          <a:pt x="655320" y="321356"/>
                          <a:pt x="655320" y="313324"/>
                        </a:cubicBezTo>
                        <a:cubicBezTo>
                          <a:pt x="655320" y="267192"/>
                          <a:pt x="649897" y="264378"/>
                          <a:pt x="632460" y="229504"/>
                        </a:cubicBezTo>
                        <a:cubicBezTo>
                          <a:pt x="648264" y="166288"/>
                          <a:pt x="625362" y="221466"/>
                          <a:pt x="662940" y="191404"/>
                        </a:cubicBezTo>
                        <a:cubicBezTo>
                          <a:pt x="670091" y="185683"/>
                          <a:pt x="671029" y="174265"/>
                          <a:pt x="678180" y="168544"/>
                        </a:cubicBezTo>
                        <a:cubicBezTo>
                          <a:pt x="684452" y="163526"/>
                          <a:pt x="693101" y="162145"/>
                          <a:pt x="701040" y="160924"/>
                        </a:cubicBezTo>
                        <a:cubicBezTo>
                          <a:pt x="726270" y="157042"/>
                          <a:pt x="751840" y="155844"/>
                          <a:pt x="777240" y="153304"/>
                        </a:cubicBezTo>
                        <a:cubicBezTo>
                          <a:pt x="784860" y="148224"/>
                          <a:pt x="797879" y="146949"/>
                          <a:pt x="800100" y="138064"/>
                        </a:cubicBezTo>
                        <a:cubicBezTo>
                          <a:pt x="803106" y="126041"/>
                          <a:pt x="793859" y="79871"/>
                          <a:pt x="777240" y="69484"/>
                        </a:cubicBezTo>
                        <a:cubicBezTo>
                          <a:pt x="763617" y="60970"/>
                          <a:pt x="746760" y="59324"/>
                          <a:pt x="731520" y="54244"/>
                        </a:cubicBezTo>
                        <a:lnTo>
                          <a:pt x="708660" y="46624"/>
                        </a:lnTo>
                        <a:cubicBezTo>
                          <a:pt x="701040" y="36464"/>
                          <a:pt x="685800" y="28844"/>
                          <a:pt x="685800" y="16144"/>
                        </a:cubicBezTo>
                        <a:cubicBezTo>
                          <a:pt x="685800" y="-14256"/>
                          <a:pt x="725883" y="7397"/>
                          <a:pt x="731520" y="8524"/>
                        </a:cubicBezTo>
                        <a:cubicBezTo>
                          <a:pt x="761820" y="14584"/>
                          <a:pt x="793645" y="13992"/>
                          <a:pt x="822960" y="23764"/>
                        </a:cubicBezTo>
                        <a:cubicBezTo>
                          <a:pt x="830580" y="26304"/>
                          <a:pt x="837801" y="30921"/>
                          <a:pt x="845820" y="31384"/>
                        </a:cubicBezTo>
                        <a:cubicBezTo>
                          <a:pt x="970177" y="38558"/>
                          <a:pt x="1094740" y="41544"/>
                          <a:pt x="1219200" y="46624"/>
                        </a:cubicBezTo>
                        <a:cubicBezTo>
                          <a:pt x="1221740" y="69484"/>
                          <a:pt x="1223780" y="92405"/>
                          <a:pt x="1226820" y="115204"/>
                        </a:cubicBezTo>
                        <a:cubicBezTo>
                          <a:pt x="1228862" y="130519"/>
                          <a:pt x="1224788" y="148859"/>
                          <a:pt x="1234440" y="160924"/>
                        </a:cubicBezTo>
                        <a:cubicBezTo>
                          <a:pt x="1239458" y="167196"/>
                          <a:pt x="1249680" y="155844"/>
                          <a:pt x="1257300" y="153304"/>
                        </a:cubicBezTo>
                        <a:cubicBezTo>
                          <a:pt x="1282700" y="155844"/>
                          <a:pt x="1314421" y="143965"/>
                          <a:pt x="1333500" y="160924"/>
                        </a:cubicBezTo>
                        <a:cubicBezTo>
                          <a:pt x="1354026" y="179169"/>
                          <a:pt x="1320831" y="221838"/>
                          <a:pt x="1310640" y="237124"/>
                        </a:cubicBezTo>
                        <a:cubicBezTo>
                          <a:pt x="1305098" y="270375"/>
                          <a:pt x="1295862" y="295313"/>
                          <a:pt x="1310640" y="328564"/>
                        </a:cubicBezTo>
                        <a:cubicBezTo>
                          <a:pt x="1315017" y="338412"/>
                          <a:pt x="1324080" y="346191"/>
                          <a:pt x="1333500" y="351424"/>
                        </a:cubicBezTo>
                        <a:cubicBezTo>
                          <a:pt x="1347543" y="359226"/>
                          <a:pt x="1379220" y="366664"/>
                          <a:pt x="1379220" y="366664"/>
                        </a:cubicBezTo>
                        <a:cubicBezTo>
                          <a:pt x="1384300" y="374284"/>
                          <a:pt x="1393549" y="380411"/>
                          <a:pt x="1394460" y="389524"/>
                        </a:cubicBezTo>
                        <a:cubicBezTo>
                          <a:pt x="1400254" y="447460"/>
                          <a:pt x="1390577" y="433807"/>
                          <a:pt x="1363980" y="465724"/>
                        </a:cubicBezTo>
                        <a:cubicBezTo>
                          <a:pt x="1310936" y="529377"/>
                          <a:pt x="1392666" y="444658"/>
                          <a:pt x="1325880" y="511444"/>
                        </a:cubicBezTo>
                        <a:cubicBezTo>
                          <a:pt x="1328420" y="529224"/>
                          <a:pt x="1323857" y="549631"/>
                          <a:pt x="1333500" y="564784"/>
                        </a:cubicBezTo>
                        <a:cubicBezTo>
                          <a:pt x="1359303" y="605331"/>
                          <a:pt x="1373509" y="587011"/>
                          <a:pt x="1402080" y="602884"/>
                        </a:cubicBezTo>
                        <a:cubicBezTo>
                          <a:pt x="1418091" y="611779"/>
                          <a:pt x="1432560" y="623204"/>
                          <a:pt x="1447800" y="633364"/>
                        </a:cubicBezTo>
                        <a:cubicBezTo>
                          <a:pt x="1455420" y="638444"/>
                          <a:pt x="1464184" y="642128"/>
                          <a:pt x="1470660" y="648604"/>
                        </a:cubicBezTo>
                        <a:cubicBezTo>
                          <a:pt x="1478280" y="656224"/>
                          <a:pt x="1484751" y="665200"/>
                          <a:pt x="1493520" y="671464"/>
                        </a:cubicBezTo>
                        <a:cubicBezTo>
                          <a:pt x="1502763" y="678066"/>
                          <a:pt x="1513840" y="681624"/>
                          <a:pt x="1524000" y="686704"/>
                        </a:cubicBezTo>
                        <a:lnTo>
                          <a:pt x="1539240" y="732424"/>
                        </a:lnTo>
                        <a:lnTo>
                          <a:pt x="1546860" y="755284"/>
                        </a:lnTo>
                        <a:cubicBezTo>
                          <a:pt x="1544320" y="770524"/>
                          <a:pt x="1546743" y="787498"/>
                          <a:pt x="1539240" y="801004"/>
                        </a:cubicBezTo>
                        <a:cubicBezTo>
                          <a:pt x="1526757" y="823473"/>
                          <a:pt x="1505362" y="823143"/>
                          <a:pt x="1485900" y="831484"/>
                        </a:cubicBezTo>
                        <a:cubicBezTo>
                          <a:pt x="1475459" y="835959"/>
                          <a:pt x="1465861" y="842249"/>
                          <a:pt x="1455420" y="846724"/>
                        </a:cubicBezTo>
                        <a:cubicBezTo>
                          <a:pt x="1437150" y="854554"/>
                          <a:pt x="1421414" y="856440"/>
                          <a:pt x="1402080" y="861964"/>
                        </a:cubicBezTo>
                        <a:cubicBezTo>
                          <a:pt x="1394357" y="864171"/>
                          <a:pt x="1386840" y="867044"/>
                          <a:pt x="1379220" y="869584"/>
                        </a:cubicBezTo>
                        <a:cubicBezTo>
                          <a:pt x="1381760" y="877204"/>
                          <a:pt x="1381822" y="886172"/>
                          <a:pt x="1386840" y="892444"/>
                        </a:cubicBezTo>
                        <a:cubicBezTo>
                          <a:pt x="1392561" y="899595"/>
                          <a:pt x="1406299" y="899181"/>
                          <a:pt x="1409700" y="907684"/>
                        </a:cubicBezTo>
                        <a:cubicBezTo>
                          <a:pt x="1412683" y="915142"/>
                          <a:pt x="1404620" y="922924"/>
                          <a:pt x="1402080" y="930544"/>
                        </a:cubicBezTo>
                        <a:cubicBezTo>
                          <a:pt x="1369060" y="928004"/>
                          <a:pt x="1335882" y="927032"/>
                          <a:pt x="1303020" y="922924"/>
                        </a:cubicBezTo>
                        <a:cubicBezTo>
                          <a:pt x="1295050" y="921928"/>
                          <a:pt x="1287344" y="911712"/>
                          <a:pt x="1280160" y="915304"/>
                        </a:cubicBezTo>
                        <a:cubicBezTo>
                          <a:pt x="1272976" y="918896"/>
                          <a:pt x="1277558" y="931892"/>
                          <a:pt x="1272540" y="938164"/>
                        </a:cubicBezTo>
                        <a:cubicBezTo>
                          <a:pt x="1266819" y="945315"/>
                          <a:pt x="1257300" y="948324"/>
                          <a:pt x="1249680" y="953404"/>
                        </a:cubicBezTo>
                        <a:cubicBezTo>
                          <a:pt x="1242060" y="950864"/>
                          <a:pt x="1231962" y="951954"/>
                          <a:pt x="1226820" y="945784"/>
                        </a:cubicBezTo>
                        <a:cubicBezTo>
                          <a:pt x="1214883" y="931460"/>
                          <a:pt x="1209390" y="895305"/>
                          <a:pt x="1203960" y="877204"/>
                        </a:cubicBezTo>
                        <a:cubicBezTo>
                          <a:pt x="1199344" y="861817"/>
                          <a:pt x="1200079" y="842843"/>
                          <a:pt x="1188720" y="831484"/>
                        </a:cubicBezTo>
                        <a:lnTo>
                          <a:pt x="1165860" y="808624"/>
                        </a:lnTo>
                        <a:cubicBezTo>
                          <a:pt x="1160780" y="816244"/>
                          <a:pt x="1156704" y="824639"/>
                          <a:pt x="1150620" y="831484"/>
                        </a:cubicBezTo>
                        <a:cubicBezTo>
                          <a:pt x="1136301" y="847593"/>
                          <a:pt x="1104900" y="877204"/>
                          <a:pt x="1104900" y="877204"/>
                        </a:cubicBezTo>
                        <a:cubicBezTo>
                          <a:pt x="1084580" y="874664"/>
                          <a:pt x="1063697" y="874972"/>
                          <a:pt x="1043940" y="869584"/>
                        </a:cubicBezTo>
                        <a:cubicBezTo>
                          <a:pt x="1000955" y="857861"/>
                          <a:pt x="1038665" y="853367"/>
                          <a:pt x="1005840" y="831484"/>
                        </a:cubicBezTo>
                        <a:cubicBezTo>
                          <a:pt x="997126" y="825675"/>
                          <a:pt x="985520" y="826404"/>
                          <a:pt x="975360" y="823864"/>
                        </a:cubicBezTo>
                        <a:cubicBezTo>
                          <a:pt x="957057" y="828440"/>
                          <a:pt x="935176" y="830279"/>
                          <a:pt x="922020" y="846724"/>
                        </a:cubicBezTo>
                        <a:cubicBezTo>
                          <a:pt x="917002" y="852996"/>
                          <a:pt x="918855" y="862901"/>
                          <a:pt x="914400" y="869584"/>
                        </a:cubicBezTo>
                        <a:cubicBezTo>
                          <a:pt x="908422" y="878550"/>
                          <a:pt x="898439" y="884165"/>
                          <a:pt x="891540" y="892444"/>
                        </a:cubicBezTo>
                        <a:cubicBezTo>
                          <a:pt x="865027" y="924260"/>
                          <a:pt x="890968" y="910415"/>
                          <a:pt x="853440" y="922924"/>
                        </a:cubicBezTo>
                        <a:cubicBezTo>
                          <a:pt x="828040" y="920384"/>
                          <a:pt x="801457" y="923376"/>
                          <a:pt x="777240" y="915304"/>
                        </a:cubicBezTo>
                        <a:cubicBezTo>
                          <a:pt x="757163" y="908612"/>
                          <a:pt x="763109" y="872876"/>
                          <a:pt x="754380" y="861964"/>
                        </a:cubicBezTo>
                        <a:cubicBezTo>
                          <a:pt x="749362" y="855692"/>
                          <a:pt x="739140" y="856884"/>
                          <a:pt x="731520" y="854344"/>
                        </a:cubicBezTo>
                        <a:cubicBezTo>
                          <a:pt x="693420" y="856884"/>
                          <a:pt x="655133" y="857414"/>
                          <a:pt x="617220" y="861964"/>
                        </a:cubicBezTo>
                        <a:cubicBezTo>
                          <a:pt x="591501" y="865050"/>
                          <a:pt x="541020" y="877204"/>
                          <a:pt x="541020" y="877204"/>
                        </a:cubicBezTo>
                        <a:cubicBezTo>
                          <a:pt x="504794" y="901355"/>
                          <a:pt x="526848" y="889548"/>
                          <a:pt x="472440" y="907684"/>
                        </a:cubicBezTo>
                        <a:cubicBezTo>
                          <a:pt x="464820" y="910224"/>
                          <a:pt x="456263" y="910849"/>
                          <a:pt x="449580" y="915304"/>
                        </a:cubicBezTo>
                        <a:lnTo>
                          <a:pt x="449580" y="930544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95000"/>
                    </a:schemeClr>
                  </a:solidFill>
                  <a:ln w="6350">
                    <a:solidFill>
                      <a:schemeClr val="bg1"/>
                    </a:solidFill>
                    <a:round/>
                  </a:ln>
                </p:spPr>
                <p:txBody>
                  <a:bodyPr vert="horz" wrap="square" lIns="84021" tIns="42011" rIns="84021" bIns="42011" anchor="t">
                    <a:prstTxWarp prst="textNoShape">
                      <a:avLst/>
                    </a:prstTxWarp>
                  </a:bodyPr>
                  <a:lstStyle/>
                  <a:p>
                    <a:endParaRPr lang="ru-RU" sz="3308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7" name="Freeform: Shape 341">
                    <a:extLst>
                      <a:ext uri="{FF2B5EF4-FFF2-40B4-BE49-F238E27FC236}">
                        <a16:creationId xmlns:a16="http://schemas.microsoft.com/office/drawing/2014/main" id="{6B85618B-17B6-48AF-9539-6402DD148C6C}"/>
                      </a:ext>
                    </a:extLst>
                  </p:cNvPr>
                  <p:cNvSpPr/>
                  <p:nvPr/>
                </p:nvSpPr>
                <p:spPr>
                  <a:xfrm rot="669251">
                    <a:off x="2603466" y="5688038"/>
                    <a:ext cx="517150" cy="438572"/>
                  </a:xfrm>
                  <a:custGeom>
                    <a:avLst/>
                    <a:gdLst>
                      <a:gd name="connsiteX0" fmla="*/ 365760 w 1307345"/>
                      <a:gd name="connsiteY0" fmla="*/ 1196340 h 1196340"/>
                      <a:gd name="connsiteX1" fmla="*/ 365760 w 1307345"/>
                      <a:gd name="connsiteY1" fmla="*/ 1196340 h 1196340"/>
                      <a:gd name="connsiteX2" fmla="*/ 342900 w 1307345"/>
                      <a:gd name="connsiteY2" fmla="*/ 1082040 h 1196340"/>
                      <a:gd name="connsiteX3" fmla="*/ 320040 w 1307345"/>
                      <a:gd name="connsiteY3" fmla="*/ 1066800 h 1196340"/>
                      <a:gd name="connsiteX4" fmla="*/ 274320 w 1307345"/>
                      <a:gd name="connsiteY4" fmla="*/ 1051560 h 1196340"/>
                      <a:gd name="connsiteX5" fmla="*/ 236220 w 1307345"/>
                      <a:gd name="connsiteY5" fmla="*/ 1005840 h 1196340"/>
                      <a:gd name="connsiteX6" fmla="*/ 213360 w 1307345"/>
                      <a:gd name="connsiteY6" fmla="*/ 982980 h 1196340"/>
                      <a:gd name="connsiteX7" fmla="*/ 182880 w 1307345"/>
                      <a:gd name="connsiteY7" fmla="*/ 937260 h 1196340"/>
                      <a:gd name="connsiteX8" fmla="*/ 175260 w 1307345"/>
                      <a:gd name="connsiteY8" fmla="*/ 906780 h 1196340"/>
                      <a:gd name="connsiteX9" fmla="*/ 190500 w 1307345"/>
                      <a:gd name="connsiteY9" fmla="*/ 822960 h 1196340"/>
                      <a:gd name="connsiteX10" fmla="*/ 213360 w 1307345"/>
                      <a:gd name="connsiteY10" fmla="*/ 777240 h 1196340"/>
                      <a:gd name="connsiteX11" fmla="*/ 205740 w 1307345"/>
                      <a:gd name="connsiteY11" fmla="*/ 731520 h 1196340"/>
                      <a:gd name="connsiteX12" fmla="*/ 137160 w 1307345"/>
                      <a:gd name="connsiteY12" fmla="*/ 693420 h 1196340"/>
                      <a:gd name="connsiteX13" fmla="*/ 114300 w 1307345"/>
                      <a:gd name="connsiteY13" fmla="*/ 678180 h 1196340"/>
                      <a:gd name="connsiteX14" fmla="*/ 106680 w 1307345"/>
                      <a:gd name="connsiteY14" fmla="*/ 640080 h 1196340"/>
                      <a:gd name="connsiteX15" fmla="*/ 99060 w 1307345"/>
                      <a:gd name="connsiteY15" fmla="*/ 556260 h 1196340"/>
                      <a:gd name="connsiteX16" fmla="*/ 76200 w 1307345"/>
                      <a:gd name="connsiteY16" fmla="*/ 548640 h 1196340"/>
                      <a:gd name="connsiteX17" fmla="*/ 0 w 1307345"/>
                      <a:gd name="connsiteY17" fmla="*/ 541020 h 1196340"/>
                      <a:gd name="connsiteX18" fmla="*/ 7620 w 1307345"/>
                      <a:gd name="connsiteY18" fmla="*/ 419100 h 1196340"/>
                      <a:gd name="connsiteX19" fmla="*/ 22860 w 1307345"/>
                      <a:gd name="connsiteY19" fmla="*/ 396240 h 1196340"/>
                      <a:gd name="connsiteX20" fmla="*/ 30480 w 1307345"/>
                      <a:gd name="connsiteY20" fmla="*/ 373380 h 1196340"/>
                      <a:gd name="connsiteX21" fmla="*/ 53340 w 1307345"/>
                      <a:gd name="connsiteY21" fmla="*/ 358140 h 1196340"/>
                      <a:gd name="connsiteX22" fmla="*/ 114300 w 1307345"/>
                      <a:gd name="connsiteY22" fmla="*/ 342900 h 1196340"/>
                      <a:gd name="connsiteX23" fmla="*/ 182880 w 1307345"/>
                      <a:gd name="connsiteY23" fmla="*/ 358140 h 1196340"/>
                      <a:gd name="connsiteX24" fmla="*/ 228600 w 1307345"/>
                      <a:gd name="connsiteY24" fmla="*/ 381000 h 1196340"/>
                      <a:gd name="connsiteX25" fmla="*/ 304800 w 1307345"/>
                      <a:gd name="connsiteY25" fmla="*/ 373380 h 1196340"/>
                      <a:gd name="connsiteX26" fmla="*/ 327660 w 1307345"/>
                      <a:gd name="connsiteY26" fmla="*/ 358140 h 1196340"/>
                      <a:gd name="connsiteX27" fmla="*/ 312420 w 1307345"/>
                      <a:gd name="connsiteY27" fmla="*/ 274320 h 1196340"/>
                      <a:gd name="connsiteX28" fmla="*/ 297180 w 1307345"/>
                      <a:gd name="connsiteY28" fmla="*/ 251460 h 1196340"/>
                      <a:gd name="connsiteX29" fmla="*/ 289560 w 1307345"/>
                      <a:gd name="connsiteY29" fmla="*/ 228600 h 1196340"/>
                      <a:gd name="connsiteX30" fmla="*/ 274320 w 1307345"/>
                      <a:gd name="connsiteY30" fmla="*/ 205740 h 1196340"/>
                      <a:gd name="connsiteX31" fmla="*/ 259080 w 1307345"/>
                      <a:gd name="connsiteY31" fmla="*/ 137160 h 1196340"/>
                      <a:gd name="connsiteX32" fmla="*/ 251460 w 1307345"/>
                      <a:gd name="connsiteY32" fmla="*/ 114300 h 1196340"/>
                      <a:gd name="connsiteX33" fmla="*/ 259080 w 1307345"/>
                      <a:gd name="connsiteY33" fmla="*/ 22860 h 1196340"/>
                      <a:gd name="connsiteX34" fmla="*/ 289560 w 1307345"/>
                      <a:gd name="connsiteY34" fmla="*/ 15240 h 1196340"/>
                      <a:gd name="connsiteX35" fmla="*/ 365760 w 1307345"/>
                      <a:gd name="connsiteY35" fmla="*/ 0 h 1196340"/>
                      <a:gd name="connsiteX36" fmla="*/ 518160 w 1307345"/>
                      <a:gd name="connsiteY36" fmla="*/ 7620 h 1196340"/>
                      <a:gd name="connsiteX37" fmla="*/ 563880 w 1307345"/>
                      <a:gd name="connsiteY37" fmla="*/ 22860 h 1196340"/>
                      <a:gd name="connsiteX38" fmla="*/ 586740 w 1307345"/>
                      <a:gd name="connsiteY38" fmla="*/ 30480 h 1196340"/>
                      <a:gd name="connsiteX39" fmla="*/ 792480 w 1307345"/>
                      <a:gd name="connsiteY39" fmla="*/ 38100 h 1196340"/>
                      <a:gd name="connsiteX40" fmla="*/ 822960 w 1307345"/>
                      <a:gd name="connsiteY40" fmla="*/ 91440 h 1196340"/>
                      <a:gd name="connsiteX41" fmla="*/ 830580 w 1307345"/>
                      <a:gd name="connsiteY41" fmla="*/ 182880 h 1196340"/>
                      <a:gd name="connsiteX42" fmla="*/ 861060 w 1307345"/>
                      <a:gd name="connsiteY42" fmla="*/ 198120 h 1196340"/>
                      <a:gd name="connsiteX43" fmla="*/ 883920 w 1307345"/>
                      <a:gd name="connsiteY43" fmla="*/ 213360 h 1196340"/>
                      <a:gd name="connsiteX44" fmla="*/ 967740 w 1307345"/>
                      <a:gd name="connsiteY44" fmla="*/ 205740 h 1196340"/>
                      <a:gd name="connsiteX45" fmla="*/ 1013460 w 1307345"/>
                      <a:gd name="connsiteY45" fmla="*/ 205740 h 1196340"/>
                      <a:gd name="connsiteX46" fmla="*/ 1043940 w 1307345"/>
                      <a:gd name="connsiteY46" fmla="*/ 251460 h 1196340"/>
                      <a:gd name="connsiteX47" fmla="*/ 1066800 w 1307345"/>
                      <a:gd name="connsiteY47" fmla="*/ 274320 h 1196340"/>
                      <a:gd name="connsiteX48" fmla="*/ 1127760 w 1307345"/>
                      <a:gd name="connsiteY48" fmla="*/ 342900 h 1196340"/>
                      <a:gd name="connsiteX49" fmla="*/ 1150620 w 1307345"/>
                      <a:gd name="connsiteY49" fmla="*/ 350520 h 1196340"/>
                      <a:gd name="connsiteX50" fmla="*/ 1181100 w 1307345"/>
                      <a:gd name="connsiteY50" fmla="*/ 365760 h 1196340"/>
                      <a:gd name="connsiteX51" fmla="*/ 1226820 w 1307345"/>
                      <a:gd name="connsiteY51" fmla="*/ 381000 h 1196340"/>
                      <a:gd name="connsiteX52" fmla="*/ 1272540 w 1307345"/>
                      <a:gd name="connsiteY52" fmla="*/ 403860 h 1196340"/>
                      <a:gd name="connsiteX53" fmla="*/ 1295400 w 1307345"/>
                      <a:gd name="connsiteY53" fmla="*/ 419100 h 1196340"/>
                      <a:gd name="connsiteX54" fmla="*/ 1295400 w 1307345"/>
                      <a:gd name="connsiteY54" fmla="*/ 525780 h 1196340"/>
                      <a:gd name="connsiteX55" fmla="*/ 1272540 w 1307345"/>
                      <a:gd name="connsiteY55" fmla="*/ 548640 h 1196340"/>
                      <a:gd name="connsiteX56" fmla="*/ 1234440 w 1307345"/>
                      <a:gd name="connsiteY56" fmla="*/ 556260 h 1196340"/>
                      <a:gd name="connsiteX57" fmla="*/ 1211580 w 1307345"/>
                      <a:gd name="connsiteY57" fmla="*/ 571500 h 1196340"/>
                      <a:gd name="connsiteX58" fmla="*/ 1181100 w 1307345"/>
                      <a:gd name="connsiteY58" fmla="*/ 617220 h 1196340"/>
                      <a:gd name="connsiteX59" fmla="*/ 1203960 w 1307345"/>
                      <a:gd name="connsiteY59" fmla="*/ 708660 h 1196340"/>
                      <a:gd name="connsiteX60" fmla="*/ 1226820 w 1307345"/>
                      <a:gd name="connsiteY60" fmla="*/ 723900 h 1196340"/>
                      <a:gd name="connsiteX61" fmla="*/ 1226820 w 1307345"/>
                      <a:gd name="connsiteY61" fmla="*/ 822960 h 1196340"/>
                      <a:gd name="connsiteX62" fmla="*/ 1219200 w 1307345"/>
                      <a:gd name="connsiteY62" fmla="*/ 845820 h 1196340"/>
                      <a:gd name="connsiteX63" fmla="*/ 1173480 w 1307345"/>
                      <a:gd name="connsiteY63" fmla="*/ 868680 h 1196340"/>
                      <a:gd name="connsiteX64" fmla="*/ 1158240 w 1307345"/>
                      <a:gd name="connsiteY64" fmla="*/ 891540 h 1196340"/>
                      <a:gd name="connsiteX65" fmla="*/ 1127760 w 1307345"/>
                      <a:gd name="connsiteY65" fmla="*/ 906780 h 1196340"/>
                      <a:gd name="connsiteX66" fmla="*/ 1082040 w 1307345"/>
                      <a:gd name="connsiteY66" fmla="*/ 937260 h 1196340"/>
                      <a:gd name="connsiteX67" fmla="*/ 1059180 w 1307345"/>
                      <a:gd name="connsiteY67" fmla="*/ 952500 h 1196340"/>
                      <a:gd name="connsiteX68" fmla="*/ 1013460 w 1307345"/>
                      <a:gd name="connsiteY68" fmla="*/ 944880 h 1196340"/>
                      <a:gd name="connsiteX69" fmla="*/ 990600 w 1307345"/>
                      <a:gd name="connsiteY69" fmla="*/ 929640 h 1196340"/>
                      <a:gd name="connsiteX70" fmla="*/ 952500 w 1307345"/>
                      <a:gd name="connsiteY70" fmla="*/ 937260 h 1196340"/>
                      <a:gd name="connsiteX71" fmla="*/ 922020 w 1307345"/>
                      <a:gd name="connsiteY71" fmla="*/ 952500 h 1196340"/>
                      <a:gd name="connsiteX72" fmla="*/ 899160 w 1307345"/>
                      <a:gd name="connsiteY72" fmla="*/ 960120 h 1196340"/>
                      <a:gd name="connsiteX73" fmla="*/ 883920 w 1307345"/>
                      <a:gd name="connsiteY73" fmla="*/ 982980 h 1196340"/>
                      <a:gd name="connsiteX74" fmla="*/ 830580 w 1307345"/>
                      <a:gd name="connsiteY74" fmla="*/ 1021080 h 1196340"/>
                      <a:gd name="connsiteX75" fmla="*/ 807720 w 1307345"/>
                      <a:gd name="connsiteY75" fmla="*/ 1028700 h 1196340"/>
                      <a:gd name="connsiteX76" fmla="*/ 662940 w 1307345"/>
                      <a:gd name="connsiteY76" fmla="*/ 1036320 h 1196340"/>
                      <a:gd name="connsiteX77" fmla="*/ 640080 w 1307345"/>
                      <a:gd name="connsiteY77" fmla="*/ 1043940 h 1196340"/>
                      <a:gd name="connsiteX78" fmla="*/ 594360 w 1307345"/>
                      <a:gd name="connsiteY78" fmla="*/ 1066800 h 1196340"/>
                      <a:gd name="connsiteX79" fmla="*/ 541020 w 1307345"/>
                      <a:gd name="connsiteY79" fmla="*/ 1104900 h 1196340"/>
                      <a:gd name="connsiteX80" fmla="*/ 518160 w 1307345"/>
                      <a:gd name="connsiteY80" fmla="*/ 1112520 h 1196340"/>
                      <a:gd name="connsiteX81" fmla="*/ 472440 w 1307345"/>
                      <a:gd name="connsiteY81" fmla="*/ 1150620 h 1196340"/>
                      <a:gd name="connsiteX82" fmla="*/ 403860 w 1307345"/>
                      <a:gd name="connsiteY82" fmla="*/ 1143000 h 1196340"/>
                      <a:gd name="connsiteX83" fmla="*/ 381000 w 1307345"/>
                      <a:gd name="connsiteY83" fmla="*/ 1112520 h 1196340"/>
                      <a:gd name="connsiteX84" fmla="*/ 358140 w 1307345"/>
                      <a:gd name="connsiteY84" fmla="*/ 1158240 h 1196340"/>
                      <a:gd name="connsiteX85" fmla="*/ 327660 w 1307345"/>
                      <a:gd name="connsiteY85" fmla="*/ 1158240 h 1196340"/>
                      <a:gd name="connsiteX86" fmla="*/ 365760 w 1307345"/>
                      <a:gd name="connsiteY86" fmla="*/ 1196340 h 11963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</a:cxnLst>
                    <a:rect l="l" t="t" r="r" b="b"/>
                    <a:pathLst>
                      <a:path w="1307345" h="1196340">
                        <a:moveTo>
                          <a:pt x="365760" y="1196340"/>
                        </a:moveTo>
                        <a:lnTo>
                          <a:pt x="365760" y="1196340"/>
                        </a:lnTo>
                        <a:cubicBezTo>
                          <a:pt x="362269" y="1154442"/>
                          <a:pt x="373642" y="1112782"/>
                          <a:pt x="342900" y="1082040"/>
                        </a:cubicBezTo>
                        <a:cubicBezTo>
                          <a:pt x="336424" y="1075564"/>
                          <a:pt x="328409" y="1070519"/>
                          <a:pt x="320040" y="1066800"/>
                        </a:cubicBezTo>
                        <a:cubicBezTo>
                          <a:pt x="305360" y="1060276"/>
                          <a:pt x="274320" y="1051560"/>
                          <a:pt x="274320" y="1051560"/>
                        </a:cubicBezTo>
                        <a:cubicBezTo>
                          <a:pt x="207534" y="984774"/>
                          <a:pt x="289264" y="1069493"/>
                          <a:pt x="236220" y="1005840"/>
                        </a:cubicBezTo>
                        <a:cubicBezTo>
                          <a:pt x="229321" y="997561"/>
                          <a:pt x="219976" y="991486"/>
                          <a:pt x="213360" y="982980"/>
                        </a:cubicBezTo>
                        <a:cubicBezTo>
                          <a:pt x="202115" y="968522"/>
                          <a:pt x="182880" y="937260"/>
                          <a:pt x="182880" y="937260"/>
                        </a:cubicBezTo>
                        <a:cubicBezTo>
                          <a:pt x="180340" y="927100"/>
                          <a:pt x="175260" y="917253"/>
                          <a:pt x="175260" y="906780"/>
                        </a:cubicBezTo>
                        <a:cubicBezTo>
                          <a:pt x="175260" y="891020"/>
                          <a:pt x="179784" y="844392"/>
                          <a:pt x="190500" y="822960"/>
                        </a:cubicBezTo>
                        <a:cubicBezTo>
                          <a:pt x="220043" y="763874"/>
                          <a:pt x="194207" y="834699"/>
                          <a:pt x="213360" y="777240"/>
                        </a:cubicBezTo>
                        <a:cubicBezTo>
                          <a:pt x="210820" y="762000"/>
                          <a:pt x="214600" y="744177"/>
                          <a:pt x="205740" y="731520"/>
                        </a:cubicBezTo>
                        <a:cubicBezTo>
                          <a:pt x="179866" y="694557"/>
                          <a:pt x="165763" y="707721"/>
                          <a:pt x="137160" y="693420"/>
                        </a:cubicBezTo>
                        <a:cubicBezTo>
                          <a:pt x="128969" y="689324"/>
                          <a:pt x="121920" y="683260"/>
                          <a:pt x="114300" y="678180"/>
                        </a:cubicBezTo>
                        <a:cubicBezTo>
                          <a:pt x="111760" y="665480"/>
                          <a:pt x="108286" y="652931"/>
                          <a:pt x="106680" y="640080"/>
                        </a:cubicBezTo>
                        <a:cubicBezTo>
                          <a:pt x="103200" y="612241"/>
                          <a:pt x="107932" y="582876"/>
                          <a:pt x="99060" y="556260"/>
                        </a:cubicBezTo>
                        <a:cubicBezTo>
                          <a:pt x="96520" y="548640"/>
                          <a:pt x="84139" y="549861"/>
                          <a:pt x="76200" y="548640"/>
                        </a:cubicBezTo>
                        <a:cubicBezTo>
                          <a:pt x="50970" y="544758"/>
                          <a:pt x="25400" y="543560"/>
                          <a:pt x="0" y="541020"/>
                        </a:cubicBezTo>
                        <a:cubicBezTo>
                          <a:pt x="2540" y="500380"/>
                          <a:pt x="1269" y="459321"/>
                          <a:pt x="7620" y="419100"/>
                        </a:cubicBezTo>
                        <a:cubicBezTo>
                          <a:pt x="9048" y="410054"/>
                          <a:pt x="18764" y="404431"/>
                          <a:pt x="22860" y="396240"/>
                        </a:cubicBezTo>
                        <a:cubicBezTo>
                          <a:pt x="26452" y="389056"/>
                          <a:pt x="25462" y="379652"/>
                          <a:pt x="30480" y="373380"/>
                        </a:cubicBezTo>
                        <a:cubicBezTo>
                          <a:pt x="36201" y="366229"/>
                          <a:pt x="44733" y="361270"/>
                          <a:pt x="53340" y="358140"/>
                        </a:cubicBezTo>
                        <a:cubicBezTo>
                          <a:pt x="73024" y="350982"/>
                          <a:pt x="114300" y="342900"/>
                          <a:pt x="114300" y="342900"/>
                        </a:cubicBezTo>
                        <a:cubicBezTo>
                          <a:pt x="131860" y="345827"/>
                          <a:pt x="164121" y="348761"/>
                          <a:pt x="182880" y="358140"/>
                        </a:cubicBezTo>
                        <a:cubicBezTo>
                          <a:pt x="241966" y="387683"/>
                          <a:pt x="171141" y="361847"/>
                          <a:pt x="228600" y="381000"/>
                        </a:cubicBezTo>
                        <a:cubicBezTo>
                          <a:pt x="254000" y="378460"/>
                          <a:pt x="279927" y="379120"/>
                          <a:pt x="304800" y="373380"/>
                        </a:cubicBezTo>
                        <a:cubicBezTo>
                          <a:pt x="313724" y="371321"/>
                          <a:pt x="325864" y="367120"/>
                          <a:pt x="327660" y="358140"/>
                        </a:cubicBezTo>
                        <a:cubicBezTo>
                          <a:pt x="329911" y="346883"/>
                          <a:pt x="322253" y="293986"/>
                          <a:pt x="312420" y="274320"/>
                        </a:cubicBezTo>
                        <a:cubicBezTo>
                          <a:pt x="308324" y="266129"/>
                          <a:pt x="301276" y="259651"/>
                          <a:pt x="297180" y="251460"/>
                        </a:cubicBezTo>
                        <a:cubicBezTo>
                          <a:pt x="293588" y="244276"/>
                          <a:pt x="293152" y="235784"/>
                          <a:pt x="289560" y="228600"/>
                        </a:cubicBezTo>
                        <a:cubicBezTo>
                          <a:pt x="285464" y="220409"/>
                          <a:pt x="278416" y="213931"/>
                          <a:pt x="274320" y="205740"/>
                        </a:cubicBezTo>
                        <a:cubicBezTo>
                          <a:pt x="264028" y="185156"/>
                          <a:pt x="263763" y="158232"/>
                          <a:pt x="259080" y="137160"/>
                        </a:cubicBezTo>
                        <a:cubicBezTo>
                          <a:pt x="257338" y="129319"/>
                          <a:pt x="254000" y="121920"/>
                          <a:pt x="251460" y="114300"/>
                        </a:cubicBezTo>
                        <a:cubicBezTo>
                          <a:pt x="254000" y="83820"/>
                          <a:pt x="248100" y="51407"/>
                          <a:pt x="259080" y="22860"/>
                        </a:cubicBezTo>
                        <a:cubicBezTo>
                          <a:pt x="262839" y="13085"/>
                          <a:pt x="279490" y="18117"/>
                          <a:pt x="289560" y="15240"/>
                        </a:cubicBezTo>
                        <a:cubicBezTo>
                          <a:pt x="342758" y="40"/>
                          <a:pt x="274730" y="13004"/>
                          <a:pt x="365760" y="0"/>
                        </a:cubicBezTo>
                        <a:cubicBezTo>
                          <a:pt x="416560" y="2540"/>
                          <a:pt x="467632" y="1790"/>
                          <a:pt x="518160" y="7620"/>
                        </a:cubicBezTo>
                        <a:cubicBezTo>
                          <a:pt x="534118" y="9461"/>
                          <a:pt x="548640" y="17780"/>
                          <a:pt x="563880" y="22860"/>
                        </a:cubicBezTo>
                        <a:cubicBezTo>
                          <a:pt x="571500" y="25400"/>
                          <a:pt x="578713" y="30183"/>
                          <a:pt x="586740" y="30480"/>
                        </a:cubicBezTo>
                        <a:lnTo>
                          <a:pt x="792480" y="38100"/>
                        </a:lnTo>
                        <a:cubicBezTo>
                          <a:pt x="800465" y="50078"/>
                          <a:pt x="820438" y="77989"/>
                          <a:pt x="822960" y="91440"/>
                        </a:cubicBezTo>
                        <a:cubicBezTo>
                          <a:pt x="828597" y="121502"/>
                          <a:pt x="820293" y="154076"/>
                          <a:pt x="830580" y="182880"/>
                        </a:cubicBezTo>
                        <a:cubicBezTo>
                          <a:pt x="834401" y="193577"/>
                          <a:pt x="851197" y="192484"/>
                          <a:pt x="861060" y="198120"/>
                        </a:cubicBezTo>
                        <a:cubicBezTo>
                          <a:pt x="869011" y="202664"/>
                          <a:pt x="876300" y="208280"/>
                          <a:pt x="883920" y="213360"/>
                        </a:cubicBezTo>
                        <a:cubicBezTo>
                          <a:pt x="911860" y="210820"/>
                          <a:pt x="939967" y="209708"/>
                          <a:pt x="967740" y="205740"/>
                        </a:cubicBezTo>
                        <a:cubicBezTo>
                          <a:pt x="1010412" y="199644"/>
                          <a:pt x="970788" y="191516"/>
                          <a:pt x="1013460" y="205740"/>
                        </a:cubicBezTo>
                        <a:cubicBezTo>
                          <a:pt x="1023620" y="220980"/>
                          <a:pt x="1030988" y="238508"/>
                          <a:pt x="1043940" y="251460"/>
                        </a:cubicBezTo>
                        <a:cubicBezTo>
                          <a:pt x="1051560" y="259080"/>
                          <a:pt x="1060184" y="265814"/>
                          <a:pt x="1066800" y="274320"/>
                        </a:cubicBezTo>
                        <a:cubicBezTo>
                          <a:pt x="1099309" y="316118"/>
                          <a:pt x="1086105" y="319097"/>
                          <a:pt x="1127760" y="342900"/>
                        </a:cubicBezTo>
                        <a:cubicBezTo>
                          <a:pt x="1134734" y="346885"/>
                          <a:pt x="1143237" y="347356"/>
                          <a:pt x="1150620" y="350520"/>
                        </a:cubicBezTo>
                        <a:cubicBezTo>
                          <a:pt x="1161061" y="354995"/>
                          <a:pt x="1170553" y="361541"/>
                          <a:pt x="1181100" y="365760"/>
                        </a:cubicBezTo>
                        <a:cubicBezTo>
                          <a:pt x="1196015" y="371726"/>
                          <a:pt x="1213454" y="372089"/>
                          <a:pt x="1226820" y="381000"/>
                        </a:cubicBezTo>
                        <a:cubicBezTo>
                          <a:pt x="1292334" y="424676"/>
                          <a:pt x="1209444" y="372312"/>
                          <a:pt x="1272540" y="403860"/>
                        </a:cubicBezTo>
                        <a:cubicBezTo>
                          <a:pt x="1280731" y="407956"/>
                          <a:pt x="1287780" y="414020"/>
                          <a:pt x="1295400" y="419100"/>
                        </a:cubicBezTo>
                        <a:cubicBezTo>
                          <a:pt x="1309134" y="460303"/>
                          <a:pt x="1313379" y="462855"/>
                          <a:pt x="1295400" y="525780"/>
                        </a:cubicBezTo>
                        <a:cubicBezTo>
                          <a:pt x="1292440" y="536142"/>
                          <a:pt x="1282179" y="543821"/>
                          <a:pt x="1272540" y="548640"/>
                        </a:cubicBezTo>
                        <a:cubicBezTo>
                          <a:pt x="1260956" y="554432"/>
                          <a:pt x="1247140" y="553720"/>
                          <a:pt x="1234440" y="556260"/>
                        </a:cubicBezTo>
                        <a:cubicBezTo>
                          <a:pt x="1226820" y="561340"/>
                          <a:pt x="1217611" y="564608"/>
                          <a:pt x="1211580" y="571500"/>
                        </a:cubicBezTo>
                        <a:cubicBezTo>
                          <a:pt x="1199519" y="585284"/>
                          <a:pt x="1181100" y="617220"/>
                          <a:pt x="1181100" y="617220"/>
                        </a:cubicBezTo>
                        <a:cubicBezTo>
                          <a:pt x="1185336" y="655348"/>
                          <a:pt x="1177711" y="682411"/>
                          <a:pt x="1203960" y="708660"/>
                        </a:cubicBezTo>
                        <a:cubicBezTo>
                          <a:pt x="1210436" y="715136"/>
                          <a:pt x="1219200" y="718820"/>
                          <a:pt x="1226820" y="723900"/>
                        </a:cubicBezTo>
                        <a:cubicBezTo>
                          <a:pt x="1238820" y="771899"/>
                          <a:pt x="1238229" y="754503"/>
                          <a:pt x="1226820" y="822960"/>
                        </a:cubicBezTo>
                        <a:cubicBezTo>
                          <a:pt x="1225500" y="830883"/>
                          <a:pt x="1224218" y="839548"/>
                          <a:pt x="1219200" y="845820"/>
                        </a:cubicBezTo>
                        <a:cubicBezTo>
                          <a:pt x="1208457" y="859249"/>
                          <a:pt x="1188539" y="863660"/>
                          <a:pt x="1173480" y="868680"/>
                        </a:cubicBezTo>
                        <a:cubicBezTo>
                          <a:pt x="1168400" y="876300"/>
                          <a:pt x="1165275" y="885677"/>
                          <a:pt x="1158240" y="891540"/>
                        </a:cubicBezTo>
                        <a:cubicBezTo>
                          <a:pt x="1149514" y="898812"/>
                          <a:pt x="1137500" y="900936"/>
                          <a:pt x="1127760" y="906780"/>
                        </a:cubicBezTo>
                        <a:cubicBezTo>
                          <a:pt x="1112054" y="916204"/>
                          <a:pt x="1097280" y="927100"/>
                          <a:pt x="1082040" y="937260"/>
                        </a:cubicBezTo>
                        <a:lnTo>
                          <a:pt x="1059180" y="952500"/>
                        </a:lnTo>
                        <a:cubicBezTo>
                          <a:pt x="1043940" y="949960"/>
                          <a:pt x="1028117" y="949766"/>
                          <a:pt x="1013460" y="944880"/>
                        </a:cubicBezTo>
                        <a:cubicBezTo>
                          <a:pt x="1004772" y="941984"/>
                          <a:pt x="999687" y="930776"/>
                          <a:pt x="990600" y="929640"/>
                        </a:cubicBezTo>
                        <a:cubicBezTo>
                          <a:pt x="977749" y="928034"/>
                          <a:pt x="965200" y="934720"/>
                          <a:pt x="952500" y="937260"/>
                        </a:cubicBezTo>
                        <a:cubicBezTo>
                          <a:pt x="942340" y="942340"/>
                          <a:pt x="932461" y="948025"/>
                          <a:pt x="922020" y="952500"/>
                        </a:cubicBezTo>
                        <a:cubicBezTo>
                          <a:pt x="914637" y="955664"/>
                          <a:pt x="905432" y="955102"/>
                          <a:pt x="899160" y="960120"/>
                        </a:cubicBezTo>
                        <a:cubicBezTo>
                          <a:pt x="892009" y="965841"/>
                          <a:pt x="889783" y="975945"/>
                          <a:pt x="883920" y="982980"/>
                        </a:cubicBezTo>
                        <a:cubicBezTo>
                          <a:pt x="864561" y="1006211"/>
                          <a:pt x="858542" y="1009096"/>
                          <a:pt x="830580" y="1021080"/>
                        </a:cubicBezTo>
                        <a:cubicBezTo>
                          <a:pt x="823197" y="1024244"/>
                          <a:pt x="815719" y="1027973"/>
                          <a:pt x="807720" y="1028700"/>
                        </a:cubicBezTo>
                        <a:cubicBezTo>
                          <a:pt x="759592" y="1033075"/>
                          <a:pt x="711200" y="1033780"/>
                          <a:pt x="662940" y="1036320"/>
                        </a:cubicBezTo>
                        <a:cubicBezTo>
                          <a:pt x="655320" y="1038860"/>
                          <a:pt x="647264" y="1040348"/>
                          <a:pt x="640080" y="1043940"/>
                        </a:cubicBezTo>
                        <a:cubicBezTo>
                          <a:pt x="580994" y="1073483"/>
                          <a:pt x="651819" y="1047647"/>
                          <a:pt x="594360" y="1066800"/>
                        </a:cubicBezTo>
                        <a:cubicBezTo>
                          <a:pt x="587457" y="1071977"/>
                          <a:pt x="552162" y="1099329"/>
                          <a:pt x="541020" y="1104900"/>
                        </a:cubicBezTo>
                        <a:cubicBezTo>
                          <a:pt x="533836" y="1108492"/>
                          <a:pt x="525344" y="1108928"/>
                          <a:pt x="518160" y="1112520"/>
                        </a:cubicBezTo>
                        <a:cubicBezTo>
                          <a:pt x="496942" y="1123129"/>
                          <a:pt x="489292" y="1133768"/>
                          <a:pt x="472440" y="1150620"/>
                        </a:cubicBezTo>
                        <a:cubicBezTo>
                          <a:pt x="449580" y="1148080"/>
                          <a:pt x="425091" y="1151846"/>
                          <a:pt x="403860" y="1143000"/>
                        </a:cubicBezTo>
                        <a:cubicBezTo>
                          <a:pt x="392137" y="1138115"/>
                          <a:pt x="393453" y="1115011"/>
                          <a:pt x="381000" y="1112520"/>
                        </a:cubicBezTo>
                        <a:cubicBezTo>
                          <a:pt x="367187" y="1109757"/>
                          <a:pt x="363497" y="1155026"/>
                          <a:pt x="358140" y="1158240"/>
                        </a:cubicBezTo>
                        <a:cubicBezTo>
                          <a:pt x="349428" y="1163467"/>
                          <a:pt x="337820" y="1158240"/>
                          <a:pt x="327660" y="1158240"/>
                        </a:cubicBezTo>
                        <a:lnTo>
                          <a:pt x="365760" y="1196340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95000"/>
                    </a:schemeClr>
                  </a:solidFill>
                  <a:ln w="6350">
                    <a:solidFill>
                      <a:schemeClr val="bg1"/>
                    </a:solidFill>
                    <a:round/>
                  </a:ln>
                </p:spPr>
                <p:txBody>
                  <a:bodyPr vert="horz" wrap="square" lIns="84021" tIns="42011" rIns="84021" bIns="42011" anchor="t">
                    <a:prstTxWarp prst="textNoShape">
                      <a:avLst/>
                    </a:prstTxWarp>
                  </a:bodyPr>
                  <a:lstStyle/>
                  <a:p>
                    <a:endParaRPr lang="ru-RU" sz="3308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Freeform: Shape 340">
                    <a:extLst>
                      <a:ext uri="{FF2B5EF4-FFF2-40B4-BE49-F238E27FC236}">
                        <a16:creationId xmlns:a16="http://schemas.microsoft.com/office/drawing/2014/main" id="{AB399587-756A-4706-91D9-E5A561492400}"/>
                      </a:ext>
                    </a:extLst>
                  </p:cNvPr>
                  <p:cNvSpPr/>
                  <p:nvPr/>
                </p:nvSpPr>
                <p:spPr>
                  <a:xfrm rot="3646191">
                    <a:off x="3106961" y="5573860"/>
                    <a:ext cx="465416" cy="516188"/>
                  </a:xfrm>
                  <a:custGeom>
                    <a:avLst/>
                    <a:gdLst>
                      <a:gd name="connsiteX0" fmla="*/ 31775 w 1084386"/>
                      <a:gd name="connsiteY0" fmla="*/ 251460 h 1501140"/>
                      <a:gd name="connsiteX1" fmla="*/ 31775 w 1084386"/>
                      <a:gd name="connsiteY1" fmla="*/ 251460 h 1501140"/>
                      <a:gd name="connsiteX2" fmla="*/ 100355 w 1084386"/>
                      <a:gd name="connsiteY2" fmla="*/ 259080 h 1501140"/>
                      <a:gd name="connsiteX3" fmla="*/ 123215 w 1084386"/>
                      <a:gd name="connsiteY3" fmla="*/ 274320 h 1501140"/>
                      <a:gd name="connsiteX4" fmla="*/ 176555 w 1084386"/>
                      <a:gd name="connsiteY4" fmla="*/ 297180 h 1501140"/>
                      <a:gd name="connsiteX5" fmla="*/ 245135 w 1084386"/>
                      <a:gd name="connsiteY5" fmla="*/ 289560 h 1501140"/>
                      <a:gd name="connsiteX6" fmla="*/ 252755 w 1084386"/>
                      <a:gd name="connsiteY6" fmla="*/ 266700 h 1501140"/>
                      <a:gd name="connsiteX7" fmla="*/ 298475 w 1084386"/>
                      <a:gd name="connsiteY7" fmla="*/ 236220 h 1501140"/>
                      <a:gd name="connsiteX8" fmla="*/ 344195 w 1084386"/>
                      <a:gd name="connsiteY8" fmla="*/ 198120 h 1501140"/>
                      <a:gd name="connsiteX9" fmla="*/ 351815 w 1084386"/>
                      <a:gd name="connsiteY9" fmla="*/ 129540 h 1501140"/>
                      <a:gd name="connsiteX10" fmla="*/ 374675 w 1084386"/>
                      <a:gd name="connsiteY10" fmla="*/ 121920 h 1501140"/>
                      <a:gd name="connsiteX11" fmla="*/ 420395 w 1084386"/>
                      <a:gd name="connsiteY11" fmla="*/ 83820 h 1501140"/>
                      <a:gd name="connsiteX12" fmla="*/ 428015 w 1084386"/>
                      <a:gd name="connsiteY12" fmla="*/ 60960 h 1501140"/>
                      <a:gd name="connsiteX13" fmla="*/ 420395 w 1084386"/>
                      <a:gd name="connsiteY13" fmla="*/ 15240 h 1501140"/>
                      <a:gd name="connsiteX14" fmla="*/ 450875 w 1084386"/>
                      <a:gd name="connsiteY14" fmla="*/ 0 h 1501140"/>
                      <a:gd name="connsiteX15" fmla="*/ 496595 w 1084386"/>
                      <a:gd name="connsiteY15" fmla="*/ 15240 h 1501140"/>
                      <a:gd name="connsiteX16" fmla="*/ 519455 w 1084386"/>
                      <a:gd name="connsiteY16" fmla="*/ 22860 h 1501140"/>
                      <a:gd name="connsiteX17" fmla="*/ 572795 w 1084386"/>
                      <a:gd name="connsiteY17" fmla="*/ 30480 h 1501140"/>
                      <a:gd name="connsiteX18" fmla="*/ 595655 w 1084386"/>
                      <a:gd name="connsiteY18" fmla="*/ 45720 h 1501140"/>
                      <a:gd name="connsiteX19" fmla="*/ 610895 w 1084386"/>
                      <a:gd name="connsiteY19" fmla="*/ 68580 h 1501140"/>
                      <a:gd name="connsiteX20" fmla="*/ 656615 w 1084386"/>
                      <a:gd name="connsiteY20" fmla="*/ 83820 h 1501140"/>
                      <a:gd name="connsiteX21" fmla="*/ 671855 w 1084386"/>
                      <a:gd name="connsiteY21" fmla="*/ 106680 h 1501140"/>
                      <a:gd name="connsiteX22" fmla="*/ 648995 w 1084386"/>
                      <a:gd name="connsiteY22" fmla="*/ 175260 h 1501140"/>
                      <a:gd name="connsiteX23" fmla="*/ 694715 w 1084386"/>
                      <a:gd name="connsiteY23" fmla="*/ 198120 h 1501140"/>
                      <a:gd name="connsiteX24" fmla="*/ 740435 w 1084386"/>
                      <a:gd name="connsiteY24" fmla="*/ 236220 h 1501140"/>
                      <a:gd name="connsiteX25" fmla="*/ 748055 w 1084386"/>
                      <a:gd name="connsiteY25" fmla="*/ 259080 h 1501140"/>
                      <a:gd name="connsiteX26" fmla="*/ 740435 w 1084386"/>
                      <a:gd name="connsiteY26" fmla="*/ 320040 h 1501140"/>
                      <a:gd name="connsiteX27" fmla="*/ 732815 w 1084386"/>
                      <a:gd name="connsiteY27" fmla="*/ 342900 h 1501140"/>
                      <a:gd name="connsiteX28" fmla="*/ 725195 w 1084386"/>
                      <a:gd name="connsiteY28" fmla="*/ 373380 h 1501140"/>
                      <a:gd name="connsiteX29" fmla="*/ 740435 w 1084386"/>
                      <a:gd name="connsiteY29" fmla="*/ 480060 h 1501140"/>
                      <a:gd name="connsiteX30" fmla="*/ 755675 w 1084386"/>
                      <a:gd name="connsiteY30" fmla="*/ 502920 h 1501140"/>
                      <a:gd name="connsiteX31" fmla="*/ 778535 w 1084386"/>
                      <a:gd name="connsiteY31" fmla="*/ 510540 h 1501140"/>
                      <a:gd name="connsiteX32" fmla="*/ 801395 w 1084386"/>
                      <a:gd name="connsiteY32" fmla="*/ 525780 h 1501140"/>
                      <a:gd name="connsiteX33" fmla="*/ 809015 w 1084386"/>
                      <a:gd name="connsiteY33" fmla="*/ 617220 h 1501140"/>
                      <a:gd name="connsiteX34" fmla="*/ 900455 w 1084386"/>
                      <a:gd name="connsiteY34" fmla="*/ 662940 h 1501140"/>
                      <a:gd name="connsiteX35" fmla="*/ 923315 w 1084386"/>
                      <a:gd name="connsiteY35" fmla="*/ 670560 h 1501140"/>
                      <a:gd name="connsiteX36" fmla="*/ 953795 w 1084386"/>
                      <a:gd name="connsiteY36" fmla="*/ 716280 h 1501140"/>
                      <a:gd name="connsiteX37" fmla="*/ 961415 w 1084386"/>
                      <a:gd name="connsiteY37" fmla="*/ 746760 h 1501140"/>
                      <a:gd name="connsiteX38" fmla="*/ 984275 w 1084386"/>
                      <a:gd name="connsiteY38" fmla="*/ 754380 h 1501140"/>
                      <a:gd name="connsiteX39" fmla="*/ 1007135 w 1084386"/>
                      <a:gd name="connsiteY39" fmla="*/ 769620 h 1501140"/>
                      <a:gd name="connsiteX40" fmla="*/ 1052855 w 1084386"/>
                      <a:gd name="connsiteY40" fmla="*/ 815340 h 1501140"/>
                      <a:gd name="connsiteX41" fmla="*/ 1075715 w 1084386"/>
                      <a:gd name="connsiteY41" fmla="*/ 838200 h 1501140"/>
                      <a:gd name="connsiteX42" fmla="*/ 1083335 w 1084386"/>
                      <a:gd name="connsiteY42" fmla="*/ 861060 h 1501140"/>
                      <a:gd name="connsiteX43" fmla="*/ 1052855 w 1084386"/>
                      <a:gd name="connsiteY43" fmla="*/ 876300 h 1501140"/>
                      <a:gd name="connsiteX44" fmla="*/ 1029995 w 1084386"/>
                      <a:gd name="connsiteY44" fmla="*/ 891540 h 1501140"/>
                      <a:gd name="connsiteX45" fmla="*/ 961415 w 1084386"/>
                      <a:gd name="connsiteY45" fmla="*/ 906780 h 1501140"/>
                      <a:gd name="connsiteX46" fmla="*/ 946175 w 1084386"/>
                      <a:gd name="connsiteY46" fmla="*/ 929640 h 1501140"/>
                      <a:gd name="connsiteX47" fmla="*/ 930935 w 1084386"/>
                      <a:gd name="connsiteY47" fmla="*/ 975360 h 1501140"/>
                      <a:gd name="connsiteX48" fmla="*/ 923315 w 1084386"/>
                      <a:gd name="connsiteY48" fmla="*/ 998220 h 1501140"/>
                      <a:gd name="connsiteX49" fmla="*/ 915695 w 1084386"/>
                      <a:gd name="connsiteY49" fmla="*/ 1021080 h 1501140"/>
                      <a:gd name="connsiteX50" fmla="*/ 908075 w 1084386"/>
                      <a:gd name="connsiteY50" fmla="*/ 1043940 h 1501140"/>
                      <a:gd name="connsiteX51" fmla="*/ 862355 w 1084386"/>
                      <a:gd name="connsiteY51" fmla="*/ 1066800 h 1501140"/>
                      <a:gd name="connsiteX52" fmla="*/ 824255 w 1084386"/>
                      <a:gd name="connsiteY52" fmla="*/ 1059180 h 1501140"/>
                      <a:gd name="connsiteX53" fmla="*/ 778535 w 1084386"/>
                      <a:gd name="connsiteY53" fmla="*/ 1051560 h 1501140"/>
                      <a:gd name="connsiteX54" fmla="*/ 755675 w 1084386"/>
                      <a:gd name="connsiteY54" fmla="*/ 1043940 h 1501140"/>
                      <a:gd name="connsiteX55" fmla="*/ 717575 w 1084386"/>
                      <a:gd name="connsiteY55" fmla="*/ 1074420 h 1501140"/>
                      <a:gd name="connsiteX56" fmla="*/ 702335 w 1084386"/>
                      <a:gd name="connsiteY56" fmla="*/ 1120140 h 1501140"/>
                      <a:gd name="connsiteX57" fmla="*/ 717575 w 1084386"/>
                      <a:gd name="connsiteY57" fmla="*/ 1226820 h 1501140"/>
                      <a:gd name="connsiteX58" fmla="*/ 740435 w 1084386"/>
                      <a:gd name="connsiteY58" fmla="*/ 1242060 h 1501140"/>
                      <a:gd name="connsiteX59" fmla="*/ 755675 w 1084386"/>
                      <a:gd name="connsiteY59" fmla="*/ 1272540 h 1501140"/>
                      <a:gd name="connsiteX60" fmla="*/ 709955 w 1084386"/>
                      <a:gd name="connsiteY60" fmla="*/ 1303020 h 1501140"/>
                      <a:gd name="connsiteX61" fmla="*/ 694715 w 1084386"/>
                      <a:gd name="connsiteY61" fmla="*/ 1386840 h 1501140"/>
                      <a:gd name="connsiteX62" fmla="*/ 648995 w 1084386"/>
                      <a:gd name="connsiteY62" fmla="*/ 1417320 h 1501140"/>
                      <a:gd name="connsiteX63" fmla="*/ 633755 w 1084386"/>
                      <a:gd name="connsiteY63" fmla="*/ 1394460 h 1501140"/>
                      <a:gd name="connsiteX64" fmla="*/ 626135 w 1084386"/>
                      <a:gd name="connsiteY64" fmla="*/ 1371600 h 1501140"/>
                      <a:gd name="connsiteX65" fmla="*/ 603275 w 1084386"/>
                      <a:gd name="connsiteY65" fmla="*/ 1363980 h 1501140"/>
                      <a:gd name="connsiteX66" fmla="*/ 527075 w 1084386"/>
                      <a:gd name="connsiteY66" fmla="*/ 1379220 h 1501140"/>
                      <a:gd name="connsiteX67" fmla="*/ 496595 w 1084386"/>
                      <a:gd name="connsiteY67" fmla="*/ 1386840 h 1501140"/>
                      <a:gd name="connsiteX68" fmla="*/ 473735 w 1084386"/>
                      <a:gd name="connsiteY68" fmla="*/ 1394460 h 1501140"/>
                      <a:gd name="connsiteX69" fmla="*/ 367055 w 1084386"/>
                      <a:gd name="connsiteY69" fmla="*/ 1402080 h 1501140"/>
                      <a:gd name="connsiteX70" fmla="*/ 351815 w 1084386"/>
                      <a:gd name="connsiteY70" fmla="*/ 1424940 h 1501140"/>
                      <a:gd name="connsiteX71" fmla="*/ 336575 w 1084386"/>
                      <a:gd name="connsiteY71" fmla="*/ 1501140 h 1501140"/>
                      <a:gd name="connsiteX72" fmla="*/ 298475 w 1084386"/>
                      <a:gd name="connsiteY72" fmla="*/ 1493520 h 1501140"/>
                      <a:gd name="connsiteX73" fmla="*/ 275615 w 1084386"/>
                      <a:gd name="connsiteY73" fmla="*/ 1447800 h 1501140"/>
                      <a:gd name="connsiteX74" fmla="*/ 252755 w 1084386"/>
                      <a:gd name="connsiteY74" fmla="*/ 1440180 h 1501140"/>
                      <a:gd name="connsiteX75" fmla="*/ 229895 w 1084386"/>
                      <a:gd name="connsiteY75" fmla="*/ 1447800 h 1501140"/>
                      <a:gd name="connsiteX76" fmla="*/ 184175 w 1084386"/>
                      <a:gd name="connsiteY76" fmla="*/ 1478280 h 1501140"/>
                      <a:gd name="connsiteX77" fmla="*/ 191795 w 1084386"/>
                      <a:gd name="connsiteY77" fmla="*/ 1440180 h 1501140"/>
                      <a:gd name="connsiteX78" fmla="*/ 199415 w 1084386"/>
                      <a:gd name="connsiteY78" fmla="*/ 1371600 h 1501140"/>
                      <a:gd name="connsiteX79" fmla="*/ 153695 w 1084386"/>
                      <a:gd name="connsiteY79" fmla="*/ 1341120 h 1501140"/>
                      <a:gd name="connsiteX80" fmla="*/ 130835 w 1084386"/>
                      <a:gd name="connsiteY80" fmla="*/ 1295400 h 1501140"/>
                      <a:gd name="connsiteX81" fmla="*/ 123215 w 1084386"/>
                      <a:gd name="connsiteY81" fmla="*/ 1272540 h 1501140"/>
                      <a:gd name="connsiteX82" fmla="*/ 245135 w 1084386"/>
                      <a:gd name="connsiteY82" fmla="*/ 1226820 h 1501140"/>
                      <a:gd name="connsiteX83" fmla="*/ 260375 w 1084386"/>
                      <a:gd name="connsiteY83" fmla="*/ 1196340 h 1501140"/>
                      <a:gd name="connsiteX84" fmla="*/ 275615 w 1084386"/>
                      <a:gd name="connsiteY84" fmla="*/ 1150620 h 1501140"/>
                      <a:gd name="connsiteX85" fmla="*/ 267995 w 1084386"/>
                      <a:gd name="connsiteY85" fmla="*/ 1082040 h 1501140"/>
                      <a:gd name="connsiteX86" fmla="*/ 161315 w 1084386"/>
                      <a:gd name="connsiteY86" fmla="*/ 1074420 h 1501140"/>
                      <a:gd name="connsiteX87" fmla="*/ 115595 w 1084386"/>
                      <a:gd name="connsiteY87" fmla="*/ 1059180 h 1501140"/>
                      <a:gd name="connsiteX88" fmla="*/ 62255 w 1084386"/>
                      <a:gd name="connsiteY88" fmla="*/ 1043940 h 1501140"/>
                      <a:gd name="connsiteX89" fmla="*/ 39395 w 1084386"/>
                      <a:gd name="connsiteY89" fmla="*/ 1036320 h 1501140"/>
                      <a:gd name="connsiteX90" fmla="*/ 24155 w 1084386"/>
                      <a:gd name="connsiteY90" fmla="*/ 1013460 h 1501140"/>
                      <a:gd name="connsiteX91" fmla="*/ 8915 w 1084386"/>
                      <a:gd name="connsiteY91" fmla="*/ 960120 h 1501140"/>
                      <a:gd name="connsiteX92" fmla="*/ 1295 w 1084386"/>
                      <a:gd name="connsiteY92" fmla="*/ 937260 h 1501140"/>
                      <a:gd name="connsiteX93" fmla="*/ 8915 w 1084386"/>
                      <a:gd name="connsiteY93" fmla="*/ 708660 h 1501140"/>
                      <a:gd name="connsiteX94" fmla="*/ 47015 w 1084386"/>
                      <a:gd name="connsiteY94" fmla="*/ 723900 h 1501140"/>
                      <a:gd name="connsiteX95" fmla="*/ 92735 w 1084386"/>
                      <a:gd name="connsiteY95" fmla="*/ 746760 h 1501140"/>
                      <a:gd name="connsiteX96" fmla="*/ 123215 w 1084386"/>
                      <a:gd name="connsiteY96" fmla="*/ 739140 h 1501140"/>
                      <a:gd name="connsiteX97" fmla="*/ 161315 w 1084386"/>
                      <a:gd name="connsiteY97" fmla="*/ 670560 h 1501140"/>
                      <a:gd name="connsiteX98" fmla="*/ 146075 w 1084386"/>
                      <a:gd name="connsiteY98" fmla="*/ 601980 h 1501140"/>
                      <a:gd name="connsiteX99" fmla="*/ 123215 w 1084386"/>
                      <a:gd name="connsiteY99" fmla="*/ 586740 h 1501140"/>
                      <a:gd name="connsiteX100" fmla="*/ 69875 w 1084386"/>
                      <a:gd name="connsiteY100" fmla="*/ 533400 h 1501140"/>
                      <a:gd name="connsiteX101" fmla="*/ 77495 w 1084386"/>
                      <a:gd name="connsiteY101" fmla="*/ 472440 h 1501140"/>
                      <a:gd name="connsiteX102" fmla="*/ 107975 w 1084386"/>
                      <a:gd name="connsiteY102" fmla="*/ 426720 h 1501140"/>
                      <a:gd name="connsiteX103" fmla="*/ 115595 w 1084386"/>
                      <a:gd name="connsiteY103" fmla="*/ 403860 h 1501140"/>
                      <a:gd name="connsiteX104" fmla="*/ 107975 w 1084386"/>
                      <a:gd name="connsiteY104" fmla="*/ 373380 h 1501140"/>
                      <a:gd name="connsiteX105" fmla="*/ 85115 w 1084386"/>
                      <a:gd name="connsiteY105" fmla="*/ 358140 h 1501140"/>
                      <a:gd name="connsiteX106" fmla="*/ 62255 w 1084386"/>
                      <a:gd name="connsiteY106" fmla="*/ 335280 h 1501140"/>
                      <a:gd name="connsiteX107" fmla="*/ 54635 w 1084386"/>
                      <a:gd name="connsiteY107" fmla="*/ 297180 h 1501140"/>
                      <a:gd name="connsiteX108" fmla="*/ 31775 w 1084386"/>
                      <a:gd name="connsiteY108" fmla="*/ 251460 h 150114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</a:cxnLst>
                    <a:rect l="l" t="t" r="r" b="b"/>
                    <a:pathLst>
                      <a:path w="1084386" h="1501140">
                        <a:moveTo>
                          <a:pt x="31775" y="251460"/>
                        </a:moveTo>
                        <a:lnTo>
                          <a:pt x="31775" y="251460"/>
                        </a:lnTo>
                        <a:cubicBezTo>
                          <a:pt x="54635" y="254000"/>
                          <a:pt x="78041" y="253502"/>
                          <a:pt x="100355" y="259080"/>
                        </a:cubicBezTo>
                        <a:cubicBezTo>
                          <a:pt x="109240" y="261301"/>
                          <a:pt x="115264" y="269776"/>
                          <a:pt x="123215" y="274320"/>
                        </a:cubicBezTo>
                        <a:cubicBezTo>
                          <a:pt x="149580" y="289386"/>
                          <a:pt x="150908" y="288631"/>
                          <a:pt x="176555" y="297180"/>
                        </a:cubicBezTo>
                        <a:cubicBezTo>
                          <a:pt x="199415" y="294640"/>
                          <a:pt x="223779" y="298102"/>
                          <a:pt x="245135" y="289560"/>
                        </a:cubicBezTo>
                        <a:cubicBezTo>
                          <a:pt x="252593" y="286577"/>
                          <a:pt x="247075" y="272380"/>
                          <a:pt x="252755" y="266700"/>
                        </a:cubicBezTo>
                        <a:cubicBezTo>
                          <a:pt x="265707" y="253748"/>
                          <a:pt x="285523" y="249172"/>
                          <a:pt x="298475" y="236220"/>
                        </a:cubicBezTo>
                        <a:cubicBezTo>
                          <a:pt x="327811" y="206884"/>
                          <a:pt x="312369" y="219338"/>
                          <a:pt x="344195" y="198120"/>
                        </a:cubicBezTo>
                        <a:cubicBezTo>
                          <a:pt x="346735" y="175260"/>
                          <a:pt x="343273" y="150896"/>
                          <a:pt x="351815" y="129540"/>
                        </a:cubicBezTo>
                        <a:cubicBezTo>
                          <a:pt x="354798" y="122082"/>
                          <a:pt x="367491" y="125512"/>
                          <a:pt x="374675" y="121920"/>
                        </a:cubicBezTo>
                        <a:cubicBezTo>
                          <a:pt x="395893" y="111311"/>
                          <a:pt x="403543" y="100672"/>
                          <a:pt x="420395" y="83820"/>
                        </a:cubicBezTo>
                        <a:cubicBezTo>
                          <a:pt x="422935" y="76200"/>
                          <a:pt x="428015" y="68992"/>
                          <a:pt x="428015" y="60960"/>
                        </a:cubicBezTo>
                        <a:cubicBezTo>
                          <a:pt x="428015" y="45510"/>
                          <a:pt x="414970" y="29706"/>
                          <a:pt x="420395" y="15240"/>
                        </a:cubicBezTo>
                        <a:cubicBezTo>
                          <a:pt x="424383" y="4604"/>
                          <a:pt x="440715" y="5080"/>
                          <a:pt x="450875" y="0"/>
                        </a:cubicBezTo>
                        <a:lnTo>
                          <a:pt x="496595" y="15240"/>
                        </a:lnTo>
                        <a:cubicBezTo>
                          <a:pt x="504215" y="17780"/>
                          <a:pt x="511504" y="21724"/>
                          <a:pt x="519455" y="22860"/>
                        </a:cubicBezTo>
                        <a:lnTo>
                          <a:pt x="572795" y="30480"/>
                        </a:lnTo>
                        <a:cubicBezTo>
                          <a:pt x="580415" y="35560"/>
                          <a:pt x="589179" y="39244"/>
                          <a:pt x="595655" y="45720"/>
                        </a:cubicBezTo>
                        <a:cubicBezTo>
                          <a:pt x="602131" y="52196"/>
                          <a:pt x="603129" y="63726"/>
                          <a:pt x="610895" y="68580"/>
                        </a:cubicBezTo>
                        <a:cubicBezTo>
                          <a:pt x="624518" y="77094"/>
                          <a:pt x="656615" y="83820"/>
                          <a:pt x="656615" y="83820"/>
                        </a:cubicBezTo>
                        <a:cubicBezTo>
                          <a:pt x="661695" y="91440"/>
                          <a:pt x="670844" y="97578"/>
                          <a:pt x="671855" y="106680"/>
                        </a:cubicBezTo>
                        <a:cubicBezTo>
                          <a:pt x="675766" y="141879"/>
                          <a:pt x="665078" y="151136"/>
                          <a:pt x="648995" y="175260"/>
                        </a:cubicBezTo>
                        <a:cubicBezTo>
                          <a:pt x="714509" y="218936"/>
                          <a:pt x="631619" y="166572"/>
                          <a:pt x="694715" y="198120"/>
                        </a:cubicBezTo>
                        <a:cubicBezTo>
                          <a:pt x="715933" y="208729"/>
                          <a:pt x="723583" y="219368"/>
                          <a:pt x="740435" y="236220"/>
                        </a:cubicBezTo>
                        <a:cubicBezTo>
                          <a:pt x="742975" y="243840"/>
                          <a:pt x="748055" y="251048"/>
                          <a:pt x="748055" y="259080"/>
                        </a:cubicBezTo>
                        <a:cubicBezTo>
                          <a:pt x="748055" y="279558"/>
                          <a:pt x="744098" y="299892"/>
                          <a:pt x="740435" y="320040"/>
                        </a:cubicBezTo>
                        <a:cubicBezTo>
                          <a:pt x="738998" y="327943"/>
                          <a:pt x="735022" y="335177"/>
                          <a:pt x="732815" y="342900"/>
                        </a:cubicBezTo>
                        <a:cubicBezTo>
                          <a:pt x="729938" y="352970"/>
                          <a:pt x="727735" y="363220"/>
                          <a:pt x="725195" y="373380"/>
                        </a:cubicBezTo>
                        <a:cubicBezTo>
                          <a:pt x="727142" y="394795"/>
                          <a:pt x="725776" y="450741"/>
                          <a:pt x="740435" y="480060"/>
                        </a:cubicBezTo>
                        <a:cubicBezTo>
                          <a:pt x="744531" y="488251"/>
                          <a:pt x="748524" y="497199"/>
                          <a:pt x="755675" y="502920"/>
                        </a:cubicBezTo>
                        <a:cubicBezTo>
                          <a:pt x="761947" y="507938"/>
                          <a:pt x="771351" y="506948"/>
                          <a:pt x="778535" y="510540"/>
                        </a:cubicBezTo>
                        <a:cubicBezTo>
                          <a:pt x="786726" y="514636"/>
                          <a:pt x="793775" y="520700"/>
                          <a:pt x="801395" y="525780"/>
                        </a:cubicBezTo>
                        <a:cubicBezTo>
                          <a:pt x="803935" y="556260"/>
                          <a:pt x="796756" y="589199"/>
                          <a:pt x="809015" y="617220"/>
                        </a:cubicBezTo>
                        <a:cubicBezTo>
                          <a:pt x="819103" y="640278"/>
                          <a:pt x="880333" y="656233"/>
                          <a:pt x="900455" y="662940"/>
                        </a:cubicBezTo>
                        <a:lnTo>
                          <a:pt x="923315" y="670560"/>
                        </a:lnTo>
                        <a:cubicBezTo>
                          <a:pt x="933475" y="685800"/>
                          <a:pt x="949353" y="698511"/>
                          <a:pt x="953795" y="716280"/>
                        </a:cubicBezTo>
                        <a:cubicBezTo>
                          <a:pt x="956335" y="726440"/>
                          <a:pt x="954873" y="738582"/>
                          <a:pt x="961415" y="746760"/>
                        </a:cubicBezTo>
                        <a:cubicBezTo>
                          <a:pt x="966433" y="753032"/>
                          <a:pt x="977091" y="750788"/>
                          <a:pt x="984275" y="754380"/>
                        </a:cubicBezTo>
                        <a:cubicBezTo>
                          <a:pt x="992466" y="758476"/>
                          <a:pt x="1000290" y="763536"/>
                          <a:pt x="1007135" y="769620"/>
                        </a:cubicBezTo>
                        <a:cubicBezTo>
                          <a:pt x="1023244" y="783939"/>
                          <a:pt x="1037615" y="800100"/>
                          <a:pt x="1052855" y="815340"/>
                        </a:cubicBezTo>
                        <a:lnTo>
                          <a:pt x="1075715" y="838200"/>
                        </a:lnTo>
                        <a:cubicBezTo>
                          <a:pt x="1078255" y="845820"/>
                          <a:pt x="1087468" y="854172"/>
                          <a:pt x="1083335" y="861060"/>
                        </a:cubicBezTo>
                        <a:cubicBezTo>
                          <a:pt x="1077491" y="870800"/>
                          <a:pt x="1062718" y="870664"/>
                          <a:pt x="1052855" y="876300"/>
                        </a:cubicBezTo>
                        <a:cubicBezTo>
                          <a:pt x="1044904" y="880844"/>
                          <a:pt x="1038186" y="887444"/>
                          <a:pt x="1029995" y="891540"/>
                        </a:cubicBezTo>
                        <a:cubicBezTo>
                          <a:pt x="1011236" y="900919"/>
                          <a:pt x="978975" y="903853"/>
                          <a:pt x="961415" y="906780"/>
                        </a:cubicBezTo>
                        <a:cubicBezTo>
                          <a:pt x="956335" y="914400"/>
                          <a:pt x="949894" y="921271"/>
                          <a:pt x="946175" y="929640"/>
                        </a:cubicBezTo>
                        <a:cubicBezTo>
                          <a:pt x="939651" y="944320"/>
                          <a:pt x="936015" y="960120"/>
                          <a:pt x="930935" y="975360"/>
                        </a:cubicBezTo>
                        <a:lnTo>
                          <a:pt x="923315" y="998220"/>
                        </a:lnTo>
                        <a:lnTo>
                          <a:pt x="915695" y="1021080"/>
                        </a:lnTo>
                        <a:cubicBezTo>
                          <a:pt x="913155" y="1028700"/>
                          <a:pt x="914758" y="1039485"/>
                          <a:pt x="908075" y="1043940"/>
                        </a:cubicBezTo>
                        <a:cubicBezTo>
                          <a:pt x="878532" y="1063635"/>
                          <a:pt x="893903" y="1056284"/>
                          <a:pt x="862355" y="1066800"/>
                        </a:cubicBezTo>
                        <a:lnTo>
                          <a:pt x="824255" y="1059180"/>
                        </a:lnTo>
                        <a:cubicBezTo>
                          <a:pt x="809054" y="1056416"/>
                          <a:pt x="793617" y="1054912"/>
                          <a:pt x="778535" y="1051560"/>
                        </a:cubicBezTo>
                        <a:cubicBezTo>
                          <a:pt x="770694" y="1049818"/>
                          <a:pt x="763295" y="1046480"/>
                          <a:pt x="755675" y="1043940"/>
                        </a:cubicBezTo>
                        <a:cubicBezTo>
                          <a:pt x="730886" y="1052203"/>
                          <a:pt x="729564" y="1047446"/>
                          <a:pt x="717575" y="1074420"/>
                        </a:cubicBezTo>
                        <a:cubicBezTo>
                          <a:pt x="711051" y="1089100"/>
                          <a:pt x="702335" y="1120140"/>
                          <a:pt x="702335" y="1120140"/>
                        </a:cubicBezTo>
                        <a:cubicBezTo>
                          <a:pt x="691336" y="1263126"/>
                          <a:pt x="663967" y="1200016"/>
                          <a:pt x="717575" y="1226820"/>
                        </a:cubicBezTo>
                        <a:cubicBezTo>
                          <a:pt x="725766" y="1230916"/>
                          <a:pt x="732815" y="1236980"/>
                          <a:pt x="740435" y="1242060"/>
                        </a:cubicBezTo>
                        <a:cubicBezTo>
                          <a:pt x="745515" y="1252220"/>
                          <a:pt x="760755" y="1262380"/>
                          <a:pt x="755675" y="1272540"/>
                        </a:cubicBezTo>
                        <a:cubicBezTo>
                          <a:pt x="747484" y="1288923"/>
                          <a:pt x="709955" y="1303020"/>
                          <a:pt x="709955" y="1303020"/>
                        </a:cubicBezTo>
                        <a:cubicBezTo>
                          <a:pt x="704875" y="1330960"/>
                          <a:pt x="708079" y="1361783"/>
                          <a:pt x="694715" y="1386840"/>
                        </a:cubicBezTo>
                        <a:cubicBezTo>
                          <a:pt x="686096" y="1403001"/>
                          <a:pt x="648995" y="1417320"/>
                          <a:pt x="648995" y="1417320"/>
                        </a:cubicBezTo>
                        <a:cubicBezTo>
                          <a:pt x="643915" y="1409700"/>
                          <a:pt x="637851" y="1402651"/>
                          <a:pt x="633755" y="1394460"/>
                        </a:cubicBezTo>
                        <a:cubicBezTo>
                          <a:pt x="630163" y="1387276"/>
                          <a:pt x="631815" y="1377280"/>
                          <a:pt x="626135" y="1371600"/>
                        </a:cubicBezTo>
                        <a:cubicBezTo>
                          <a:pt x="620455" y="1365920"/>
                          <a:pt x="610895" y="1366520"/>
                          <a:pt x="603275" y="1363980"/>
                        </a:cubicBezTo>
                        <a:cubicBezTo>
                          <a:pt x="577875" y="1369060"/>
                          <a:pt x="552205" y="1372938"/>
                          <a:pt x="527075" y="1379220"/>
                        </a:cubicBezTo>
                        <a:cubicBezTo>
                          <a:pt x="516915" y="1381760"/>
                          <a:pt x="506665" y="1383963"/>
                          <a:pt x="496595" y="1386840"/>
                        </a:cubicBezTo>
                        <a:cubicBezTo>
                          <a:pt x="488872" y="1389047"/>
                          <a:pt x="481712" y="1393522"/>
                          <a:pt x="473735" y="1394460"/>
                        </a:cubicBezTo>
                        <a:cubicBezTo>
                          <a:pt x="438329" y="1398625"/>
                          <a:pt x="402615" y="1399540"/>
                          <a:pt x="367055" y="1402080"/>
                        </a:cubicBezTo>
                        <a:cubicBezTo>
                          <a:pt x="361975" y="1409700"/>
                          <a:pt x="355911" y="1416749"/>
                          <a:pt x="351815" y="1424940"/>
                        </a:cubicBezTo>
                        <a:cubicBezTo>
                          <a:pt x="341175" y="1446219"/>
                          <a:pt x="339383" y="1481483"/>
                          <a:pt x="336575" y="1501140"/>
                        </a:cubicBezTo>
                        <a:cubicBezTo>
                          <a:pt x="323875" y="1498600"/>
                          <a:pt x="309720" y="1499946"/>
                          <a:pt x="298475" y="1493520"/>
                        </a:cubicBezTo>
                        <a:cubicBezTo>
                          <a:pt x="265499" y="1474677"/>
                          <a:pt x="297779" y="1469964"/>
                          <a:pt x="275615" y="1447800"/>
                        </a:cubicBezTo>
                        <a:cubicBezTo>
                          <a:pt x="269935" y="1442120"/>
                          <a:pt x="260375" y="1442720"/>
                          <a:pt x="252755" y="1440180"/>
                        </a:cubicBezTo>
                        <a:cubicBezTo>
                          <a:pt x="245135" y="1442720"/>
                          <a:pt x="236916" y="1443899"/>
                          <a:pt x="229895" y="1447800"/>
                        </a:cubicBezTo>
                        <a:cubicBezTo>
                          <a:pt x="213884" y="1456695"/>
                          <a:pt x="184175" y="1478280"/>
                          <a:pt x="184175" y="1478280"/>
                        </a:cubicBezTo>
                        <a:cubicBezTo>
                          <a:pt x="186715" y="1465580"/>
                          <a:pt x="187247" y="1452307"/>
                          <a:pt x="191795" y="1440180"/>
                        </a:cubicBezTo>
                        <a:cubicBezTo>
                          <a:pt x="202784" y="1410876"/>
                          <a:pt x="230171" y="1415537"/>
                          <a:pt x="199415" y="1371600"/>
                        </a:cubicBezTo>
                        <a:cubicBezTo>
                          <a:pt x="188911" y="1356595"/>
                          <a:pt x="153695" y="1341120"/>
                          <a:pt x="153695" y="1341120"/>
                        </a:cubicBezTo>
                        <a:cubicBezTo>
                          <a:pt x="134542" y="1283661"/>
                          <a:pt x="160378" y="1354486"/>
                          <a:pt x="130835" y="1295400"/>
                        </a:cubicBezTo>
                        <a:cubicBezTo>
                          <a:pt x="127243" y="1288216"/>
                          <a:pt x="125755" y="1280160"/>
                          <a:pt x="123215" y="1272540"/>
                        </a:cubicBezTo>
                        <a:cubicBezTo>
                          <a:pt x="156783" y="1188620"/>
                          <a:pt x="111551" y="1268565"/>
                          <a:pt x="245135" y="1226820"/>
                        </a:cubicBezTo>
                        <a:cubicBezTo>
                          <a:pt x="255977" y="1223432"/>
                          <a:pt x="256156" y="1206887"/>
                          <a:pt x="260375" y="1196340"/>
                        </a:cubicBezTo>
                        <a:cubicBezTo>
                          <a:pt x="266341" y="1181425"/>
                          <a:pt x="275615" y="1150620"/>
                          <a:pt x="275615" y="1150620"/>
                        </a:cubicBezTo>
                        <a:cubicBezTo>
                          <a:pt x="273075" y="1127760"/>
                          <a:pt x="287133" y="1094798"/>
                          <a:pt x="267995" y="1082040"/>
                        </a:cubicBezTo>
                        <a:cubicBezTo>
                          <a:pt x="238332" y="1062265"/>
                          <a:pt x="196571" y="1079708"/>
                          <a:pt x="161315" y="1074420"/>
                        </a:cubicBezTo>
                        <a:cubicBezTo>
                          <a:pt x="145428" y="1072037"/>
                          <a:pt x="130835" y="1064260"/>
                          <a:pt x="115595" y="1059180"/>
                        </a:cubicBezTo>
                        <a:cubicBezTo>
                          <a:pt x="60785" y="1040910"/>
                          <a:pt x="129232" y="1063076"/>
                          <a:pt x="62255" y="1043940"/>
                        </a:cubicBezTo>
                        <a:cubicBezTo>
                          <a:pt x="54532" y="1041733"/>
                          <a:pt x="47015" y="1038860"/>
                          <a:pt x="39395" y="1036320"/>
                        </a:cubicBezTo>
                        <a:cubicBezTo>
                          <a:pt x="34315" y="1028700"/>
                          <a:pt x="28251" y="1021651"/>
                          <a:pt x="24155" y="1013460"/>
                        </a:cubicBezTo>
                        <a:cubicBezTo>
                          <a:pt x="18065" y="1001280"/>
                          <a:pt x="12170" y="971513"/>
                          <a:pt x="8915" y="960120"/>
                        </a:cubicBezTo>
                        <a:cubicBezTo>
                          <a:pt x="6708" y="952397"/>
                          <a:pt x="3835" y="944880"/>
                          <a:pt x="1295" y="937260"/>
                        </a:cubicBezTo>
                        <a:cubicBezTo>
                          <a:pt x="3835" y="861060"/>
                          <a:pt x="-7060" y="783210"/>
                          <a:pt x="8915" y="708660"/>
                        </a:cubicBezTo>
                        <a:cubicBezTo>
                          <a:pt x="11781" y="695285"/>
                          <a:pt x="34781" y="717783"/>
                          <a:pt x="47015" y="723900"/>
                        </a:cubicBezTo>
                        <a:cubicBezTo>
                          <a:pt x="106101" y="753443"/>
                          <a:pt x="35276" y="727607"/>
                          <a:pt x="92735" y="746760"/>
                        </a:cubicBezTo>
                        <a:cubicBezTo>
                          <a:pt x="102895" y="744220"/>
                          <a:pt x="115333" y="746036"/>
                          <a:pt x="123215" y="739140"/>
                        </a:cubicBezTo>
                        <a:cubicBezTo>
                          <a:pt x="147875" y="717562"/>
                          <a:pt x="152409" y="697278"/>
                          <a:pt x="161315" y="670560"/>
                        </a:cubicBezTo>
                        <a:cubicBezTo>
                          <a:pt x="161237" y="670092"/>
                          <a:pt x="153973" y="611853"/>
                          <a:pt x="146075" y="601980"/>
                        </a:cubicBezTo>
                        <a:cubicBezTo>
                          <a:pt x="140354" y="594829"/>
                          <a:pt x="130541" y="592235"/>
                          <a:pt x="123215" y="586740"/>
                        </a:cubicBezTo>
                        <a:cubicBezTo>
                          <a:pt x="80980" y="555064"/>
                          <a:pt x="92438" y="567244"/>
                          <a:pt x="69875" y="533400"/>
                        </a:cubicBezTo>
                        <a:cubicBezTo>
                          <a:pt x="72415" y="513080"/>
                          <a:pt x="70607" y="491725"/>
                          <a:pt x="77495" y="472440"/>
                        </a:cubicBezTo>
                        <a:cubicBezTo>
                          <a:pt x="83655" y="455191"/>
                          <a:pt x="102183" y="444096"/>
                          <a:pt x="107975" y="426720"/>
                        </a:cubicBezTo>
                        <a:lnTo>
                          <a:pt x="115595" y="403860"/>
                        </a:lnTo>
                        <a:cubicBezTo>
                          <a:pt x="113055" y="393700"/>
                          <a:pt x="113784" y="382094"/>
                          <a:pt x="107975" y="373380"/>
                        </a:cubicBezTo>
                        <a:cubicBezTo>
                          <a:pt x="102895" y="365760"/>
                          <a:pt x="92150" y="364003"/>
                          <a:pt x="85115" y="358140"/>
                        </a:cubicBezTo>
                        <a:cubicBezTo>
                          <a:pt x="76836" y="351241"/>
                          <a:pt x="69875" y="342900"/>
                          <a:pt x="62255" y="335280"/>
                        </a:cubicBezTo>
                        <a:cubicBezTo>
                          <a:pt x="59715" y="322580"/>
                          <a:pt x="54635" y="310132"/>
                          <a:pt x="54635" y="297180"/>
                        </a:cubicBezTo>
                        <a:cubicBezTo>
                          <a:pt x="54635" y="281730"/>
                          <a:pt x="35585" y="259080"/>
                          <a:pt x="31775" y="251460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95000"/>
                    </a:schemeClr>
                  </a:solidFill>
                  <a:ln w="6350">
                    <a:solidFill>
                      <a:schemeClr val="bg1"/>
                    </a:solidFill>
                    <a:round/>
                  </a:ln>
                </p:spPr>
                <p:txBody>
                  <a:bodyPr vert="horz" wrap="square" lIns="84021" tIns="42011" rIns="84021" bIns="42011" anchor="t">
                    <a:prstTxWarp prst="textNoShape">
                      <a:avLst/>
                    </a:prstTxWarp>
                  </a:bodyPr>
                  <a:lstStyle/>
                  <a:p>
                    <a:endParaRPr lang="ru-RU" sz="3308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4" name="Freeform: Shape 339">
                    <a:extLst>
                      <a:ext uri="{FF2B5EF4-FFF2-40B4-BE49-F238E27FC236}">
                        <a16:creationId xmlns:a16="http://schemas.microsoft.com/office/drawing/2014/main" id="{C6726FD5-F1BE-4B6F-8986-60FCF19168FB}"/>
                      </a:ext>
                    </a:extLst>
                  </p:cNvPr>
                  <p:cNvSpPr/>
                  <p:nvPr/>
                </p:nvSpPr>
                <p:spPr>
                  <a:xfrm rot="2962813">
                    <a:off x="3420032" y="5698639"/>
                    <a:ext cx="329441" cy="431919"/>
                  </a:xfrm>
                  <a:custGeom>
                    <a:avLst/>
                    <a:gdLst>
                      <a:gd name="connsiteX0" fmla="*/ 91440 w 990600"/>
                      <a:gd name="connsiteY0" fmla="*/ 111896 h 1513976"/>
                      <a:gd name="connsiteX1" fmla="*/ 91440 w 990600"/>
                      <a:gd name="connsiteY1" fmla="*/ 111896 h 1513976"/>
                      <a:gd name="connsiteX2" fmla="*/ 160020 w 990600"/>
                      <a:gd name="connsiteY2" fmla="*/ 119516 h 1513976"/>
                      <a:gd name="connsiteX3" fmla="*/ 182880 w 990600"/>
                      <a:gd name="connsiteY3" fmla="*/ 111896 h 1513976"/>
                      <a:gd name="connsiteX4" fmla="*/ 175260 w 990600"/>
                      <a:gd name="connsiteY4" fmla="*/ 89036 h 1513976"/>
                      <a:gd name="connsiteX5" fmla="*/ 160020 w 990600"/>
                      <a:gd name="connsiteY5" fmla="*/ 66176 h 1513976"/>
                      <a:gd name="connsiteX6" fmla="*/ 137160 w 990600"/>
                      <a:gd name="connsiteY6" fmla="*/ 12836 h 1513976"/>
                      <a:gd name="connsiteX7" fmla="*/ 243840 w 990600"/>
                      <a:gd name="connsiteY7" fmla="*/ 12836 h 1513976"/>
                      <a:gd name="connsiteX8" fmla="*/ 259080 w 990600"/>
                      <a:gd name="connsiteY8" fmla="*/ 43316 h 1513976"/>
                      <a:gd name="connsiteX9" fmla="*/ 266700 w 990600"/>
                      <a:gd name="connsiteY9" fmla="*/ 96656 h 1513976"/>
                      <a:gd name="connsiteX10" fmla="*/ 358140 w 990600"/>
                      <a:gd name="connsiteY10" fmla="*/ 104276 h 1513976"/>
                      <a:gd name="connsiteX11" fmla="*/ 381000 w 990600"/>
                      <a:gd name="connsiteY11" fmla="*/ 119516 h 1513976"/>
                      <a:gd name="connsiteX12" fmla="*/ 388620 w 990600"/>
                      <a:gd name="connsiteY12" fmla="*/ 142376 h 1513976"/>
                      <a:gd name="connsiteX13" fmla="*/ 434340 w 990600"/>
                      <a:gd name="connsiteY13" fmla="*/ 172856 h 1513976"/>
                      <a:gd name="connsiteX14" fmla="*/ 457200 w 990600"/>
                      <a:gd name="connsiteY14" fmla="*/ 188096 h 1513976"/>
                      <a:gd name="connsiteX15" fmla="*/ 502920 w 990600"/>
                      <a:gd name="connsiteY15" fmla="*/ 210956 h 1513976"/>
                      <a:gd name="connsiteX16" fmla="*/ 541020 w 990600"/>
                      <a:gd name="connsiteY16" fmla="*/ 195716 h 1513976"/>
                      <a:gd name="connsiteX17" fmla="*/ 571500 w 990600"/>
                      <a:gd name="connsiteY17" fmla="*/ 172856 h 1513976"/>
                      <a:gd name="connsiteX18" fmla="*/ 601980 w 990600"/>
                      <a:gd name="connsiteY18" fmla="*/ 226196 h 1513976"/>
                      <a:gd name="connsiteX19" fmla="*/ 647700 w 990600"/>
                      <a:gd name="connsiteY19" fmla="*/ 264296 h 1513976"/>
                      <a:gd name="connsiteX20" fmla="*/ 701040 w 990600"/>
                      <a:gd name="connsiteY20" fmla="*/ 256676 h 1513976"/>
                      <a:gd name="connsiteX21" fmla="*/ 746760 w 990600"/>
                      <a:gd name="connsiteY21" fmla="*/ 249056 h 1513976"/>
                      <a:gd name="connsiteX22" fmla="*/ 777240 w 990600"/>
                      <a:gd name="connsiteY22" fmla="*/ 294776 h 1513976"/>
                      <a:gd name="connsiteX23" fmla="*/ 838200 w 990600"/>
                      <a:gd name="connsiteY23" fmla="*/ 363356 h 1513976"/>
                      <a:gd name="connsiteX24" fmla="*/ 868680 w 990600"/>
                      <a:gd name="connsiteY24" fmla="*/ 378596 h 1513976"/>
                      <a:gd name="connsiteX25" fmla="*/ 906780 w 990600"/>
                      <a:gd name="connsiteY25" fmla="*/ 370976 h 1513976"/>
                      <a:gd name="connsiteX26" fmla="*/ 914400 w 990600"/>
                      <a:gd name="connsiteY26" fmla="*/ 348116 h 1513976"/>
                      <a:gd name="connsiteX27" fmla="*/ 929640 w 990600"/>
                      <a:gd name="connsiteY27" fmla="*/ 325256 h 1513976"/>
                      <a:gd name="connsiteX28" fmla="*/ 960120 w 990600"/>
                      <a:gd name="connsiteY28" fmla="*/ 332876 h 1513976"/>
                      <a:gd name="connsiteX29" fmla="*/ 990600 w 990600"/>
                      <a:gd name="connsiteY29" fmla="*/ 378596 h 1513976"/>
                      <a:gd name="connsiteX30" fmla="*/ 960120 w 990600"/>
                      <a:gd name="connsiteY30" fmla="*/ 416696 h 1513976"/>
                      <a:gd name="connsiteX31" fmla="*/ 937260 w 990600"/>
                      <a:gd name="connsiteY31" fmla="*/ 462416 h 1513976"/>
                      <a:gd name="connsiteX32" fmla="*/ 944880 w 990600"/>
                      <a:gd name="connsiteY32" fmla="*/ 485276 h 1513976"/>
                      <a:gd name="connsiteX33" fmla="*/ 990600 w 990600"/>
                      <a:gd name="connsiteY33" fmla="*/ 500516 h 1513976"/>
                      <a:gd name="connsiteX34" fmla="*/ 967740 w 990600"/>
                      <a:gd name="connsiteY34" fmla="*/ 599576 h 1513976"/>
                      <a:gd name="connsiteX35" fmla="*/ 937260 w 990600"/>
                      <a:gd name="connsiteY35" fmla="*/ 607196 h 1513976"/>
                      <a:gd name="connsiteX36" fmla="*/ 914400 w 990600"/>
                      <a:gd name="connsiteY36" fmla="*/ 622436 h 1513976"/>
                      <a:gd name="connsiteX37" fmla="*/ 891540 w 990600"/>
                      <a:gd name="connsiteY37" fmla="*/ 630056 h 1513976"/>
                      <a:gd name="connsiteX38" fmla="*/ 883920 w 990600"/>
                      <a:gd name="connsiteY38" fmla="*/ 652916 h 1513976"/>
                      <a:gd name="connsiteX39" fmla="*/ 876300 w 990600"/>
                      <a:gd name="connsiteY39" fmla="*/ 691016 h 1513976"/>
                      <a:gd name="connsiteX40" fmla="*/ 822960 w 990600"/>
                      <a:gd name="connsiteY40" fmla="*/ 729116 h 1513976"/>
                      <a:gd name="connsiteX41" fmla="*/ 830580 w 990600"/>
                      <a:gd name="connsiteY41" fmla="*/ 797696 h 1513976"/>
                      <a:gd name="connsiteX42" fmla="*/ 853440 w 990600"/>
                      <a:gd name="connsiteY42" fmla="*/ 805316 h 1513976"/>
                      <a:gd name="connsiteX43" fmla="*/ 876300 w 990600"/>
                      <a:gd name="connsiteY43" fmla="*/ 820556 h 1513976"/>
                      <a:gd name="connsiteX44" fmla="*/ 952500 w 990600"/>
                      <a:gd name="connsiteY44" fmla="*/ 835796 h 1513976"/>
                      <a:gd name="connsiteX45" fmla="*/ 944880 w 990600"/>
                      <a:gd name="connsiteY45" fmla="*/ 866276 h 1513976"/>
                      <a:gd name="connsiteX46" fmla="*/ 922020 w 990600"/>
                      <a:gd name="connsiteY46" fmla="*/ 881516 h 1513976"/>
                      <a:gd name="connsiteX47" fmla="*/ 830580 w 990600"/>
                      <a:gd name="connsiteY47" fmla="*/ 904376 h 1513976"/>
                      <a:gd name="connsiteX48" fmla="*/ 800100 w 990600"/>
                      <a:gd name="connsiteY48" fmla="*/ 919616 h 1513976"/>
                      <a:gd name="connsiteX49" fmla="*/ 777240 w 990600"/>
                      <a:gd name="connsiteY49" fmla="*/ 927236 h 1513976"/>
                      <a:gd name="connsiteX50" fmla="*/ 754380 w 990600"/>
                      <a:gd name="connsiteY50" fmla="*/ 972956 h 1513976"/>
                      <a:gd name="connsiteX51" fmla="*/ 792480 w 990600"/>
                      <a:gd name="connsiteY51" fmla="*/ 980576 h 1513976"/>
                      <a:gd name="connsiteX52" fmla="*/ 838200 w 990600"/>
                      <a:gd name="connsiteY52" fmla="*/ 988196 h 1513976"/>
                      <a:gd name="connsiteX53" fmla="*/ 861060 w 990600"/>
                      <a:gd name="connsiteY53" fmla="*/ 995816 h 1513976"/>
                      <a:gd name="connsiteX54" fmla="*/ 883920 w 990600"/>
                      <a:gd name="connsiteY54" fmla="*/ 1018676 h 1513976"/>
                      <a:gd name="connsiteX55" fmla="*/ 891540 w 990600"/>
                      <a:gd name="connsiteY55" fmla="*/ 1041536 h 1513976"/>
                      <a:gd name="connsiteX56" fmla="*/ 876300 w 990600"/>
                      <a:gd name="connsiteY56" fmla="*/ 1125356 h 1513976"/>
                      <a:gd name="connsiteX57" fmla="*/ 861060 w 990600"/>
                      <a:gd name="connsiteY57" fmla="*/ 1178696 h 1513976"/>
                      <a:gd name="connsiteX58" fmla="*/ 883920 w 990600"/>
                      <a:gd name="connsiteY58" fmla="*/ 1193936 h 1513976"/>
                      <a:gd name="connsiteX59" fmla="*/ 929640 w 990600"/>
                      <a:gd name="connsiteY59" fmla="*/ 1209176 h 1513976"/>
                      <a:gd name="connsiteX60" fmla="*/ 937260 w 990600"/>
                      <a:gd name="connsiteY60" fmla="*/ 1232036 h 1513976"/>
                      <a:gd name="connsiteX61" fmla="*/ 914400 w 990600"/>
                      <a:gd name="connsiteY61" fmla="*/ 1285376 h 1513976"/>
                      <a:gd name="connsiteX62" fmla="*/ 883920 w 990600"/>
                      <a:gd name="connsiteY62" fmla="*/ 1308236 h 1513976"/>
                      <a:gd name="connsiteX63" fmla="*/ 853440 w 990600"/>
                      <a:gd name="connsiteY63" fmla="*/ 1376816 h 1513976"/>
                      <a:gd name="connsiteX64" fmla="*/ 845820 w 990600"/>
                      <a:gd name="connsiteY64" fmla="*/ 1445396 h 1513976"/>
                      <a:gd name="connsiteX65" fmla="*/ 838200 w 990600"/>
                      <a:gd name="connsiteY65" fmla="*/ 1468256 h 1513976"/>
                      <a:gd name="connsiteX66" fmla="*/ 792480 w 990600"/>
                      <a:gd name="connsiteY66" fmla="*/ 1513976 h 1513976"/>
                      <a:gd name="connsiteX67" fmla="*/ 685800 w 990600"/>
                      <a:gd name="connsiteY67" fmla="*/ 1506356 h 1513976"/>
                      <a:gd name="connsiteX68" fmla="*/ 662940 w 990600"/>
                      <a:gd name="connsiteY68" fmla="*/ 1491116 h 1513976"/>
                      <a:gd name="connsiteX69" fmla="*/ 510540 w 990600"/>
                      <a:gd name="connsiteY69" fmla="*/ 1483496 h 1513976"/>
                      <a:gd name="connsiteX70" fmla="*/ 487680 w 990600"/>
                      <a:gd name="connsiteY70" fmla="*/ 1468256 h 1513976"/>
                      <a:gd name="connsiteX71" fmla="*/ 487680 w 990600"/>
                      <a:gd name="connsiteY71" fmla="*/ 1399676 h 1513976"/>
                      <a:gd name="connsiteX72" fmla="*/ 480060 w 990600"/>
                      <a:gd name="connsiteY72" fmla="*/ 1361576 h 1513976"/>
                      <a:gd name="connsiteX73" fmla="*/ 449580 w 990600"/>
                      <a:gd name="connsiteY73" fmla="*/ 1353956 h 1513976"/>
                      <a:gd name="connsiteX74" fmla="*/ 381000 w 990600"/>
                      <a:gd name="connsiteY74" fmla="*/ 1323476 h 1513976"/>
                      <a:gd name="connsiteX75" fmla="*/ 373380 w 990600"/>
                      <a:gd name="connsiteY75" fmla="*/ 1254896 h 1513976"/>
                      <a:gd name="connsiteX76" fmla="*/ 327660 w 990600"/>
                      <a:gd name="connsiteY76" fmla="*/ 1216796 h 1513976"/>
                      <a:gd name="connsiteX77" fmla="*/ 266700 w 990600"/>
                      <a:gd name="connsiteY77" fmla="*/ 1178696 h 1513976"/>
                      <a:gd name="connsiteX78" fmla="*/ 243840 w 990600"/>
                      <a:gd name="connsiteY78" fmla="*/ 1171076 h 1513976"/>
                      <a:gd name="connsiteX79" fmla="*/ 236220 w 990600"/>
                      <a:gd name="connsiteY79" fmla="*/ 1148216 h 1513976"/>
                      <a:gd name="connsiteX80" fmla="*/ 228600 w 990600"/>
                      <a:gd name="connsiteY80" fmla="*/ 1094876 h 1513976"/>
                      <a:gd name="connsiteX81" fmla="*/ 205740 w 990600"/>
                      <a:gd name="connsiteY81" fmla="*/ 1079636 h 1513976"/>
                      <a:gd name="connsiteX82" fmla="*/ 182880 w 990600"/>
                      <a:gd name="connsiteY82" fmla="*/ 1033916 h 1513976"/>
                      <a:gd name="connsiteX83" fmla="*/ 167640 w 990600"/>
                      <a:gd name="connsiteY83" fmla="*/ 1011056 h 1513976"/>
                      <a:gd name="connsiteX84" fmla="*/ 175260 w 990600"/>
                      <a:gd name="connsiteY84" fmla="*/ 896756 h 1513976"/>
                      <a:gd name="connsiteX85" fmla="*/ 190500 w 990600"/>
                      <a:gd name="connsiteY85" fmla="*/ 866276 h 1513976"/>
                      <a:gd name="connsiteX86" fmla="*/ 198120 w 990600"/>
                      <a:gd name="connsiteY86" fmla="*/ 843416 h 1513976"/>
                      <a:gd name="connsiteX87" fmla="*/ 190500 w 990600"/>
                      <a:gd name="connsiteY87" fmla="*/ 782456 h 1513976"/>
                      <a:gd name="connsiteX88" fmla="*/ 114300 w 990600"/>
                      <a:gd name="connsiteY88" fmla="*/ 759596 h 1513976"/>
                      <a:gd name="connsiteX89" fmla="*/ 91440 w 990600"/>
                      <a:gd name="connsiteY89" fmla="*/ 751976 h 1513976"/>
                      <a:gd name="connsiteX90" fmla="*/ 83820 w 990600"/>
                      <a:gd name="connsiteY90" fmla="*/ 660536 h 1513976"/>
                      <a:gd name="connsiteX91" fmla="*/ 99060 w 990600"/>
                      <a:gd name="connsiteY91" fmla="*/ 637676 h 1513976"/>
                      <a:gd name="connsiteX92" fmla="*/ 91440 w 990600"/>
                      <a:gd name="connsiteY92" fmla="*/ 599576 h 1513976"/>
                      <a:gd name="connsiteX93" fmla="*/ 22860 w 990600"/>
                      <a:gd name="connsiteY93" fmla="*/ 538616 h 1513976"/>
                      <a:gd name="connsiteX94" fmla="*/ 0 w 990600"/>
                      <a:gd name="connsiteY94" fmla="*/ 492896 h 1513976"/>
                      <a:gd name="connsiteX95" fmla="*/ 7620 w 990600"/>
                      <a:gd name="connsiteY95" fmla="*/ 462416 h 1513976"/>
                      <a:gd name="connsiteX96" fmla="*/ 15240 w 990600"/>
                      <a:gd name="connsiteY96" fmla="*/ 439556 h 1513976"/>
                      <a:gd name="connsiteX97" fmla="*/ 45720 w 990600"/>
                      <a:gd name="connsiteY97" fmla="*/ 416696 h 1513976"/>
                      <a:gd name="connsiteX98" fmla="*/ 53340 w 990600"/>
                      <a:gd name="connsiteY98" fmla="*/ 393836 h 1513976"/>
                      <a:gd name="connsiteX99" fmla="*/ 83820 w 990600"/>
                      <a:gd name="connsiteY99" fmla="*/ 340496 h 1513976"/>
                      <a:gd name="connsiteX100" fmla="*/ 99060 w 990600"/>
                      <a:gd name="connsiteY100" fmla="*/ 287156 h 1513976"/>
                      <a:gd name="connsiteX101" fmla="*/ 106680 w 990600"/>
                      <a:gd name="connsiteY101" fmla="*/ 203336 h 1513976"/>
                      <a:gd name="connsiteX102" fmla="*/ 121920 w 990600"/>
                      <a:gd name="connsiteY102" fmla="*/ 142376 h 1513976"/>
                      <a:gd name="connsiteX103" fmla="*/ 91440 w 990600"/>
                      <a:gd name="connsiteY103" fmla="*/ 111896 h 15139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</a:cxnLst>
                    <a:rect l="l" t="t" r="r" b="b"/>
                    <a:pathLst>
                      <a:path w="990600" h="1513976">
                        <a:moveTo>
                          <a:pt x="91440" y="111896"/>
                        </a:moveTo>
                        <a:lnTo>
                          <a:pt x="91440" y="111896"/>
                        </a:lnTo>
                        <a:cubicBezTo>
                          <a:pt x="114300" y="114436"/>
                          <a:pt x="137019" y="119516"/>
                          <a:pt x="160020" y="119516"/>
                        </a:cubicBezTo>
                        <a:cubicBezTo>
                          <a:pt x="168052" y="119516"/>
                          <a:pt x="179288" y="119080"/>
                          <a:pt x="182880" y="111896"/>
                        </a:cubicBezTo>
                        <a:cubicBezTo>
                          <a:pt x="186472" y="104712"/>
                          <a:pt x="178852" y="96220"/>
                          <a:pt x="175260" y="89036"/>
                        </a:cubicBezTo>
                        <a:cubicBezTo>
                          <a:pt x="171164" y="80845"/>
                          <a:pt x="164564" y="74127"/>
                          <a:pt x="160020" y="66176"/>
                        </a:cubicBezTo>
                        <a:cubicBezTo>
                          <a:pt x="144954" y="39811"/>
                          <a:pt x="145709" y="38483"/>
                          <a:pt x="137160" y="12836"/>
                        </a:cubicBezTo>
                        <a:cubicBezTo>
                          <a:pt x="175881" y="-71"/>
                          <a:pt x="189583" y="-8032"/>
                          <a:pt x="243840" y="12836"/>
                        </a:cubicBezTo>
                        <a:cubicBezTo>
                          <a:pt x="254442" y="16914"/>
                          <a:pt x="254000" y="33156"/>
                          <a:pt x="259080" y="43316"/>
                        </a:cubicBezTo>
                        <a:cubicBezTo>
                          <a:pt x="261620" y="61096"/>
                          <a:pt x="251404" y="87243"/>
                          <a:pt x="266700" y="96656"/>
                        </a:cubicBezTo>
                        <a:cubicBezTo>
                          <a:pt x="292749" y="112686"/>
                          <a:pt x="328148" y="98278"/>
                          <a:pt x="358140" y="104276"/>
                        </a:cubicBezTo>
                        <a:cubicBezTo>
                          <a:pt x="367120" y="106072"/>
                          <a:pt x="373380" y="114436"/>
                          <a:pt x="381000" y="119516"/>
                        </a:cubicBezTo>
                        <a:cubicBezTo>
                          <a:pt x="383540" y="127136"/>
                          <a:pt x="384165" y="135693"/>
                          <a:pt x="388620" y="142376"/>
                        </a:cubicBezTo>
                        <a:cubicBezTo>
                          <a:pt x="410287" y="174877"/>
                          <a:pt x="406379" y="158875"/>
                          <a:pt x="434340" y="172856"/>
                        </a:cubicBezTo>
                        <a:cubicBezTo>
                          <a:pt x="442531" y="176952"/>
                          <a:pt x="449009" y="184000"/>
                          <a:pt x="457200" y="188096"/>
                        </a:cubicBezTo>
                        <a:cubicBezTo>
                          <a:pt x="520296" y="219644"/>
                          <a:pt x="437406" y="167280"/>
                          <a:pt x="502920" y="210956"/>
                        </a:cubicBezTo>
                        <a:cubicBezTo>
                          <a:pt x="515620" y="205876"/>
                          <a:pt x="531348" y="205388"/>
                          <a:pt x="541020" y="195716"/>
                        </a:cubicBezTo>
                        <a:cubicBezTo>
                          <a:pt x="572116" y="164620"/>
                          <a:pt x="522193" y="156420"/>
                          <a:pt x="571500" y="172856"/>
                        </a:cubicBezTo>
                        <a:cubicBezTo>
                          <a:pt x="633356" y="234712"/>
                          <a:pt x="561045" y="154561"/>
                          <a:pt x="601980" y="226196"/>
                        </a:cubicBezTo>
                        <a:cubicBezTo>
                          <a:pt x="611006" y="241992"/>
                          <a:pt x="633133" y="254585"/>
                          <a:pt x="647700" y="264296"/>
                        </a:cubicBezTo>
                        <a:cubicBezTo>
                          <a:pt x="665480" y="261756"/>
                          <a:pt x="683837" y="261837"/>
                          <a:pt x="701040" y="256676"/>
                        </a:cubicBezTo>
                        <a:cubicBezTo>
                          <a:pt x="747687" y="242682"/>
                          <a:pt x="700211" y="233540"/>
                          <a:pt x="746760" y="249056"/>
                        </a:cubicBezTo>
                        <a:lnTo>
                          <a:pt x="777240" y="294776"/>
                        </a:lnTo>
                        <a:cubicBezTo>
                          <a:pt x="793346" y="318935"/>
                          <a:pt x="812102" y="350307"/>
                          <a:pt x="838200" y="363356"/>
                        </a:cubicBezTo>
                        <a:lnTo>
                          <a:pt x="868680" y="378596"/>
                        </a:lnTo>
                        <a:cubicBezTo>
                          <a:pt x="881380" y="376056"/>
                          <a:pt x="896004" y="378160"/>
                          <a:pt x="906780" y="370976"/>
                        </a:cubicBezTo>
                        <a:cubicBezTo>
                          <a:pt x="913463" y="366521"/>
                          <a:pt x="910808" y="355300"/>
                          <a:pt x="914400" y="348116"/>
                        </a:cubicBezTo>
                        <a:cubicBezTo>
                          <a:pt x="918496" y="339925"/>
                          <a:pt x="924560" y="332876"/>
                          <a:pt x="929640" y="325256"/>
                        </a:cubicBezTo>
                        <a:cubicBezTo>
                          <a:pt x="939800" y="327796"/>
                          <a:pt x="951027" y="327680"/>
                          <a:pt x="960120" y="332876"/>
                        </a:cubicBezTo>
                        <a:cubicBezTo>
                          <a:pt x="983623" y="346306"/>
                          <a:pt x="983326" y="356774"/>
                          <a:pt x="990600" y="378596"/>
                        </a:cubicBezTo>
                        <a:cubicBezTo>
                          <a:pt x="975765" y="423100"/>
                          <a:pt x="994587" y="382229"/>
                          <a:pt x="960120" y="416696"/>
                        </a:cubicBezTo>
                        <a:cubicBezTo>
                          <a:pt x="945348" y="431468"/>
                          <a:pt x="943458" y="443823"/>
                          <a:pt x="937260" y="462416"/>
                        </a:cubicBezTo>
                        <a:cubicBezTo>
                          <a:pt x="939800" y="470036"/>
                          <a:pt x="938344" y="480607"/>
                          <a:pt x="944880" y="485276"/>
                        </a:cubicBezTo>
                        <a:cubicBezTo>
                          <a:pt x="957952" y="494613"/>
                          <a:pt x="990600" y="500516"/>
                          <a:pt x="990600" y="500516"/>
                        </a:cubicBezTo>
                        <a:cubicBezTo>
                          <a:pt x="989385" y="512662"/>
                          <a:pt x="994515" y="581726"/>
                          <a:pt x="967740" y="599576"/>
                        </a:cubicBezTo>
                        <a:cubicBezTo>
                          <a:pt x="959026" y="605385"/>
                          <a:pt x="947420" y="604656"/>
                          <a:pt x="937260" y="607196"/>
                        </a:cubicBezTo>
                        <a:cubicBezTo>
                          <a:pt x="929640" y="612276"/>
                          <a:pt x="922591" y="618340"/>
                          <a:pt x="914400" y="622436"/>
                        </a:cubicBezTo>
                        <a:cubicBezTo>
                          <a:pt x="907216" y="626028"/>
                          <a:pt x="897220" y="624376"/>
                          <a:pt x="891540" y="630056"/>
                        </a:cubicBezTo>
                        <a:cubicBezTo>
                          <a:pt x="885860" y="635736"/>
                          <a:pt x="885868" y="645124"/>
                          <a:pt x="883920" y="652916"/>
                        </a:cubicBezTo>
                        <a:cubicBezTo>
                          <a:pt x="880779" y="665481"/>
                          <a:pt x="883164" y="680033"/>
                          <a:pt x="876300" y="691016"/>
                        </a:cubicBezTo>
                        <a:cubicBezTo>
                          <a:pt x="872924" y="696417"/>
                          <a:pt x="831559" y="723384"/>
                          <a:pt x="822960" y="729116"/>
                        </a:cubicBezTo>
                        <a:cubicBezTo>
                          <a:pt x="825500" y="751976"/>
                          <a:pt x="822038" y="776340"/>
                          <a:pt x="830580" y="797696"/>
                        </a:cubicBezTo>
                        <a:cubicBezTo>
                          <a:pt x="833563" y="805154"/>
                          <a:pt x="846256" y="801724"/>
                          <a:pt x="853440" y="805316"/>
                        </a:cubicBezTo>
                        <a:cubicBezTo>
                          <a:pt x="861631" y="809412"/>
                          <a:pt x="868109" y="816460"/>
                          <a:pt x="876300" y="820556"/>
                        </a:cubicBezTo>
                        <a:cubicBezTo>
                          <a:pt x="897579" y="831196"/>
                          <a:pt x="932843" y="832988"/>
                          <a:pt x="952500" y="835796"/>
                        </a:cubicBezTo>
                        <a:cubicBezTo>
                          <a:pt x="949960" y="845956"/>
                          <a:pt x="950689" y="857562"/>
                          <a:pt x="944880" y="866276"/>
                        </a:cubicBezTo>
                        <a:cubicBezTo>
                          <a:pt x="939800" y="873896"/>
                          <a:pt x="930389" y="877797"/>
                          <a:pt x="922020" y="881516"/>
                        </a:cubicBezTo>
                        <a:cubicBezTo>
                          <a:pt x="885794" y="897617"/>
                          <a:pt x="868918" y="897986"/>
                          <a:pt x="830580" y="904376"/>
                        </a:cubicBezTo>
                        <a:cubicBezTo>
                          <a:pt x="820420" y="909456"/>
                          <a:pt x="810541" y="915141"/>
                          <a:pt x="800100" y="919616"/>
                        </a:cubicBezTo>
                        <a:cubicBezTo>
                          <a:pt x="792717" y="922780"/>
                          <a:pt x="783512" y="922218"/>
                          <a:pt x="777240" y="927236"/>
                        </a:cubicBezTo>
                        <a:cubicBezTo>
                          <a:pt x="763811" y="937979"/>
                          <a:pt x="759400" y="957897"/>
                          <a:pt x="754380" y="972956"/>
                        </a:cubicBezTo>
                        <a:lnTo>
                          <a:pt x="792480" y="980576"/>
                        </a:lnTo>
                        <a:cubicBezTo>
                          <a:pt x="807681" y="983340"/>
                          <a:pt x="823118" y="984844"/>
                          <a:pt x="838200" y="988196"/>
                        </a:cubicBezTo>
                        <a:cubicBezTo>
                          <a:pt x="846041" y="989938"/>
                          <a:pt x="853440" y="993276"/>
                          <a:pt x="861060" y="995816"/>
                        </a:cubicBezTo>
                        <a:cubicBezTo>
                          <a:pt x="868680" y="1003436"/>
                          <a:pt x="877942" y="1009710"/>
                          <a:pt x="883920" y="1018676"/>
                        </a:cubicBezTo>
                        <a:cubicBezTo>
                          <a:pt x="888375" y="1025359"/>
                          <a:pt x="891540" y="1033504"/>
                          <a:pt x="891540" y="1041536"/>
                        </a:cubicBezTo>
                        <a:cubicBezTo>
                          <a:pt x="891540" y="1098278"/>
                          <a:pt x="887016" y="1087849"/>
                          <a:pt x="876300" y="1125356"/>
                        </a:cubicBezTo>
                        <a:cubicBezTo>
                          <a:pt x="857164" y="1192333"/>
                          <a:pt x="879330" y="1123886"/>
                          <a:pt x="861060" y="1178696"/>
                        </a:cubicBezTo>
                        <a:cubicBezTo>
                          <a:pt x="868680" y="1183776"/>
                          <a:pt x="875551" y="1190217"/>
                          <a:pt x="883920" y="1193936"/>
                        </a:cubicBezTo>
                        <a:cubicBezTo>
                          <a:pt x="898600" y="1200460"/>
                          <a:pt x="929640" y="1209176"/>
                          <a:pt x="929640" y="1209176"/>
                        </a:cubicBezTo>
                        <a:cubicBezTo>
                          <a:pt x="932180" y="1216796"/>
                          <a:pt x="937260" y="1224004"/>
                          <a:pt x="937260" y="1232036"/>
                        </a:cubicBezTo>
                        <a:cubicBezTo>
                          <a:pt x="937260" y="1249524"/>
                          <a:pt x="926843" y="1272933"/>
                          <a:pt x="914400" y="1285376"/>
                        </a:cubicBezTo>
                        <a:cubicBezTo>
                          <a:pt x="905420" y="1294356"/>
                          <a:pt x="894080" y="1300616"/>
                          <a:pt x="883920" y="1308236"/>
                        </a:cubicBezTo>
                        <a:cubicBezTo>
                          <a:pt x="865784" y="1362644"/>
                          <a:pt x="877591" y="1340590"/>
                          <a:pt x="853440" y="1376816"/>
                        </a:cubicBezTo>
                        <a:cubicBezTo>
                          <a:pt x="850900" y="1399676"/>
                          <a:pt x="849601" y="1422708"/>
                          <a:pt x="845820" y="1445396"/>
                        </a:cubicBezTo>
                        <a:cubicBezTo>
                          <a:pt x="844500" y="1453319"/>
                          <a:pt x="843131" y="1461916"/>
                          <a:pt x="838200" y="1468256"/>
                        </a:cubicBezTo>
                        <a:cubicBezTo>
                          <a:pt x="824968" y="1485269"/>
                          <a:pt x="792480" y="1513976"/>
                          <a:pt x="792480" y="1513976"/>
                        </a:cubicBezTo>
                        <a:cubicBezTo>
                          <a:pt x="756920" y="1511436"/>
                          <a:pt x="720908" y="1512552"/>
                          <a:pt x="685800" y="1506356"/>
                        </a:cubicBezTo>
                        <a:cubicBezTo>
                          <a:pt x="676781" y="1504764"/>
                          <a:pt x="672021" y="1492301"/>
                          <a:pt x="662940" y="1491116"/>
                        </a:cubicBezTo>
                        <a:cubicBezTo>
                          <a:pt x="612504" y="1484537"/>
                          <a:pt x="561340" y="1486036"/>
                          <a:pt x="510540" y="1483496"/>
                        </a:cubicBezTo>
                        <a:cubicBezTo>
                          <a:pt x="502920" y="1478416"/>
                          <a:pt x="493401" y="1475407"/>
                          <a:pt x="487680" y="1468256"/>
                        </a:cubicBezTo>
                        <a:cubicBezTo>
                          <a:pt x="472156" y="1448850"/>
                          <a:pt x="484546" y="1418480"/>
                          <a:pt x="487680" y="1399676"/>
                        </a:cubicBezTo>
                        <a:cubicBezTo>
                          <a:pt x="485140" y="1386976"/>
                          <a:pt x="488351" y="1371526"/>
                          <a:pt x="480060" y="1361576"/>
                        </a:cubicBezTo>
                        <a:cubicBezTo>
                          <a:pt x="473356" y="1353531"/>
                          <a:pt x="459611" y="1356965"/>
                          <a:pt x="449580" y="1353956"/>
                        </a:cubicBezTo>
                        <a:cubicBezTo>
                          <a:pt x="400118" y="1339117"/>
                          <a:pt x="414407" y="1345747"/>
                          <a:pt x="381000" y="1323476"/>
                        </a:cubicBezTo>
                        <a:cubicBezTo>
                          <a:pt x="378460" y="1300616"/>
                          <a:pt x="380653" y="1276716"/>
                          <a:pt x="373380" y="1254896"/>
                        </a:cubicBezTo>
                        <a:cubicBezTo>
                          <a:pt x="369189" y="1242324"/>
                          <a:pt x="338117" y="1223768"/>
                          <a:pt x="327660" y="1216796"/>
                        </a:cubicBezTo>
                        <a:cubicBezTo>
                          <a:pt x="303509" y="1180570"/>
                          <a:pt x="321108" y="1196832"/>
                          <a:pt x="266700" y="1178696"/>
                        </a:cubicBezTo>
                        <a:lnTo>
                          <a:pt x="243840" y="1171076"/>
                        </a:lnTo>
                        <a:cubicBezTo>
                          <a:pt x="241300" y="1163456"/>
                          <a:pt x="237795" y="1156092"/>
                          <a:pt x="236220" y="1148216"/>
                        </a:cubicBezTo>
                        <a:cubicBezTo>
                          <a:pt x="232698" y="1130604"/>
                          <a:pt x="235894" y="1111289"/>
                          <a:pt x="228600" y="1094876"/>
                        </a:cubicBezTo>
                        <a:cubicBezTo>
                          <a:pt x="224881" y="1086507"/>
                          <a:pt x="213360" y="1084716"/>
                          <a:pt x="205740" y="1079636"/>
                        </a:cubicBezTo>
                        <a:cubicBezTo>
                          <a:pt x="162064" y="1014122"/>
                          <a:pt x="214428" y="1097012"/>
                          <a:pt x="182880" y="1033916"/>
                        </a:cubicBezTo>
                        <a:cubicBezTo>
                          <a:pt x="178784" y="1025725"/>
                          <a:pt x="172720" y="1018676"/>
                          <a:pt x="167640" y="1011056"/>
                        </a:cubicBezTo>
                        <a:cubicBezTo>
                          <a:pt x="170180" y="972956"/>
                          <a:pt x="169305" y="934473"/>
                          <a:pt x="175260" y="896756"/>
                        </a:cubicBezTo>
                        <a:cubicBezTo>
                          <a:pt x="177032" y="885536"/>
                          <a:pt x="186025" y="876717"/>
                          <a:pt x="190500" y="866276"/>
                        </a:cubicBezTo>
                        <a:cubicBezTo>
                          <a:pt x="193664" y="858893"/>
                          <a:pt x="195580" y="851036"/>
                          <a:pt x="198120" y="843416"/>
                        </a:cubicBezTo>
                        <a:cubicBezTo>
                          <a:pt x="195580" y="823096"/>
                          <a:pt x="198105" y="801469"/>
                          <a:pt x="190500" y="782456"/>
                        </a:cubicBezTo>
                        <a:cubicBezTo>
                          <a:pt x="182099" y="761454"/>
                          <a:pt x="119042" y="760273"/>
                          <a:pt x="114300" y="759596"/>
                        </a:cubicBezTo>
                        <a:cubicBezTo>
                          <a:pt x="106680" y="757056"/>
                          <a:pt x="97712" y="756994"/>
                          <a:pt x="91440" y="751976"/>
                        </a:cubicBezTo>
                        <a:cubicBezTo>
                          <a:pt x="62938" y="729175"/>
                          <a:pt x="76452" y="690006"/>
                          <a:pt x="83820" y="660536"/>
                        </a:cubicBezTo>
                        <a:cubicBezTo>
                          <a:pt x="86041" y="651651"/>
                          <a:pt x="93980" y="645296"/>
                          <a:pt x="99060" y="637676"/>
                        </a:cubicBezTo>
                        <a:cubicBezTo>
                          <a:pt x="96520" y="624976"/>
                          <a:pt x="98393" y="610503"/>
                          <a:pt x="91440" y="599576"/>
                        </a:cubicBezTo>
                        <a:cubicBezTo>
                          <a:pt x="72210" y="569357"/>
                          <a:pt x="49645" y="556473"/>
                          <a:pt x="22860" y="538616"/>
                        </a:cubicBezTo>
                        <a:cubicBezTo>
                          <a:pt x="15155" y="527058"/>
                          <a:pt x="0" y="508670"/>
                          <a:pt x="0" y="492896"/>
                        </a:cubicBezTo>
                        <a:cubicBezTo>
                          <a:pt x="0" y="482423"/>
                          <a:pt x="4743" y="472486"/>
                          <a:pt x="7620" y="462416"/>
                        </a:cubicBezTo>
                        <a:cubicBezTo>
                          <a:pt x="9827" y="454693"/>
                          <a:pt x="10098" y="445726"/>
                          <a:pt x="15240" y="439556"/>
                        </a:cubicBezTo>
                        <a:cubicBezTo>
                          <a:pt x="23370" y="429800"/>
                          <a:pt x="35560" y="424316"/>
                          <a:pt x="45720" y="416696"/>
                        </a:cubicBezTo>
                        <a:cubicBezTo>
                          <a:pt x="48260" y="409076"/>
                          <a:pt x="49748" y="401020"/>
                          <a:pt x="53340" y="393836"/>
                        </a:cubicBezTo>
                        <a:cubicBezTo>
                          <a:pt x="91604" y="317309"/>
                          <a:pt x="43743" y="434010"/>
                          <a:pt x="83820" y="340496"/>
                        </a:cubicBezTo>
                        <a:cubicBezTo>
                          <a:pt x="90379" y="325192"/>
                          <a:pt x="95193" y="302623"/>
                          <a:pt x="99060" y="287156"/>
                        </a:cubicBezTo>
                        <a:cubicBezTo>
                          <a:pt x="101600" y="259216"/>
                          <a:pt x="102304" y="231048"/>
                          <a:pt x="106680" y="203336"/>
                        </a:cubicBezTo>
                        <a:cubicBezTo>
                          <a:pt x="109947" y="182647"/>
                          <a:pt x="121920" y="142376"/>
                          <a:pt x="121920" y="142376"/>
                        </a:cubicBezTo>
                        <a:lnTo>
                          <a:pt x="91440" y="111896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95000"/>
                    </a:schemeClr>
                  </a:solidFill>
                  <a:ln w="6350">
                    <a:solidFill>
                      <a:schemeClr val="bg1"/>
                    </a:solidFill>
                    <a:round/>
                  </a:ln>
                </p:spPr>
                <p:txBody>
                  <a:bodyPr vert="horz" wrap="square" lIns="84021" tIns="42011" rIns="84021" bIns="42011" anchor="t">
                    <a:prstTxWarp prst="textNoShape">
                      <a:avLst/>
                    </a:prstTxWarp>
                  </a:bodyPr>
                  <a:lstStyle/>
                  <a:p>
                    <a:endParaRPr lang="ru-RU" sz="3308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6024E65F-3207-3F52-C064-140A5F6B1394}"/>
                  </a:ext>
                </a:extLst>
              </p:cNvPr>
              <p:cNvSpPr txBox="1"/>
              <p:nvPr/>
            </p:nvSpPr>
            <p:spPr>
              <a:xfrm>
                <a:off x="2133704" y="2456564"/>
                <a:ext cx="1829027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1425739">
                  <a:defRPr/>
                </a:pPr>
                <a:r>
                  <a:rPr lang="ru-RU" sz="1600" b="1" dirty="0">
                    <a:solidFill>
                      <a:srgbClr val="3E5057"/>
                    </a:solidFill>
                    <a:latin typeface="Tahoma"/>
                  </a:rPr>
                  <a:t>Санкт-Петербург</a:t>
                </a:r>
                <a:endParaRPr lang="ru-RU" sz="1661" b="1" dirty="0">
                  <a:solidFill>
                    <a:srgbClr val="3E5057"/>
                  </a:solidFill>
                  <a:latin typeface="Tahoma"/>
                </a:endParaRPr>
              </a:p>
            </p:txBody>
          </p:sp>
          <p:cxnSp>
            <p:nvCxnSpPr>
              <p:cNvPr id="17" name="Прямая соединительная линия 16">
                <a:extLst>
                  <a:ext uri="{FF2B5EF4-FFF2-40B4-BE49-F238E27FC236}">
                    <a16:creationId xmlns:a16="http://schemas.microsoft.com/office/drawing/2014/main" id="{61D8C5E7-DD1D-91FA-D1B4-B02FE3754BB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142438" y="2760385"/>
                <a:ext cx="1799984" cy="0"/>
              </a:xfrm>
              <a:prstGeom prst="line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15" name="Группа 214">
                <a:extLst>
                  <a:ext uri="{FF2B5EF4-FFF2-40B4-BE49-F238E27FC236}">
                    <a16:creationId xmlns:a16="http://schemas.microsoft.com/office/drawing/2014/main" id="{BA876247-2DBB-AE19-4BFC-A4C55456B710}"/>
                  </a:ext>
                </a:extLst>
              </p:cNvPr>
              <p:cNvGrpSpPr/>
              <p:nvPr/>
            </p:nvGrpSpPr>
            <p:grpSpPr>
              <a:xfrm>
                <a:off x="1562866" y="4083572"/>
                <a:ext cx="2856735" cy="969058"/>
                <a:chOff x="3350193" y="2892731"/>
                <a:chExt cx="2856761" cy="969067"/>
              </a:xfrm>
            </p:grpSpPr>
            <p:cxnSp>
              <p:nvCxnSpPr>
                <p:cNvPr id="216" name="Прямая соединительная линия 215">
                  <a:extLst>
                    <a:ext uri="{FF2B5EF4-FFF2-40B4-BE49-F238E27FC236}">
                      <a16:creationId xmlns:a16="http://schemas.microsoft.com/office/drawing/2014/main" id="{216E5001-7558-EE27-A29D-BF8E8176CF1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50193" y="2892731"/>
                  <a:ext cx="2155675" cy="529"/>
                </a:xfrm>
                <a:prstGeom prst="line">
                  <a:avLst/>
                </a:prstGeom>
                <a:ln w="12700">
                  <a:solidFill>
                    <a:schemeClr val="accent6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7" name="Прямая соединительная линия 216">
                  <a:extLst>
                    <a:ext uri="{FF2B5EF4-FFF2-40B4-BE49-F238E27FC236}">
                      <a16:creationId xmlns:a16="http://schemas.microsoft.com/office/drawing/2014/main" id="{779CD4F1-0EE2-6D7F-465F-AEDEF1D5309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502739" y="2892731"/>
                  <a:ext cx="704215" cy="969067"/>
                </a:xfrm>
                <a:prstGeom prst="line">
                  <a:avLst/>
                </a:prstGeom>
                <a:ln w="12700">
                  <a:solidFill>
                    <a:schemeClr val="accent6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229" name="Прямая соединительная линия 228">
                <a:extLst>
                  <a:ext uri="{FF2B5EF4-FFF2-40B4-BE49-F238E27FC236}">
                    <a16:creationId xmlns:a16="http://schemas.microsoft.com/office/drawing/2014/main" id="{EFEED921-29AD-86FB-8618-7C88F3EB16B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6997291" y="6186648"/>
                <a:ext cx="227700" cy="1775880"/>
              </a:xfrm>
              <a:prstGeom prst="line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1" name="TextBox 230">
                <a:extLst>
                  <a:ext uri="{FF2B5EF4-FFF2-40B4-BE49-F238E27FC236}">
                    <a16:creationId xmlns:a16="http://schemas.microsoft.com/office/drawing/2014/main" id="{5C6B0786-D943-D455-ADF6-A7D40A8679AE}"/>
                  </a:ext>
                </a:extLst>
              </p:cNvPr>
              <p:cNvSpPr txBox="1"/>
              <p:nvPr/>
            </p:nvSpPr>
            <p:spPr>
              <a:xfrm>
                <a:off x="5691713" y="7668075"/>
                <a:ext cx="1477969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1425739">
                  <a:defRPr/>
                </a:pPr>
                <a:r>
                  <a:rPr lang="ru-RU" sz="1600" b="1" dirty="0">
                    <a:solidFill>
                      <a:srgbClr val="3E5057"/>
                    </a:solidFill>
                    <a:latin typeface="Tahoma"/>
                  </a:rPr>
                  <a:t>Екатеринбург</a:t>
                </a:r>
                <a:endParaRPr lang="ru-RU" sz="1661" b="1" dirty="0">
                  <a:solidFill>
                    <a:srgbClr val="3E5057"/>
                  </a:solidFill>
                  <a:latin typeface="Tahoma"/>
                </a:endParaRPr>
              </a:p>
            </p:txBody>
          </p:sp>
          <p:cxnSp>
            <p:nvCxnSpPr>
              <p:cNvPr id="235" name="Прямая соединительная линия 234">
                <a:extLst>
                  <a:ext uri="{FF2B5EF4-FFF2-40B4-BE49-F238E27FC236}">
                    <a16:creationId xmlns:a16="http://schemas.microsoft.com/office/drawing/2014/main" id="{FDD2E504-E922-6AB6-A77F-1ECFFB5A5E0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942432" y="9220615"/>
                <a:ext cx="1331987" cy="5760"/>
              </a:xfrm>
              <a:prstGeom prst="line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6" name="Прямая соединительная линия 235">
                <a:extLst>
                  <a:ext uri="{FF2B5EF4-FFF2-40B4-BE49-F238E27FC236}">
                    <a16:creationId xmlns:a16="http://schemas.microsoft.com/office/drawing/2014/main" id="{9CC1F4AC-6FBE-420B-4A59-D52F5B05E992}"/>
                  </a:ext>
                </a:extLst>
              </p:cNvPr>
              <p:cNvCxnSpPr>
                <a:cxnSpLocks/>
                <a:endCxn id="233" idx="4"/>
              </p:cNvCxnSpPr>
              <p:nvPr/>
            </p:nvCxnSpPr>
            <p:spPr>
              <a:xfrm flipV="1">
                <a:off x="10960491" y="7646075"/>
                <a:ext cx="253130" cy="1574540"/>
              </a:xfrm>
              <a:prstGeom prst="line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0" name="TextBox 239">
                <a:extLst>
                  <a:ext uri="{FF2B5EF4-FFF2-40B4-BE49-F238E27FC236}">
                    <a16:creationId xmlns:a16="http://schemas.microsoft.com/office/drawing/2014/main" id="{C62247F2-99CF-3BE1-CCDA-747E22C2CD87}"/>
                  </a:ext>
                </a:extLst>
              </p:cNvPr>
              <p:cNvSpPr txBox="1"/>
              <p:nvPr/>
            </p:nvSpPr>
            <p:spPr>
              <a:xfrm>
                <a:off x="11069828" y="8970369"/>
                <a:ext cx="1130118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1425739">
                  <a:defRPr/>
                </a:pPr>
                <a:r>
                  <a:rPr lang="ru-RU" sz="1600" b="1" dirty="0">
                    <a:solidFill>
                      <a:srgbClr val="3E5057"/>
                    </a:solidFill>
                    <a:latin typeface="Tahoma"/>
                  </a:rPr>
                  <a:t>Байкальск</a:t>
                </a:r>
                <a:endParaRPr lang="ru-RU" sz="1661" b="1" dirty="0">
                  <a:solidFill>
                    <a:srgbClr val="3E5057"/>
                  </a:solidFill>
                  <a:latin typeface="Tahoma"/>
                </a:endParaRPr>
              </a:p>
            </p:txBody>
          </p:sp>
          <p:cxnSp>
            <p:nvCxnSpPr>
              <p:cNvPr id="244" name="Прямая соединительная линия 243">
                <a:extLst>
                  <a:ext uri="{FF2B5EF4-FFF2-40B4-BE49-F238E27FC236}">
                    <a16:creationId xmlns:a16="http://schemas.microsoft.com/office/drawing/2014/main" id="{ACBC13BB-A916-B5D1-45FF-FE1C42517D34}"/>
                  </a:ext>
                </a:extLst>
              </p:cNvPr>
              <p:cNvCxnSpPr>
                <a:cxnSpLocks/>
                <a:endCxn id="51" idx="2"/>
              </p:cNvCxnSpPr>
              <p:nvPr/>
            </p:nvCxnSpPr>
            <p:spPr>
              <a:xfrm flipV="1">
                <a:off x="14641537" y="8792308"/>
                <a:ext cx="743895" cy="598006"/>
              </a:xfrm>
              <a:prstGeom prst="line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9" name="TextBox 248">
                <a:extLst>
                  <a:ext uri="{FF2B5EF4-FFF2-40B4-BE49-F238E27FC236}">
                    <a16:creationId xmlns:a16="http://schemas.microsoft.com/office/drawing/2014/main" id="{E63A08EA-747E-A126-7020-219C98690EF3}"/>
                  </a:ext>
                </a:extLst>
              </p:cNvPr>
              <p:cNvSpPr txBox="1"/>
              <p:nvPr/>
            </p:nvSpPr>
            <p:spPr>
              <a:xfrm>
                <a:off x="13299657" y="9095065"/>
                <a:ext cx="1383392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1425739">
                  <a:defRPr/>
                </a:pPr>
                <a:r>
                  <a:rPr lang="ru-RU" sz="1600" b="1" dirty="0">
                    <a:solidFill>
                      <a:srgbClr val="3E5057"/>
                    </a:solidFill>
                    <a:latin typeface="Tahoma"/>
                  </a:rPr>
                  <a:t>Владивосток</a:t>
                </a:r>
                <a:endParaRPr lang="ru-RU" sz="1661" b="1" dirty="0">
                  <a:solidFill>
                    <a:srgbClr val="3E5057"/>
                  </a:solidFill>
                  <a:latin typeface="Tahoma"/>
                </a:endParaRPr>
              </a:p>
            </p:txBody>
          </p:sp>
          <p:sp>
            <p:nvSpPr>
              <p:cNvPr id="208" name="TextBox 207">
                <a:extLst>
                  <a:ext uri="{FF2B5EF4-FFF2-40B4-BE49-F238E27FC236}">
                    <a16:creationId xmlns:a16="http://schemas.microsoft.com/office/drawing/2014/main" id="{4F3D6692-7E68-DDD0-0A6C-8FC75EEFBBFA}"/>
                  </a:ext>
                </a:extLst>
              </p:cNvPr>
              <p:cNvSpPr txBox="1"/>
              <p:nvPr/>
            </p:nvSpPr>
            <p:spPr>
              <a:xfrm>
                <a:off x="1562867" y="3787939"/>
                <a:ext cx="2183290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defTabSz="1425739">
                  <a:defRPr/>
                </a:pPr>
                <a:r>
                  <a:rPr lang="ru-RU" sz="1600" b="1" dirty="0">
                    <a:solidFill>
                      <a:srgbClr val="3E5057"/>
                    </a:solidFill>
                    <a:latin typeface="Tahoma"/>
                  </a:rPr>
                  <a:t>Московская область</a:t>
                </a:r>
                <a:endParaRPr lang="ru-RU" sz="1661" b="1" dirty="0">
                  <a:solidFill>
                    <a:srgbClr val="3E5057"/>
                  </a:solidFill>
                  <a:latin typeface="Tahoma"/>
                </a:endParaRPr>
              </a:p>
            </p:txBody>
          </p:sp>
          <p:cxnSp>
            <p:nvCxnSpPr>
              <p:cNvPr id="19" name="Прямая соединительная линия 18">
                <a:extLst>
                  <a:ext uri="{FF2B5EF4-FFF2-40B4-BE49-F238E27FC236}">
                    <a16:creationId xmlns:a16="http://schemas.microsoft.com/office/drawing/2014/main" id="{E68AAB07-8016-B27F-0BB5-BA3216206BD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39293" y="2759856"/>
                <a:ext cx="704208" cy="969058"/>
              </a:xfrm>
              <a:prstGeom prst="line">
                <a:avLst/>
              </a:prstGeom>
              <a:ln w="1270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0" name="Овал 199">
              <a:extLst>
                <a:ext uri="{FF2B5EF4-FFF2-40B4-BE49-F238E27FC236}">
                  <a16:creationId xmlns:a16="http://schemas.microsoft.com/office/drawing/2014/main" id="{03EAC721-D5C7-E789-015E-3346048E8000}"/>
                </a:ext>
              </a:extLst>
            </p:cNvPr>
            <p:cNvSpPr/>
            <p:nvPr/>
          </p:nvSpPr>
          <p:spPr>
            <a:xfrm>
              <a:off x="4439519" y="5072678"/>
              <a:ext cx="107999" cy="107999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25739">
                <a:defRPr/>
              </a:pPr>
              <a:endParaRPr lang="ru-RU" sz="3126">
                <a:solidFill>
                  <a:prstClr val="white"/>
                </a:solidFill>
                <a:latin typeface="Tahoma"/>
              </a:endParaRPr>
            </a:p>
          </p:txBody>
        </p:sp>
        <p:sp>
          <p:nvSpPr>
            <p:cNvPr id="232" name="Овал 231">
              <a:extLst>
                <a:ext uri="{FF2B5EF4-FFF2-40B4-BE49-F238E27FC236}">
                  <a16:creationId xmlns:a16="http://schemas.microsoft.com/office/drawing/2014/main" id="{85E0B522-92C2-63A6-B2DF-A2113B709F32}"/>
                </a:ext>
              </a:extLst>
            </p:cNvPr>
            <p:cNvSpPr/>
            <p:nvPr/>
          </p:nvSpPr>
          <p:spPr>
            <a:xfrm>
              <a:off x="6934501" y="6211547"/>
              <a:ext cx="107999" cy="107999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25739">
                <a:defRPr/>
              </a:pPr>
              <a:endParaRPr lang="ru-RU" sz="3126">
                <a:solidFill>
                  <a:prstClr val="white"/>
                </a:solidFill>
                <a:latin typeface="Tahoma"/>
              </a:endParaRPr>
            </a:p>
          </p:txBody>
        </p:sp>
        <p:sp>
          <p:nvSpPr>
            <p:cNvPr id="233" name="Овал 232">
              <a:extLst>
                <a:ext uri="{FF2B5EF4-FFF2-40B4-BE49-F238E27FC236}">
                  <a16:creationId xmlns:a16="http://schemas.microsoft.com/office/drawing/2014/main" id="{4055BC6F-74F6-9C5A-E0D2-ADE4EEE7B1F0}"/>
                </a:ext>
              </a:extLst>
            </p:cNvPr>
            <p:cNvSpPr/>
            <p:nvPr/>
          </p:nvSpPr>
          <p:spPr>
            <a:xfrm>
              <a:off x="11159621" y="7538076"/>
              <a:ext cx="107999" cy="107999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25739">
                <a:defRPr/>
              </a:pPr>
              <a:endParaRPr lang="ru-RU" sz="3126">
                <a:solidFill>
                  <a:prstClr val="white"/>
                </a:solidFill>
                <a:latin typeface="Tahoma"/>
              </a:endParaRPr>
            </a:p>
          </p:txBody>
        </p:sp>
        <p:sp>
          <p:nvSpPr>
            <p:cNvPr id="246" name="Овал 245">
              <a:extLst>
                <a:ext uri="{FF2B5EF4-FFF2-40B4-BE49-F238E27FC236}">
                  <a16:creationId xmlns:a16="http://schemas.microsoft.com/office/drawing/2014/main" id="{4A2773CC-58CB-462D-BEA3-A0639CCA7591}"/>
                </a:ext>
              </a:extLst>
            </p:cNvPr>
            <p:cNvSpPr/>
            <p:nvPr/>
          </p:nvSpPr>
          <p:spPr>
            <a:xfrm>
              <a:off x="15360456" y="8697903"/>
              <a:ext cx="107999" cy="107999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25739">
                <a:defRPr/>
              </a:pPr>
              <a:endParaRPr lang="ru-RU" sz="3126">
                <a:solidFill>
                  <a:prstClr val="white"/>
                </a:solidFill>
                <a:latin typeface="Tahoma"/>
              </a:endParaRPr>
            </a:p>
          </p:txBody>
        </p:sp>
        <p:sp>
          <p:nvSpPr>
            <p:cNvPr id="218" name="Овал 217">
              <a:extLst>
                <a:ext uri="{FF2B5EF4-FFF2-40B4-BE49-F238E27FC236}">
                  <a16:creationId xmlns:a16="http://schemas.microsoft.com/office/drawing/2014/main" id="{03EAC721-D5C7-E789-015E-3346048E8000}"/>
                </a:ext>
              </a:extLst>
            </p:cNvPr>
            <p:cNvSpPr/>
            <p:nvPr/>
          </p:nvSpPr>
          <p:spPr>
            <a:xfrm>
              <a:off x="4609254" y="3652273"/>
              <a:ext cx="107999" cy="107999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25739">
                <a:defRPr/>
              </a:pPr>
              <a:endParaRPr lang="ru-RU" sz="3126">
                <a:solidFill>
                  <a:prstClr val="white"/>
                </a:solidFill>
                <a:latin typeface="Tahoma"/>
              </a:endParaRPr>
            </a:p>
          </p:txBody>
        </p:sp>
      </p:grpSp>
      <p:graphicFrame>
        <p:nvGraphicFramePr>
          <p:cNvPr id="24578" name="Объект 17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392" y="3404"/>
          <a:ext cx="3299" cy="32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9" name="Слайд think-cell" r:id="rId15" imgW="360" imgH="360" progId="TCLayout.ActiveDocument.1">
                  <p:embed/>
                </p:oleObj>
              </mc:Choice>
              <mc:Fallback>
                <p:oleObj name="Слайд think-cell" r:id="rId15" imgW="360" imgH="360" progId="TCLayout.ActiveDocument.1">
                  <p:embed/>
                  <p:pic>
                    <p:nvPicPr>
                      <p:cNvPr id="24578" name="Объект 17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92" y="3404"/>
                        <a:ext cx="3299" cy="32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" name="Заголовок 1">
            <a:extLst>
              <a:ext uri="{FF2B5EF4-FFF2-40B4-BE49-F238E27FC236}">
                <a16:creationId xmlns:a16="http://schemas.microsoft.com/office/drawing/2014/main" id="{59F7A3C3-BDE0-3419-C55E-65203F71F2A0}"/>
              </a:ext>
            </a:extLst>
          </p:cNvPr>
          <p:cNvSpPr txBox="1">
            <a:spLocks/>
          </p:cNvSpPr>
          <p:nvPr/>
        </p:nvSpPr>
        <p:spPr bwMode="auto">
          <a:xfrm>
            <a:off x="358778" y="1451261"/>
            <a:ext cx="21817684" cy="3427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794">
              <a:defRPr/>
            </a:pPr>
            <a:r>
              <a:rPr lang="ru-RU" altLang="ru-RU" sz="2227" dirty="0">
                <a:solidFill>
                  <a:srgbClr val="8FC54C"/>
                </a:solidFill>
                <a:latin typeface="Tahoma"/>
              </a:rPr>
              <a:t>Доля </a:t>
            </a:r>
            <a:r>
              <a:rPr lang="en-US" altLang="ru-RU" sz="2227" dirty="0">
                <a:solidFill>
                  <a:srgbClr val="8FC54C"/>
                </a:solidFill>
                <a:latin typeface="Tahoma"/>
              </a:rPr>
              <a:t>энергоэффективных</a:t>
            </a:r>
            <a:r>
              <a:rPr lang="ru-RU" altLang="ru-RU" sz="2227" dirty="0">
                <a:solidFill>
                  <a:srgbClr val="8FC54C"/>
                </a:solidFill>
                <a:latin typeface="Tahoma"/>
              </a:rPr>
              <a:t> домов</a:t>
            </a:r>
            <a:r>
              <a:rPr lang="ru-RU" altLang="ru-RU" sz="2000" baseline="30000" dirty="0">
                <a:solidFill>
                  <a:srgbClr val="8FC54C"/>
                </a:solidFill>
                <a:latin typeface="Tahoma"/>
              </a:rPr>
              <a:t>2 </a:t>
            </a:r>
            <a:r>
              <a:rPr lang="ru-RU" altLang="ru-RU" sz="2227" dirty="0">
                <a:solidFill>
                  <a:srgbClr val="8FC54C"/>
                </a:solidFill>
                <a:latin typeface="Tahoma"/>
              </a:rPr>
              <a:t>в федеральных округах Российской Федерации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10215" y="2206488"/>
            <a:ext cx="339663" cy="309470"/>
          </a:xfrm>
          <a:prstGeom prst="rect">
            <a:avLst/>
          </a:prstGeom>
        </p:spPr>
      </p:pic>
      <p:cxnSp>
        <p:nvCxnSpPr>
          <p:cNvPr id="228" name="Прямая соединительная линия 227">
            <a:extLst>
              <a:ext uri="{FF2B5EF4-FFF2-40B4-BE49-F238E27FC236}">
                <a16:creationId xmlns:a16="http://schemas.microsoft.com/office/drawing/2014/main" id="{A17A67F8-C1B3-B0D4-42AC-A87F880CD205}"/>
              </a:ext>
            </a:extLst>
          </p:cNvPr>
          <p:cNvCxnSpPr>
            <a:cxnSpLocks/>
          </p:cNvCxnSpPr>
          <p:nvPr/>
        </p:nvCxnSpPr>
        <p:spPr>
          <a:xfrm>
            <a:off x="7036000" y="7840101"/>
            <a:ext cx="152752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3" name="Прямая соединительная линия 242">
            <a:extLst>
              <a:ext uri="{FF2B5EF4-FFF2-40B4-BE49-F238E27FC236}">
                <a16:creationId xmlns:a16="http://schemas.microsoft.com/office/drawing/2014/main" id="{4D1C1DCA-CA4C-6F27-A00D-7A8945C44D69}"/>
              </a:ext>
            </a:extLst>
          </p:cNvPr>
          <p:cNvCxnSpPr>
            <a:cxnSpLocks/>
          </p:cNvCxnSpPr>
          <p:nvPr/>
        </p:nvCxnSpPr>
        <p:spPr>
          <a:xfrm flipV="1">
            <a:off x="14650670" y="9253154"/>
            <a:ext cx="1331987" cy="576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Группа 15"/>
          <p:cNvGrpSpPr/>
          <p:nvPr/>
        </p:nvGrpSpPr>
        <p:grpSpPr>
          <a:xfrm>
            <a:off x="403245" y="4387025"/>
            <a:ext cx="1979411" cy="2278504"/>
            <a:chOff x="13173750" y="1932703"/>
            <a:chExt cx="1979411" cy="2278504"/>
          </a:xfrm>
        </p:grpSpPr>
        <p:grpSp>
          <p:nvGrpSpPr>
            <p:cNvPr id="8" name="Группа 7">
              <a:extLst>
                <a:ext uri="{FF2B5EF4-FFF2-40B4-BE49-F238E27FC236}">
                  <a16:creationId xmlns:a16="http://schemas.microsoft.com/office/drawing/2014/main" id="{CCCB46B3-4CE0-2955-975C-D51345AC2493}"/>
                </a:ext>
              </a:extLst>
            </p:cNvPr>
            <p:cNvGrpSpPr/>
            <p:nvPr/>
          </p:nvGrpSpPr>
          <p:grpSpPr>
            <a:xfrm>
              <a:off x="13178861" y="3219706"/>
              <a:ext cx="1949535" cy="348090"/>
              <a:chOff x="7415162" y="1711541"/>
              <a:chExt cx="1949553" cy="348094"/>
            </a:xfrm>
          </p:grpSpPr>
          <p:sp>
            <p:nvSpPr>
              <p:cNvPr id="174" name="Прямоугольник 173">
                <a:extLst>
                  <a:ext uri="{FF2B5EF4-FFF2-40B4-BE49-F238E27FC236}">
                    <a16:creationId xmlns:a16="http://schemas.microsoft.com/office/drawing/2014/main" id="{686158BF-FE65-4DBF-A42D-25ECB04CD569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 bwMode="auto">
              <a:xfrm>
                <a:off x="7415162" y="1752697"/>
                <a:ext cx="409250" cy="306938"/>
              </a:xfrm>
              <a:prstGeom prst="rect">
                <a:avLst/>
              </a:prstGeom>
              <a:solidFill>
                <a:srgbClr val="BADB91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defTabSz="2660628">
                  <a:defRPr/>
                </a:pPr>
                <a:endParaRPr lang="ru-RU" sz="5239">
                  <a:solidFill>
                    <a:prstClr val="white"/>
                  </a:solidFill>
                  <a:latin typeface="Tahoma"/>
                </a:endParaRPr>
              </a:p>
            </p:txBody>
          </p:sp>
          <p:sp>
            <p:nvSpPr>
              <p:cNvPr id="176" name="Прямоугольник 175">
                <a:extLst>
                  <a:ext uri="{FF2B5EF4-FFF2-40B4-BE49-F238E27FC236}">
                    <a16:creationId xmlns:a16="http://schemas.microsoft.com/office/drawing/2014/main" id="{8B653E47-EC94-429E-8D1C-8E96A61059D0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 bwMode="auto">
              <a:xfrm>
                <a:off x="7930027" y="1711541"/>
                <a:ext cx="1434688" cy="307780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0" rIns="0" bIns="0" rtlCol="0" anchor="t" anchorCtr="0">
                <a:spAutoFit/>
              </a:bodyPr>
              <a:lstStyle/>
              <a:p>
                <a:pPr defTabSz="2660628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2000" dirty="0">
                    <a:solidFill>
                      <a:srgbClr val="3E5057"/>
                    </a:solidFill>
                    <a:latin typeface="Tahoma"/>
                  </a:rPr>
                  <a:t>доля &lt; 20%</a:t>
                </a:r>
              </a:p>
            </p:txBody>
          </p:sp>
        </p:grpSp>
        <p:grpSp>
          <p:nvGrpSpPr>
            <p:cNvPr id="6" name="Группа 5">
              <a:extLst>
                <a:ext uri="{FF2B5EF4-FFF2-40B4-BE49-F238E27FC236}">
                  <a16:creationId xmlns:a16="http://schemas.microsoft.com/office/drawing/2014/main" id="{967DE1B3-7DE6-445F-0302-D0E8C113F4B0}"/>
                </a:ext>
              </a:extLst>
            </p:cNvPr>
            <p:cNvGrpSpPr/>
            <p:nvPr/>
          </p:nvGrpSpPr>
          <p:grpSpPr>
            <a:xfrm>
              <a:off x="13183334" y="1932703"/>
              <a:ext cx="1949536" cy="361669"/>
              <a:chOff x="757169" y="1711541"/>
              <a:chExt cx="1949554" cy="361673"/>
            </a:xfrm>
          </p:grpSpPr>
          <p:sp>
            <p:nvSpPr>
              <p:cNvPr id="173" name="Прямоугольник 172">
                <a:extLst>
                  <a:ext uri="{FF2B5EF4-FFF2-40B4-BE49-F238E27FC236}">
                    <a16:creationId xmlns:a16="http://schemas.microsoft.com/office/drawing/2014/main" id="{C39495D4-B4E0-4028-B59E-FFF8DEAA44C9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 bwMode="auto">
              <a:xfrm>
                <a:off x="757169" y="1766276"/>
                <a:ext cx="409250" cy="3069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defTabSz="2660628">
                  <a:defRPr/>
                </a:pPr>
                <a:endParaRPr lang="ru-RU" sz="5239">
                  <a:solidFill>
                    <a:prstClr val="white"/>
                  </a:solidFill>
                  <a:latin typeface="Tahoma"/>
                </a:endParaRPr>
              </a:p>
            </p:txBody>
          </p:sp>
          <p:sp>
            <p:nvSpPr>
              <p:cNvPr id="177" name="Прямоугольник 176">
                <a:extLst>
                  <a:ext uri="{FF2B5EF4-FFF2-40B4-BE49-F238E27FC236}">
                    <a16:creationId xmlns:a16="http://schemas.microsoft.com/office/drawing/2014/main" id="{5B458505-D111-40FB-B3CE-7F4D8D99DCCE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 bwMode="auto">
              <a:xfrm>
                <a:off x="1272035" y="1711541"/>
                <a:ext cx="1434688" cy="307780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0" rIns="0" bIns="0" rtlCol="0" anchor="t" anchorCtr="0">
                <a:spAutoFit/>
              </a:bodyPr>
              <a:lstStyle/>
              <a:p>
                <a:pPr defTabSz="2660628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2000" dirty="0">
                    <a:solidFill>
                      <a:srgbClr val="3E5057"/>
                    </a:solidFill>
                    <a:latin typeface="Tahoma"/>
                  </a:rPr>
                  <a:t>доля &lt; 10%</a:t>
                </a:r>
              </a:p>
            </p:txBody>
          </p:sp>
        </p:grpSp>
        <p:grpSp>
          <p:nvGrpSpPr>
            <p:cNvPr id="24581" name="Группа 24580">
              <a:extLst>
                <a:ext uri="{FF2B5EF4-FFF2-40B4-BE49-F238E27FC236}">
                  <a16:creationId xmlns:a16="http://schemas.microsoft.com/office/drawing/2014/main" id="{CE520D93-CA59-A028-48B2-E92819E5D70C}"/>
                </a:ext>
              </a:extLst>
            </p:cNvPr>
            <p:cNvGrpSpPr/>
            <p:nvPr/>
          </p:nvGrpSpPr>
          <p:grpSpPr>
            <a:xfrm>
              <a:off x="13173750" y="3863117"/>
              <a:ext cx="1949536" cy="348090"/>
              <a:chOff x="8074271" y="1711541"/>
              <a:chExt cx="1949554" cy="348094"/>
            </a:xfrm>
          </p:grpSpPr>
          <p:sp>
            <p:nvSpPr>
              <p:cNvPr id="175" name="Прямоугольник 174">
                <a:extLst>
                  <a:ext uri="{FF2B5EF4-FFF2-40B4-BE49-F238E27FC236}">
                    <a16:creationId xmlns:a16="http://schemas.microsoft.com/office/drawing/2014/main" id="{7563E859-2996-47EB-9E4C-3BD6D50A6CC7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8074271" y="1752697"/>
                <a:ext cx="409250" cy="306938"/>
              </a:xfrm>
              <a:prstGeom prst="rect">
                <a:avLst/>
              </a:prstGeom>
              <a:solidFill>
                <a:schemeClr val="accent6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defTabSz="2660628">
                  <a:defRPr/>
                </a:pPr>
                <a:endParaRPr lang="ru-RU" sz="5239">
                  <a:solidFill>
                    <a:prstClr val="white"/>
                  </a:solidFill>
                  <a:latin typeface="Tahoma"/>
                </a:endParaRPr>
              </a:p>
            </p:txBody>
          </p:sp>
          <p:sp>
            <p:nvSpPr>
              <p:cNvPr id="178" name="Прямоугольник 177">
                <a:extLst>
                  <a:ext uri="{FF2B5EF4-FFF2-40B4-BE49-F238E27FC236}">
                    <a16:creationId xmlns:a16="http://schemas.microsoft.com/office/drawing/2014/main" id="{DC0030C9-ACF4-44DD-8AE0-8F424277C871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 bwMode="auto">
              <a:xfrm>
                <a:off x="8589137" y="1711541"/>
                <a:ext cx="1434688" cy="307780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0" rIns="0" bIns="0" rtlCol="0" anchor="t" anchorCtr="0">
                <a:spAutoFit/>
              </a:bodyPr>
              <a:lstStyle/>
              <a:p>
                <a:pPr defTabSz="2660628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2000" dirty="0">
                    <a:solidFill>
                      <a:srgbClr val="3E5057"/>
                    </a:solidFill>
                    <a:latin typeface="Tahoma"/>
                  </a:rPr>
                  <a:t>доля &gt; 30%</a:t>
                </a:r>
              </a:p>
            </p:txBody>
          </p:sp>
        </p:grpSp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E14AD004-B34D-51CE-A0BE-96ADB3DE7176}"/>
                </a:ext>
              </a:extLst>
            </p:cNvPr>
            <p:cNvGrpSpPr/>
            <p:nvPr/>
          </p:nvGrpSpPr>
          <p:grpSpPr>
            <a:xfrm>
              <a:off x="13203625" y="2579297"/>
              <a:ext cx="1949536" cy="348090"/>
              <a:chOff x="3109294" y="1711541"/>
              <a:chExt cx="1949554" cy="348094"/>
            </a:xfrm>
          </p:grpSpPr>
          <p:sp>
            <p:nvSpPr>
              <p:cNvPr id="180" name="Прямоугольник 179">
                <a:extLst>
                  <a:ext uri="{FF2B5EF4-FFF2-40B4-BE49-F238E27FC236}">
                    <a16:creationId xmlns:a16="http://schemas.microsoft.com/office/drawing/2014/main" id="{C39495D4-B4E0-4028-B59E-FFF8DEAA44C9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 bwMode="auto">
              <a:xfrm>
                <a:off x="3109294" y="1752697"/>
                <a:ext cx="409250" cy="306938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defTabSz="2660628">
                  <a:defRPr/>
                </a:pPr>
                <a:endParaRPr lang="ru-RU" sz="5239">
                  <a:solidFill>
                    <a:prstClr val="white"/>
                  </a:solidFill>
                  <a:latin typeface="Tahoma"/>
                </a:endParaRPr>
              </a:p>
            </p:txBody>
          </p:sp>
          <p:sp>
            <p:nvSpPr>
              <p:cNvPr id="181" name="Прямоугольник 180">
                <a:extLst>
                  <a:ext uri="{FF2B5EF4-FFF2-40B4-BE49-F238E27FC236}">
                    <a16:creationId xmlns:a16="http://schemas.microsoft.com/office/drawing/2014/main" id="{5B458505-D111-40FB-B3CE-7F4D8D99DCCE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 bwMode="auto">
              <a:xfrm>
                <a:off x="3624160" y="1711541"/>
                <a:ext cx="1434688" cy="307780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0" tIns="0" rIns="0" bIns="0" rtlCol="0" anchor="t" anchorCtr="0">
                <a:spAutoFit/>
              </a:bodyPr>
              <a:lstStyle/>
              <a:p>
                <a:pPr defTabSz="2660628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2000" dirty="0">
                    <a:solidFill>
                      <a:srgbClr val="3E5057"/>
                    </a:solidFill>
                    <a:latin typeface="Tahoma"/>
                  </a:rPr>
                  <a:t>доля ≥ 10%</a:t>
                </a:r>
              </a:p>
            </p:txBody>
          </p:sp>
        </p:grpSp>
      </p:grpSp>
      <p:grpSp>
        <p:nvGrpSpPr>
          <p:cNvPr id="24580" name="Группа 24579">
            <a:extLst>
              <a:ext uri="{FF2B5EF4-FFF2-40B4-BE49-F238E27FC236}">
                <a16:creationId xmlns:a16="http://schemas.microsoft.com/office/drawing/2014/main" id="{5D8AE5AA-B3F1-EE9F-38C5-0A591F9156B4}"/>
              </a:ext>
            </a:extLst>
          </p:cNvPr>
          <p:cNvGrpSpPr/>
          <p:nvPr/>
        </p:nvGrpSpPr>
        <p:grpSpPr>
          <a:xfrm>
            <a:off x="459127" y="6917913"/>
            <a:ext cx="3329654" cy="307777"/>
            <a:chOff x="10390355" y="1710123"/>
            <a:chExt cx="3329685" cy="307780"/>
          </a:xfrm>
        </p:grpSpPr>
        <p:sp>
          <p:nvSpPr>
            <p:cNvPr id="24579" name="Прямоугольник 24578">
              <a:extLst>
                <a:ext uri="{FF2B5EF4-FFF2-40B4-BE49-F238E27FC236}">
                  <a16:creationId xmlns:a16="http://schemas.microsoft.com/office/drawing/2014/main" id="{F5CE0CBD-196D-37CD-E5D2-63A302E86614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auto">
            <a:xfrm>
              <a:off x="10807530" y="1710123"/>
              <a:ext cx="2912510" cy="3077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685794">
                <a:spcBef>
                  <a:spcPct val="0"/>
                </a:spcBef>
              </a:pPr>
              <a:r>
                <a:rPr lang="ru-RU" sz="2000" dirty="0">
                  <a:solidFill>
                    <a:schemeClr val="tx1"/>
                  </a:solidFill>
                  <a:latin typeface="Tahoma"/>
                  <a:ea typeface="+mj-ea"/>
                  <a:cs typeface="+mj-cs"/>
                </a:rPr>
                <a:t>Пилотные проекты</a:t>
              </a:r>
            </a:p>
          </p:txBody>
        </p:sp>
        <p:sp>
          <p:nvSpPr>
            <p:cNvPr id="24577" name="Овал 24576">
              <a:extLst>
                <a:ext uri="{FF2B5EF4-FFF2-40B4-BE49-F238E27FC236}">
                  <a16:creationId xmlns:a16="http://schemas.microsoft.com/office/drawing/2014/main" id="{5AE2906E-5254-2CB7-532B-AA4EABCED92D}"/>
                </a:ext>
              </a:extLst>
            </p:cNvPr>
            <p:cNvSpPr/>
            <p:nvPr/>
          </p:nvSpPr>
          <p:spPr>
            <a:xfrm>
              <a:off x="10390355" y="1757429"/>
              <a:ext cx="216000" cy="216000"/>
            </a:xfrm>
            <a:prstGeom prst="ellipse">
              <a:avLst/>
            </a:prstGeom>
            <a:solidFill>
              <a:schemeClr val="accent4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425739">
                <a:defRPr/>
              </a:pPr>
              <a:endParaRPr lang="ru-RU" sz="3126">
                <a:solidFill>
                  <a:prstClr val="white"/>
                </a:solidFill>
                <a:latin typeface="Tahoma"/>
              </a:endParaRPr>
            </a:p>
          </p:txBody>
        </p:sp>
      </p:grpSp>
      <p:sp>
        <p:nvSpPr>
          <p:cNvPr id="213" name="Прямоугольник 212"/>
          <p:cNvSpPr/>
          <p:nvPr/>
        </p:nvSpPr>
        <p:spPr>
          <a:xfrm>
            <a:off x="417245" y="9914143"/>
            <a:ext cx="18016608" cy="6597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425714">
              <a:lnSpc>
                <a:spcPct val="107000"/>
              </a:lnSpc>
              <a:defRPr/>
            </a:pPr>
            <a:r>
              <a:rPr lang="ru-RU" sz="1336" baseline="30000" dirty="0">
                <a:solidFill>
                  <a:schemeClr val="bg1">
                    <a:lumMod val="65000"/>
                  </a:schemeClr>
                </a:solidFill>
                <a:latin typeface="Tahoma"/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sz="1336" dirty="0">
                <a:solidFill>
                  <a:schemeClr val="bg1">
                    <a:lumMod val="65000"/>
                  </a:schemeClr>
                </a:solidFill>
                <a:latin typeface="Tahoma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336" dirty="0">
                <a:solidFill>
                  <a:schemeClr val="bg1">
                    <a:lumMod val="65000"/>
                  </a:schemeClr>
                </a:solidFill>
                <a:latin typeface="Tahoma"/>
                <a:ea typeface="Calibri" panose="020F0502020204030204" pitchFamily="34" charset="0"/>
                <a:cs typeface="Times New Roman" panose="02020603050405020304" pitchFamily="18" charset="0"/>
              </a:rPr>
              <a:t>В соответствии с 6 критериями ГОСТ Р для МКД: </a:t>
            </a:r>
            <a:r>
              <a:rPr lang="ru-RU" sz="1336" dirty="0">
                <a:solidFill>
                  <a:schemeClr val="bg1">
                    <a:lumMod val="6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ласс энергоэффективности А, А+ и А++, наличие спортивных и игровых площадок, озеленение территории, доступность для инвалидов, площадки для сбора отходов, доступность здания </a:t>
            </a:r>
            <a:endParaRPr lang="ru-RU" sz="1336" dirty="0">
              <a:solidFill>
                <a:schemeClr val="bg1">
                  <a:lumMod val="65000"/>
                </a:schemeClr>
              </a:solidFill>
              <a:latin typeface="Tahoma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defTabSz="1425714">
              <a:lnSpc>
                <a:spcPct val="107000"/>
              </a:lnSpc>
              <a:defRPr/>
            </a:pPr>
            <a:r>
              <a:rPr lang="ru-RU" sz="1336" baseline="30000" dirty="0">
                <a:solidFill>
                  <a:schemeClr val="bg1">
                    <a:lumMod val="65000"/>
                  </a:schemeClr>
                </a:solidFill>
                <a:latin typeface="Tahoma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ru-RU" sz="1336" dirty="0">
                <a:solidFill>
                  <a:schemeClr val="bg1">
                    <a:lumMod val="65000"/>
                  </a:schemeClr>
                </a:solidFill>
                <a:latin typeface="Tahoma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336" dirty="0" err="1">
                <a:solidFill>
                  <a:schemeClr val="bg1">
                    <a:lumMod val="65000"/>
                  </a:schemeClr>
                </a:solidFill>
                <a:latin typeface="Tahoma"/>
                <a:ea typeface="Calibri" panose="020F0502020204030204" pitchFamily="34" charset="0"/>
                <a:cs typeface="Times New Roman" panose="02020603050405020304" pitchFamily="18" charset="0"/>
              </a:rPr>
              <a:t>От</a:t>
            </a:r>
            <a:r>
              <a:rPr lang="en-US" sz="1336" dirty="0">
                <a:solidFill>
                  <a:schemeClr val="bg1">
                    <a:lumMod val="65000"/>
                  </a:schemeClr>
                </a:solidFill>
                <a:latin typeface="Tahoma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336" dirty="0" err="1">
                <a:solidFill>
                  <a:schemeClr val="bg1">
                    <a:lumMod val="65000"/>
                  </a:schemeClr>
                </a:solidFill>
                <a:latin typeface="Tahoma"/>
                <a:ea typeface="Calibri" panose="020F0502020204030204" pitchFamily="34" charset="0"/>
                <a:cs typeface="Times New Roman" panose="02020603050405020304" pitchFamily="18" charset="0"/>
              </a:rPr>
              <a:t>общего</a:t>
            </a:r>
            <a:r>
              <a:rPr lang="en-US" sz="1336" dirty="0">
                <a:solidFill>
                  <a:schemeClr val="bg1">
                    <a:lumMod val="65000"/>
                  </a:schemeClr>
                </a:solidFill>
                <a:latin typeface="Tahoma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336" dirty="0" err="1">
                <a:solidFill>
                  <a:schemeClr val="bg1">
                    <a:lumMod val="65000"/>
                  </a:schemeClr>
                </a:solidFill>
                <a:latin typeface="Tahoma"/>
                <a:ea typeface="Calibri" panose="020F0502020204030204" pitchFamily="34" charset="0"/>
                <a:cs typeface="Times New Roman" panose="02020603050405020304" pitchFamily="18" charset="0"/>
              </a:rPr>
              <a:t>количества</a:t>
            </a:r>
            <a:r>
              <a:rPr lang="en-US" sz="1336" dirty="0">
                <a:solidFill>
                  <a:schemeClr val="bg1">
                    <a:lumMod val="65000"/>
                  </a:schemeClr>
                </a:solidFill>
                <a:latin typeface="Tahoma"/>
                <a:ea typeface="Calibri" panose="020F0502020204030204" pitchFamily="34" charset="0"/>
                <a:cs typeface="Times New Roman" panose="02020603050405020304" pitchFamily="18" charset="0"/>
              </a:rPr>
              <a:t> энергоэффективных </a:t>
            </a:r>
            <a:r>
              <a:rPr lang="en-US" sz="1336" dirty="0" err="1">
                <a:solidFill>
                  <a:schemeClr val="bg1">
                    <a:lumMod val="65000"/>
                  </a:schemeClr>
                </a:solidFill>
                <a:latin typeface="Tahoma"/>
                <a:ea typeface="Calibri" panose="020F0502020204030204" pitchFamily="34" charset="0"/>
                <a:cs typeface="Times New Roman" panose="02020603050405020304" pitchFamily="18" charset="0"/>
              </a:rPr>
              <a:t>домов</a:t>
            </a:r>
            <a:r>
              <a:rPr lang="en-US" sz="1336" dirty="0">
                <a:solidFill>
                  <a:schemeClr val="bg1">
                    <a:lumMod val="65000"/>
                  </a:schemeClr>
                </a:solidFill>
                <a:latin typeface="Tahoma"/>
                <a:ea typeface="Calibri" panose="020F0502020204030204" pitchFamily="34" charset="0"/>
                <a:cs typeface="Times New Roman" panose="02020603050405020304" pitchFamily="18" charset="0"/>
              </a:rPr>
              <a:t> в </a:t>
            </a:r>
            <a:r>
              <a:rPr lang="en-US" sz="1336" dirty="0" err="1">
                <a:solidFill>
                  <a:schemeClr val="bg1">
                    <a:lumMod val="65000"/>
                  </a:schemeClr>
                </a:solidFill>
                <a:latin typeface="Tahoma"/>
                <a:ea typeface="Calibri" panose="020F0502020204030204" pitchFamily="34" charset="0"/>
                <a:cs typeface="Times New Roman" panose="02020603050405020304" pitchFamily="18" charset="0"/>
              </a:rPr>
              <a:t>России</a:t>
            </a:r>
            <a:endParaRPr lang="ru-RU" sz="1336" dirty="0">
              <a:solidFill>
                <a:schemeClr val="bg1">
                  <a:lumMod val="65000"/>
                </a:schemeClr>
              </a:solidFill>
              <a:latin typeface="Tahoma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7" name="Заголовок 3"/>
          <p:cNvSpPr txBox="1">
            <a:spLocks/>
          </p:cNvSpPr>
          <p:nvPr/>
        </p:nvSpPr>
        <p:spPr bwMode="auto">
          <a:xfrm>
            <a:off x="382591" y="304609"/>
            <a:ext cx="18293206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18288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2860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27432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2004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defTabSz="1422394">
              <a:defRPr/>
            </a:pPr>
            <a:r>
              <a:rPr lang="ru-RU" altLang="ru-RU" sz="3200" b="1" dirty="0">
                <a:solidFill>
                  <a:srgbClr val="3E5057"/>
                </a:solidFill>
              </a:rPr>
              <a:t>ЕИСЖС – единый источник информации о зеленых</a:t>
            </a:r>
            <a:r>
              <a:rPr lang="ru-RU" altLang="ru-RU" sz="3200" b="1" baseline="30000" dirty="0">
                <a:solidFill>
                  <a:srgbClr val="3E5057"/>
                </a:solidFill>
              </a:rPr>
              <a:t>1</a:t>
            </a:r>
            <a:r>
              <a:rPr lang="ru-RU" altLang="ru-RU" sz="3200" b="1" dirty="0">
                <a:solidFill>
                  <a:srgbClr val="3E5057"/>
                </a:solidFill>
              </a:rPr>
              <a:t>, в </a:t>
            </a:r>
            <a:r>
              <a:rPr lang="ru-RU" altLang="ru-RU" sz="3200" b="1" dirty="0" err="1">
                <a:solidFill>
                  <a:srgbClr val="3E5057"/>
                </a:solidFill>
              </a:rPr>
              <a:t>т.ч</a:t>
            </a:r>
            <a:r>
              <a:rPr lang="ru-RU" altLang="ru-RU" sz="3200" b="1" dirty="0">
                <a:solidFill>
                  <a:srgbClr val="3E5057"/>
                </a:solidFill>
              </a:rPr>
              <a:t>. энергоэффективных, домах и основа для маркировки кредитов и финансовых инструментов</a:t>
            </a:r>
          </a:p>
        </p:txBody>
      </p:sp>
      <p:grpSp>
        <p:nvGrpSpPr>
          <p:cNvPr id="219" name="Группа 218"/>
          <p:cNvGrpSpPr/>
          <p:nvPr/>
        </p:nvGrpSpPr>
        <p:grpSpPr>
          <a:xfrm>
            <a:off x="410532" y="8071967"/>
            <a:ext cx="8152988" cy="1711016"/>
            <a:chOff x="3845870" y="2121228"/>
            <a:chExt cx="5403278" cy="1711016"/>
          </a:xfrm>
        </p:grpSpPr>
        <p:grpSp>
          <p:nvGrpSpPr>
            <p:cNvPr id="220" name="Группа 219"/>
            <p:cNvGrpSpPr/>
            <p:nvPr/>
          </p:nvGrpSpPr>
          <p:grpSpPr>
            <a:xfrm>
              <a:off x="3845873" y="2121228"/>
              <a:ext cx="5403275" cy="419147"/>
              <a:chOff x="4695422" y="2836468"/>
              <a:chExt cx="5403275" cy="419147"/>
            </a:xfrm>
          </p:grpSpPr>
          <p:cxnSp>
            <p:nvCxnSpPr>
              <p:cNvPr id="223" name="Google Shape;56;p6">
                <a:extLst>
                  <a:ext uri="{FF2B5EF4-FFF2-40B4-BE49-F238E27FC236}">
                    <a16:creationId xmlns:a16="http://schemas.microsoft.com/office/drawing/2014/main" id="{3FC6C893-1373-CA74-8F11-2600D7AD3F1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95422" y="3189150"/>
                <a:ext cx="5403275" cy="879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accent6"/>
                </a:solidFill>
                <a:prstDash val="lgDash"/>
                <a:round/>
                <a:headEnd type="none" w="sm" len="sm"/>
                <a:tailEnd type="stealth" w="lg" len="lg"/>
              </a:ln>
            </p:spPr>
          </p:cxnSp>
          <p:cxnSp>
            <p:nvCxnSpPr>
              <p:cNvPr id="224" name="Google Shape;56;p6">
                <a:extLst>
                  <a:ext uri="{FF2B5EF4-FFF2-40B4-BE49-F238E27FC236}">
                    <a16:creationId xmlns:a16="http://schemas.microsoft.com/office/drawing/2014/main" id="{3FC6C893-1373-CA74-8F11-2600D7AD3F1F}"/>
                  </a:ext>
                </a:extLst>
              </p:cNvPr>
              <p:cNvCxnSpPr>
                <a:cxnSpLocks/>
                <a:endCxn id="238" idx="1"/>
              </p:cNvCxnSpPr>
              <p:nvPr/>
            </p:nvCxnSpPr>
            <p:spPr>
              <a:xfrm>
                <a:off x="4821422" y="3190029"/>
                <a:ext cx="2596948" cy="1405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accent6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sp>
            <p:nvSpPr>
              <p:cNvPr id="225" name="TextBox 224"/>
              <p:cNvSpPr txBox="1"/>
              <p:nvPr/>
            </p:nvSpPr>
            <p:spPr>
              <a:xfrm>
                <a:off x="4695422" y="2836468"/>
                <a:ext cx="465015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r>
                  <a:rPr lang="ru-RU" sz="1600" b="1" dirty="0">
                    <a:ea typeface="Tahoma" panose="020B0604030504040204" pitchFamily="34" charset="0"/>
                    <a:cs typeface="Tahoma" panose="020B0604030504040204" pitchFamily="34" charset="0"/>
                  </a:rPr>
                  <a:t>2021</a:t>
                </a:r>
              </a:p>
            </p:txBody>
          </p:sp>
          <p:sp>
            <p:nvSpPr>
              <p:cNvPr id="237" name="TextBox 236"/>
              <p:cNvSpPr txBox="1"/>
              <p:nvPr/>
            </p:nvSpPr>
            <p:spPr>
              <a:xfrm>
                <a:off x="7412977" y="2842953"/>
                <a:ext cx="461980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>
                <a:defPPr>
                  <a:defRPr lang="ru-RU"/>
                </a:defPPr>
                <a:lvl1pPr algn="ctr">
                  <a:defRPr sz="1100" b="1">
                    <a:ea typeface="Tahoma" panose="020B0604030504040204" pitchFamily="34" charset="0"/>
                    <a:cs typeface="Tahoma" panose="020B0604030504040204" pitchFamily="34" charset="0"/>
                  </a:defRPr>
                </a:lvl1pPr>
              </a:lstStyle>
              <a:p>
                <a:pPr algn="l"/>
                <a:r>
                  <a:rPr lang="ru-RU" sz="1600" dirty="0"/>
                  <a:t>2024</a:t>
                </a:r>
              </a:p>
            </p:txBody>
          </p:sp>
          <p:sp>
            <p:nvSpPr>
              <p:cNvPr id="238" name="Google Shape;57;p6">
                <a:extLst>
                  <a:ext uri="{FF2B5EF4-FFF2-40B4-BE49-F238E27FC236}">
                    <a16:creationId xmlns:a16="http://schemas.microsoft.com/office/drawing/2014/main" id="{0381B98C-0A5C-45BE-4442-0E0875C26A15}"/>
                  </a:ext>
                </a:extLst>
              </p:cNvPr>
              <p:cNvSpPr/>
              <p:nvPr/>
            </p:nvSpPr>
            <p:spPr>
              <a:xfrm>
                <a:off x="7418369" y="3127252"/>
                <a:ext cx="93417" cy="128363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6"/>
                </a:solidFill>
              </a:ln>
            </p:spPr>
            <p:txBody>
              <a:bodyPr spcFirstLastPara="1" wrap="square" lIns="101824" tIns="50898" rIns="101824" bIns="50898" anchor="ctr" anchorCtr="0">
                <a:noAutofit/>
              </a:bodyPr>
              <a:lstStyle/>
              <a:p>
                <a:pPr algn="ctr"/>
                <a:endParaRPr sz="280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9" name="Google Shape;57;p6">
                <a:extLst>
                  <a:ext uri="{FF2B5EF4-FFF2-40B4-BE49-F238E27FC236}">
                    <a16:creationId xmlns:a16="http://schemas.microsoft.com/office/drawing/2014/main" id="{0381B98C-0A5C-45BE-4442-0E0875C26A15}"/>
                  </a:ext>
                </a:extLst>
              </p:cNvPr>
              <p:cNvSpPr/>
              <p:nvPr/>
            </p:nvSpPr>
            <p:spPr>
              <a:xfrm>
                <a:off x="4695422" y="3127029"/>
                <a:ext cx="77641" cy="110645"/>
              </a:xfrm>
              <a:prstGeom prst="rect">
                <a:avLst/>
              </a:prstGeom>
              <a:solidFill>
                <a:schemeClr val="accent6"/>
              </a:solidFill>
              <a:ln>
                <a:solidFill>
                  <a:schemeClr val="accent6"/>
                </a:solidFill>
              </a:ln>
            </p:spPr>
            <p:txBody>
              <a:bodyPr spcFirstLastPara="1" wrap="square" lIns="101824" tIns="50898" rIns="101824" bIns="50898" anchor="ctr" anchorCtr="0">
                <a:noAutofit/>
              </a:bodyPr>
              <a:lstStyle/>
              <a:p>
                <a:pPr algn="ctr"/>
                <a:endParaRPr sz="2800" dirty="0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FF159DF0-F80A-3E45-9CEB-155735E8BF57}"/>
                </a:ext>
              </a:extLst>
            </p:cNvPr>
            <p:cNvSpPr txBox="1"/>
            <p:nvPr/>
          </p:nvSpPr>
          <p:spPr>
            <a:xfrm>
              <a:off x="3845870" y="2616527"/>
              <a:ext cx="2723346" cy="12157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  <a:buClr>
                  <a:schemeClr val="accent6"/>
                </a:buClr>
              </a:pPr>
              <a:r>
                <a:rPr lang="ru-RU" sz="1600" b="1" dirty="0">
                  <a:solidFill>
                    <a:schemeClr val="accent6"/>
                  </a:solidFill>
                </a:rPr>
                <a:t>Зеленый дом</a:t>
              </a:r>
              <a:r>
                <a:rPr lang="ru-RU" sz="1200" b="1" dirty="0">
                  <a:solidFill>
                    <a:schemeClr val="accent6"/>
                  </a:solidFill>
                </a:rPr>
                <a:t/>
              </a:r>
              <a:br>
                <a:rPr lang="ru-RU" sz="1200" b="1" dirty="0">
                  <a:solidFill>
                    <a:schemeClr val="accent6"/>
                  </a:solidFill>
                </a:rPr>
              </a:br>
              <a:r>
                <a:rPr lang="ru-RU" sz="1400" b="1" dirty="0"/>
                <a:t>– 6 критериев ГОСТ Р, </a:t>
              </a:r>
              <a:r>
                <a:rPr lang="ru-RU" sz="1400" dirty="0"/>
                <a:t>в </a:t>
              </a:r>
              <a:r>
                <a:rPr lang="ru-RU" sz="1400" dirty="0" err="1"/>
                <a:t>т.ч</a:t>
              </a:r>
              <a:r>
                <a:rPr lang="ru-RU" sz="1400" dirty="0"/>
                <a:t>. класс энергоэффективности А и выше</a:t>
              </a:r>
              <a:endParaRPr lang="ru-RU" sz="1400" baseline="30000" dirty="0"/>
            </a:p>
            <a:p>
              <a:pPr>
                <a:spcAft>
                  <a:spcPts val="300"/>
                </a:spcAft>
                <a:buClr>
                  <a:schemeClr val="accent6"/>
                </a:buClr>
              </a:pPr>
              <a:r>
                <a:rPr lang="ru-RU" sz="1400" b="1" dirty="0"/>
                <a:t>Источник: </a:t>
              </a:r>
              <a:r>
                <a:rPr lang="ru-RU" sz="1400" dirty="0"/>
                <a:t>проектная декларация</a:t>
              </a:r>
            </a:p>
            <a:p>
              <a:pPr>
                <a:spcAft>
                  <a:spcPts val="300"/>
                </a:spcAft>
                <a:buClr>
                  <a:schemeClr val="accent6"/>
                </a:buClr>
              </a:pPr>
              <a:r>
                <a:rPr lang="en-US" sz="1400" b="1" dirty="0" err="1">
                  <a:ea typeface="Tahoma"/>
                  <a:cs typeface="Tahoma"/>
                  <a:sym typeface="Tahoma"/>
                </a:rPr>
                <a:t>Доля</a:t>
              </a:r>
              <a:r>
                <a:rPr lang="en-US" sz="1400" b="1" dirty="0">
                  <a:ea typeface="Tahoma"/>
                  <a:cs typeface="Tahoma"/>
                  <a:sym typeface="Tahoma"/>
                </a:rPr>
                <a:t> </a:t>
              </a:r>
              <a:r>
                <a:rPr lang="ru-RU" sz="1400" b="1" dirty="0">
                  <a:ea typeface="Tahoma"/>
                  <a:cs typeface="Tahoma"/>
                  <a:sym typeface="Tahoma"/>
                </a:rPr>
                <a:t>«зеленых домов» </a:t>
              </a:r>
              <a:r>
                <a:rPr lang="en-US" sz="1400" dirty="0">
                  <a:ea typeface="Tahoma"/>
                  <a:cs typeface="Tahoma"/>
                  <a:sym typeface="Tahoma"/>
                </a:rPr>
                <a:t>в ЕИСЖС </a:t>
              </a:r>
              <a:r>
                <a:rPr lang="ru-RU" sz="1400" b="1" dirty="0">
                  <a:ea typeface="Tahoma"/>
                  <a:cs typeface="Tahoma"/>
                  <a:sym typeface="Tahoma"/>
                </a:rPr>
                <a:t>– </a:t>
              </a:r>
              <a:r>
                <a:rPr lang="en-US" sz="1400" b="1" dirty="0">
                  <a:ea typeface="Tahoma"/>
                  <a:cs typeface="Tahoma"/>
                  <a:sym typeface="Tahoma"/>
                </a:rPr>
                <a:t>1</a:t>
              </a:r>
              <a:r>
                <a:rPr lang="ru-RU" sz="1400" b="1" dirty="0">
                  <a:ea typeface="Tahoma"/>
                  <a:cs typeface="Tahoma"/>
                  <a:sym typeface="Tahoma"/>
                </a:rPr>
                <a:t>8</a:t>
              </a:r>
              <a:r>
                <a:rPr lang="en-US" sz="1400" b="1" dirty="0">
                  <a:ea typeface="Tahoma"/>
                  <a:cs typeface="Tahoma"/>
                  <a:sym typeface="Tahoma"/>
                </a:rPr>
                <a:t>%</a:t>
              </a:r>
              <a:endParaRPr lang="ru-RU" sz="1400" dirty="0">
                <a:ea typeface="Tahoma"/>
                <a:cs typeface="Tahoma"/>
                <a:sym typeface="Tahoma"/>
              </a:endParaRP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FF159DF0-F80A-3E45-9CEB-155735E8BF57}"/>
                </a:ext>
              </a:extLst>
            </p:cNvPr>
            <p:cNvSpPr txBox="1"/>
            <p:nvPr/>
          </p:nvSpPr>
          <p:spPr>
            <a:xfrm>
              <a:off x="6569216" y="2612982"/>
              <a:ext cx="2665575" cy="117724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300"/>
                </a:spcAft>
                <a:buClr>
                  <a:schemeClr val="accent6"/>
                </a:buClr>
              </a:pPr>
              <a:r>
                <a:rPr lang="ru-RU" sz="1600" b="1" dirty="0">
                  <a:solidFill>
                    <a:schemeClr val="accent6"/>
                  </a:solidFill>
                </a:rPr>
                <a:t>Зеленый дом 3.0</a:t>
              </a:r>
              <a:r>
                <a:rPr lang="ru-RU" sz="1200" b="1" dirty="0">
                  <a:solidFill>
                    <a:schemeClr val="accent6"/>
                  </a:solidFill>
                </a:rPr>
                <a:t/>
              </a:r>
              <a:br>
                <a:rPr lang="ru-RU" sz="1200" b="1" dirty="0">
                  <a:solidFill>
                    <a:schemeClr val="accent6"/>
                  </a:solidFill>
                </a:rPr>
              </a:br>
              <a:r>
                <a:rPr lang="ru-RU" sz="1400" b="1" dirty="0"/>
                <a:t>– более 40 критериев ГОСТ Р</a:t>
              </a:r>
            </a:p>
            <a:p>
              <a:pPr>
                <a:spcAft>
                  <a:spcPts val="600"/>
                </a:spcAft>
                <a:buClr>
                  <a:schemeClr val="accent6"/>
                </a:buClr>
              </a:pPr>
              <a:r>
                <a:rPr lang="ru-RU" sz="1400" b="1" dirty="0"/>
                <a:t>Источники: </a:t>
              </a:r>
              <a:r>
                <a:rPr lang="ru-RU" sz="1400" dirty="0"/>
                <a:t>проектная декларация, машиночитаемая ОПЗ, чек-боксы ЕИСЖС, корректировка ГОСТ Р, введение ТИМ</a:t>
              </a:r>
            </a:p>
          </p:txBody>
        </p:sp>
      </p:grpSp>
      <p:pic>
        <p:nvPicPr>
          <p:cNvPr id="242" name="Picture 17" descr="https://res.cloudinary.com/amagroupx/image/upload/spb/flats/3017/kvartry-v-1051-zhk-atlas-1611242848_789.jpg">
            <a:extLst>
              <a:ext uri="{FF2B5EF4-FFF2-40B4-BE49-F238E27FC236}">
                <a16:creationId xmlns:a16="http://schemas.microsoft.com/office/drawing/2014/main" id="{22E8CAAB-DBA0-4F20-9657-0B215C690D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38" t="2661" r="18130" b="2549"/>
          <a:stretch/>
        </p:blipFill>
        <p:spPr bwMode="auto">
          <a:xfrm>
            <a:off x="2213152" y="2110109"/>
            <a:ext cx="1110855" cy="766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" name="Picture 21" descr="https://avatars.mds.yandex.net/get-zen_doc/1581470/pub_5cd2dc26a682f400afb9d258_5cd2dce75631d800b31347c8/scale_1200">
            <a:extLst>
              <a:ext uri="{FF2B5EF4-FFF2-40B4-BE49-F238E27FC236}">
                <a16:creationId xmlns:a16="http://schemas.microsoft.com/office/drawing/2014/main" id="{61273622-C81B-4765-8169-5384CA7F9B8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35" t="-268" r="1270" b="6137"/>
          <a:stretch/>
        </p:blipFill>
        <p:spPr bwMode="auto">
          <a:xfrm>
            <a:off x="1645187" y="3343631"/>
            <a:ext cx="1029046" cy="724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595255" y="7226752"/>
            <a:ext cx="1326925" cy="64284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0733970" y="8449980"/>
            <a:ext cx="1428653" cy="680984"/>
          </a:xfrm>
          <a:prstGeom prst="rect">
            <a:avLst/>
          </a:prstGeom>
        </p:spPr>
      </p:pic>
      <p:pic>
        <p:nvPicPr>
          <p:cNvPr id="247" name="Picture 17" descr="В центре Владивостока на деньги Банка ДОМ.РФ построят жилой комплекс -  Новости ЕРЗ.РФ">
            <a:extLst>
              <a:ext uri="{FF2B5EF4-FFF2-40B4-BE49-F238E27FC236}">
                <a16:creationId xmlns:a16="http://schemas.microsoft.com/office/drawing/2014/main" id="{F9ABAE02-5F19-46E0-ADCE-EC3DDD883E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965" b="14111"/>
          <a:stretch/>
        </p:blipFill>
        <p:spPr bwMode="auto">
          <a:xfrm>
            <a:off x="17026675" y="8596287"/>
            <a:ext cx="1301762" cy="814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84919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>
            <a:extLst>
              <a:ext uri="{FF2B5EF4-FFF2-40B4-BE49-F238E27FC236}">
                <a16:creationId xmlns:a16="http://schemas.microsoft.com/office/drawing/2014/main" id="{79770BED-8BDA-26AF-0DF8-7AE5985B2A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45904" y="1095769"/>
          <a:ext cx="2029" cy="26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4" name="Слайд think-cell" r:id="rId16" imgW="7772400" imgH="10058400" progId="TCLayout.ActiveDocument.1">
                  <p:embed/>
                </p:oleObj>
              </mc:Choice>
              <mc:Fallback>
                <p:oleObj name="Слайд think-cell" r:id="rId16" imgW="7772400" imgH="10058400" progId="TCLayout.ActiveDocument.1">
                  <p:embed/>
                  <p:pic>
                    <p:nvPicPr>
                      <p:cNvPr id="16" name="Объект 15" hidden="1">
                        <a:extLst>
                          <a:ext uri="{FF2B5EF4-FFF2-40B4-BE49-F238E27FC236}">
                            <a16:creationId xmlns:a16="http://schemas.microsoft.com/office/drawing/2014/main" id="{79770BED-8BDA-26AF-0DF8-7AE5985B2A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945904" y="1095769"/>
                        <a:ext cx="2029" cy="26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E6EDAA48-E5A7-6EC2-3DD0-B56ECD000DAB}"/>
              </a:ext>
            </a:extLst>
          </p:cNvPr>
          <p:cNvGrpSpPr/>
          <p:nvPr/>
        </p:nvGrpSpPr>
        <p:grpSpPr>
          <a:xfrm>
            <a:off x="764301" y="4186803"/>
            <a:ext cx="17762466" cy="1596051"/>
            <a:chOff x="360000" y="2631852"/>
            <a:chExt cx="8543783" cy="767704"/>
          </a:xfrm>
        </p:grpSpPr>
        <p:sp>
          <p:nvSpPr>
            <p:cNvPr id="28" name="TextBox 27"/>
            <p:cNvSpPr txBox="1"/>
            <p:nvPr/>
          </p:nvSpPr>
          <p:spPr>
            <a:xfrm>
              <a:off x="371197" y="2913179"/>
              <a:ext cx="8532586" cy="4863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3584" indent="-283584">
                <a:spcAft>
                  <a:spcPts val="424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2079" dirty="0"/>
                <a:t>Возможный вариант </a:t>
              </a:r>
              <a:r>
                <a:rPr lang="ru-RU" sz="2079" b="1" dirty="0"/>
                <a:t>развития качества жилого фонда за счет внедрения механизмов популяризации зеленого строительства</a:t>
              </a:r>
              <a:r>
                <a:rPr lang="ru-RU" sz="2079" dirty="0"/>
                <a:t>, в т.ч. сертификации, в краткосрочной и долгосрочной перспективах</a:t>
              </a:r>
            </a:p>
            <a:p>
              <a:pPr marL="283584" indent="-283584">
                <a:spcAft>
                  <a:spcPts val="424"/>
                </a:spcAft>
                <a:buClr>
                  <a:schemeClr val="accent6"/>
                </a:buClr>
                <a:buFont typeface="Wingdings" panose="05000000000000000000" pitchFamily="2" charset="2"/>
                <a:buChar char="§"/>
              </a:pPr>
              <a:r>
                <a:rPr lang="ru-RU" sz="2079" b="1" dirty="0"/>
                <a:t>Формирование мер поддержки зеленого строительства </a:t>
              </a:r>
              <a:r>
                <a:rPr lang="ru-RU" sz="2079" dirty="0"/>
                <a:t>станет ключевым компонентом спроса на строительство зеленых зданий</a:t>
              </a:r>
            </a:p>
          </p:txBody>
        </p:sp>
        <p:sp>
          <p:nvSpPr>
            <p:cNvPr id="29" name="Rectangle 11">
              <a:extLst>
                <a:ext uri="{FF2B5EF4-FFF2-40B4-BE49-F238E27FC236}">
                  <a16:creationId xmlns:a16="http://schemas.microsoft.com/office/drawing/2014/main" id="{05D17708-087F-594D-9CC7-49AF6C9AF70F}"/>
                </a:ext>
              </a:extLst>
            </p:cNvPr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360000" y="2631852"/>
              <a:ext cx="6064754" cy="18468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>
                <a:defRPr sz="1100" b="1"/>
              </a:lvl1pPr>
            </a:lstStyle>
            <a:p>
              <a:r>
                <a:rPr lang="ru-RU" sz="2495" dirty="0">
                  <a:solidFill>
                    <a:schemeClr val="accent6"/>
                  </a:solidFill>
                </a:rPr>
                <a:t>Траектория наращивания доли зеленого жилого фонда </a:t>
              </a:r>
            </a:p>
          </p:txBody>
        </p:sp>
      </p:grpSp>
      <p:sp>
        <p:nvSpPr>
          <p:cNvPr id="50" name="Google Shape;75;p17">
            <a:extLst>
              <a:ext uri="{FF2B5EF4-FFF2-40B4-BE49-F238E27FC236}">
                <a16:creationId xmlns:a16="http://schemas.microsoft.com/office/drawing/2014/main" id="{0C7BBE73-957B-423E-8498-798451C71421}"/>
              </a:ext>
            </a:extLst>
          </p:cNvPr>
          <p:cNvSpPr txBox="1"/>
          <p:nvPr/>
        </p:nvSpPr>
        <p:spPr>
          <a:xfrm>
            <a:off x="748437" y="1711957"/>
            <a:ext cx="8382500" cy="6376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74844" tIns="74844" rIns="74844" bIns="74844" anchor="ctr" anchorCtr="0">
            <a:spAutoFit/>
          </a:bodyPr>
          <a:lstStyle/>
          <a:p>
            <a:pPr algn="ctr">
              <a:spcAft>
                <a:spcPts val="832"/>
              </a:spcAft>
              <a:buClr>
                <a:schemeClr val="accent6"/>
              </a:buClr>
              <a:buSzPts val="1000"/>
            </a:pPr>
            <a:r>
              <a:rPr lang="en-US" sz="2495" b="1" dirty="0">
                <a:solidFill>
                  <a:schemeClr val="dk1"/>
                </a:solidFill>
                <a:ea typeface="Tahoma"/>
                <a:cs typeface="Tahoma"/>
                <a:sym typeface="Tahoma"/>
              </a:rPr>
              <a:t>П</a:t>
            </a:r>
            <a:r>
              <a:rPr lang="ru-RU" sz="2495" b="1" dirty="0" err="1">
                <a:solidFill>
                  <a:schemeClr val="dk1"/>
                </a:solidFill>
                <a:ea typeface="Tahoma"/>
                <a:cs typeface="Tahoma"/>
                <a:sym typeface="Tahoma"/>
              </a:rPr>
              <a:t>оддержка</a:t>
            </a:r>
            <a:r>
              <a:rPr lang="ru-RU" sz="2495" b="1" dirty="0">
                <a:solidFill>
                  <a:schemeClr val="dk1"/>
                </a:solidFill>
                <a:ea typeface="Tahoma"/>
                <a:cs typeface="Tahoma"/>
                <a:sym typeface="Tahoma"/>
              </a:rPr>
              <a:t> спроса</a:t>
            </a:r>
            <a:endParaRPr sz="2495" b="1" dirty="0">
              <a:solidFill>
                <a:schemeClr val="dk1"/>
              </a:solidFill>
              <a:ea typeface="Tahoma"/>
              <a:cs typeface="Tahoma"/>
              <a:sym typeface="Arial"/>
            </a:endParaRPr>
          </a:p>
        </p:txBody>
      </p:sp>
      <p:sp>
        <p:nvSpPr>
          <p:cNvPr id="51" name="Полилиния 159">
            <a:extLst>
              <a:ext uri="{FF2B5EF4-FFF2-40B4-BE49-F238E27FC236}">
                <a16:creationId xmlns:a16="http://schemas.microsoft.com/office/drawing/2014/main" id="{A01BFF2C-27D4-4F82-9571-923A82E239EE}"/>
              </a:ext>
            </a:extLst>
          </p:cNvPr>
          <p:cNvSpPr/>
          <p:nvPr/>
        </p:nvSpPr>
        <p:spPr>
          <a:xfrm>
            <a:off x="759109" y="2640988"/>
            <a:ext cx="8369951" cy="1017779"/>
          </a:xfrm>
          <a:custGeom>
            <a:avLst/>
            <a:gdLst>
              <a:gd name="connsiteX0" fmla="*/ 0 w 3802208"/>
              <a:gd name="connsiteY0" fmla="*/ 0 h 694229"/>
              <a:gd name="connsiteX1" fmla="*/ 3802208 w 3802208"/>
              <a:gd name="connsiteY1" fmla="*/ 0 h 694229"/>
              <a:gd name="connsiteX2" fmla="*/ 3802208 w 3802208"/>
              <a:gd name="connsiteY2" fmla="*/ 694229 h 694229"/>
              <a:gd name="connsiteX3" fmla="*/ 0 w 3802208"/>
              <a:gd name="connsiteY3" fmla="*/ 694229 h 694229"/>
              <a:gd name="connsiteX4" fmla="*/ 0 w 3802208"/>
              <a:gd name="connsiteY4" fmla="*/ 0 h 694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02208" h="694229">
                <a:moveTo>
                  <a:pt x="0" y="0"/>
                </a:moveTo>
                <a:lnTo>
                  <a:pt x="3802208" y="0"/>
                </a:lnTo>
                <a:lnTo>
                  <a:pt x="3802208" y="694229"/>
                </a:lnTo>
                <a:lnTo>
                  <a:pt x="0" y="69422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marL="374220" indent="-374220" defTabSz="1016527">
              <a:lnSpc>
                <a:spcPct val="90000"/>
              </a:lnSpc>
              <a:spcBef>
                <a:spcPct val="0"/>
              </a:spcBef>
              <a:spcAft>
                <a:spcPts val="1247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2079" dirty="0"/>
              <a:t>Налоговые льготы гражданам </a:t>
            </a:r>
            <a:endParaRPr lang="en-US" sz="2079" dirty="0"/>
          </a:p>
          <a:p>
            <a:pPr marL="374220" indent="-374220" defTabSz="1016527">
              <a:lnSpc>
                <a:spcPct val="90000"/>
              </a:lnSpc>
              <a:spcBef>
                <a:spcPct val="0"/>
              </a:spcBef>
              <a:spcAft>
                <a:spcPts val="1247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2079" dirty="0"/>
              <a:t>Предоставление льготных кредитов </a:t>
            </a:r>
            <a:br>
              <a:rPr lang="ru-RU" sz="2079" dirty="0"/>
            </a:br>
            <a:r>
              <a:rPr lang="ru-RU" sz="2079" dirty="0"/>
              <a:t>на приобретение квартир</a:t>
            </a:r>
            <a:r>
              <a:rPr lang="en-US" sz="2079" dirty="0"/>
              <a:t> – </a:t>
            </a:r>
            <a:r>
              <a:rPr lang="ru-RU" sz="2079" b="1" dirty="0">
                <a:solidFill>
                  <a:schemeClr val="accent6"/>
                </a:solidFill>
              </a:rPr>
              <a:t>«</a:t>
            </a:r>
            <a:r>
              <a:rPr lang="en-US" sz="2079" b="1" dirty="0" err="1">
                <a:solidFill>
                  <a:schemeClr val="accent6"/>
                </a:solidFill>
              </a:rPr>
              <a:t>зеленая</a:t>
            </a:r>
            <a:r>
              <a:rPr lang="ru-RU" sz="2079" b="1" dirty="0">
                <a:solidFill>
                  <a:schemeClr val="accent6"/>
                </a:solidFill>
              </a:rPr>
              <a:t>»</a:t>
            </a:r>
            <a:r>
              <a:rPr lang="en-US" sz="2079" b="1" dirty="0">
                <a:solidFill>
                  <a:schemeClr val="accent6"/>
                </a:solidFill>
              </a:rPr>
              <a:t> </a:t>
            </a:r>
            <a:r>
              <a:rPr lang="en-US" sz="2079" b="1" dirty="0" err="1">
                <a:solidFill>
                  <a:schemeClr val="accent6"/>
                </a:solidFill>
              </a:rPr>
              <a:t>ипотека</a:t>
            </a:r>
            <a:endParaRPr lang="ru-RU" sz="2079" b="1" dirty="0">
              <a:solidFill>
                <a:schemeClr val="accent6"/>
              </a:solidFill>
            </a:endParaRPr>
          </a:p>
        </p:txBody>
      </p:sp>
      <p:sp>
        <p:nvSpPr>
          <p:cNvPr id="52" name="Google Shape;75;p17">
            <a:extLst>
              <a:ext uri="{FF2B5EF4-FFF2-40B4-BE49-F238E27FC236}">
                <a16:creationId xmlns:a16="http://schemas.microsoft.com/office/drawing/2014/main" id="{0C7BBE73-957B-423E-8498-798451C71421}"/>
              </a:ext>
            </a:extLst>
          </p:cNvPr>
          <p:cNvSpPr txBox="1"/>
          <p:nvPr/>
        </p:nvSpPr>
        <p:spPr>
          <a:xfrm flipH="1">
            <a:off x="10128403" y="1745709"/>
            <a:ext cx="8382500" cy="63769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74844" tIns="74844" rIns="74844" bIns="74844" anchor="ctr" anchorCtr="0">
            <a:spAutoFit/>
          </a:bodyPr>
          <a:lstStyle/>
          <a:p>
            <a:pPr algn="ctr">
              <a:spcAft>
                <a:spcPts val="832"/>
              </a:spcAft>
              <a:buClr>
                <a:schemeClr val="accent6"/>
              </a:buClr>
              <a:buSzPts val="1000"/>
            </a:pPr>
            <a:r>
              <a:rPr lang="en-US" sz="2495" b="1" dirty="0">
                <a:solidFill>
                  <a:schemeClr val="dk1"/>
                </a:solidFill>
                <a:ea typeface="Tahoma"/>
                <a:cs typeface="Tahoma"/>
                <a:sym typeface="Tahoma"/>
              </a:rPr>
              <a:t>П</a:t>
            </a:r>
            <a:r>
              <a:rPr lang="ru-RU" sz="2495" b="1" dirty="0" err="1">
                <a:solidFill>
                  <a:schemeClr val="dk1"/>
                </a:solidFill>
                <a:ea typeface="Tahoma"/>
                <a:cs typeface="Tahoma"/>
                <a:sym typeface="Tahoma"/>
              </a:rPr>
              <a:t>оддержка</a:t>
            </a:r>
            <a:r>
              <a:rPr lang="ru-RU" sz="2495" b="1" dirty="0">
                <a:solidFill>
                  <a:schemeClr val="dk1"/>
                </a:solidFill>
                <a:ea typeface="Tahoma"/>
                <a:cs typeface="Tahoma"/>
                <a:sym typeface="Tahoma"/>
              </a:rPr>
              <a:t> предложения</a:t>
            </a:r>
            <a:endParaRPr sz="2495" b="1" dirty="0">
              <a:solidFill>
                <a:schemeClr val="dk1"/>
              </a:solidFill>
              <a:ea typeface="Tahoma"/>
              <a:cs typeface="Tahoma"/>
              <a:sym typeface="Arial"/>
            </a:endParaRPr>
          </a:p>
        </p:txBody>
      </p:sp>
      <p:sp>
        <p:nvSpPr>
          <p:cNvPr id="53" name="Полилиния 159">
            <a:extLst>
              <a:ext uri="{FF2B5EF4-FFF2-40B4-BE49-F238E27FC236}">
                <a16:creationId xmlns:a16="http://schemas.microsoft.com/office/drawing/2014/main" id="{A01BFF2C-27D4-4F82-9571-923A82E239EE}"/>
              </a:ext>
            </a:extLst>
          </p:cNvPr>
          <p:cNvSpPr/>
          <p:nvPr/>
        </p:nvSpPr>
        <p:spPr>
          <a:xfrm>
            <a:off x="10128403" y="2640988"/>
            <a:ext cx="8589268" cy="1017779"/>
          </a:xfrm>
          <a:custGeom>
            <a:avLst/>
            <a:gdLst>
              <a:gd name="connsiteX0" fmla="*/ 0 w 3802208"/>
              <a:gd name="connsiteY0" fmla="*/ 0 h 694229"/>
              <a:gd name="connsiteX1" fmla="*/ 3802208 w 3802208"/>
              <a:gd name="connsiteY1" fmla="*/ 0 h 694229"/>
              <a:gd name="connsiteX2" fmla="*/ 3802208 w 3802208"/>
              <a:gd name="connsiteY2" fmla="*/ 694229 h 694229"/>
              <a:gd name="connsiteX3" fmla="*/ 0 w 3802208"/>
              <a:gd name="connsiteY3" fmla="*/ 694229 h 694229"/>
              <a:gd name="connsiteX4" fmla="*/ 0 w 3802208"/>
              <a:gd name="connsiteY4" fmla="*/ 0 h 694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02208" h="694229">
                <a:moveTo>
                  <a:pt x="0" y="0"/>
                </a:moveTo>
                <a:lnTo>
                  <a:pt x="3802208" y="0"/>
                </a:lnTo>
                <a:lnTo>
                  <a:pt x="3802208" y="694229"/>
                </a:lnTo>
                <a:lnTo>
                  <a:pt x="0" y="69422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spAutoFit/>
          </a:bodyPr>
          <a:lstStyle/>
          <a:p>
            <a:pPr marL="374220" indent="-356445" defTabSz="1016527">
              <a:lnSpc>
                <a:spcPct val="90000"/>
              </a:lnSpc>
              <a:spcBef>
                <a:spcPct val="0"/>
              </a:spcBef>
              <a:spcAft>
                <a:spcPts val="1247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2079" dirty="0"/>
              <a:t>Налоговые льготы застройщикам</a:t>
            </a:r>
            <a:endParaRPr lang="en-US" sz="2079" dirty="0"/>
          </a:p>
          <a:p>
            <a:pPr marL="374220" indent="-374220" defTabSz="1016527">
              <a:lnSpc>
                <a:spcPct val="90000"/>
              </a:lnSpc>
              <a:spcBef>
                <a:spcPct val="0"/>
              </a:spcBef>
              <a:spcAft>
                <a:spcPts val="1247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2079" dirty="0"/>
              <a:t>Предоставление льготных кредитов застройщикам</a:t>
            </a:r>
            <a:r>
              <a:rPr lang="en-US" sz="2079" dirty="0"/>
              <a:t> – </a:t>
            </a:r>
            <a:r>
              <a:rPr lang="ru-RU" sz="2079" b="1" dirty="0">
                <a:solidFill>
                  <a:schemeClr val="accent6"/>
                </a:solidFill>
              </a:rPr>
              <a:t>«</a:t>
            </a:r>
            <a:r>
              <a:rPr lang="en-US" sz="2079" b="1" dirty="0" err="1">
                <a:solidFill>
                  <a:schemeClr val="accent6"/>
                </a:solidFill>
              </a:rPr>
              <a:t>зеленое</a:t>
            </a:r>
            <a:r>
              <a:rPr lang="ru-RU" sz="2079" b="1" dirty="0">
                <a:solidFill>
                  <a:schemeClr val="accent6"/>
                </a:solidFill>
              </a:rPr>
              <a:t>»</a:t>
            </a:r>
            <a:r>
              <a:rPr lang="en-US" sz="2079" b="1" dirty="0">
                <a:solidFill>
                  <a:schemeClr val="accent6"/>
                </a:solidFill>
              </a:rPr>
              <a:t> </a:t>
            </a:r>
            <a:r>
              <a:rPr lang="en-US" sz="2079" b="1" dirty="0" err="1">
                <a:solidFill>
                  <a:schemeClr val="accent6"/>
                </a:solidFill>
              </a:rPr>
              <a:t>проектное</a:t>
            </a:r>
            <a:r>
              <a:rPr lang="en-US" sz="2079" b="1" dirty="0">
                <a:solidFill>
                  <a:schemeClr val="accent6"/>
                </a:solidFill>
              </a:rPr>
              <a:t> </a:t>
            </a:r>
            <a:r>
              <a:rPr lang="en-US" sz="2079" b="1" dirty="0" err="1">
                <a:solidFill>
                  <a:schemeClr val="accent6"/>
                </a:solidFill>
              </a:rPr>
              <a:t>финансирование</a:t>
            </a:r>
            <a:endParaRPr lang="ru-RU" sz="2079" b="1" dirty="0">
              <a:solidFill>
                <a:schemeClr val="accent6"/>
              </a:solidFill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558046" y="6372116"/>
            <a:ext cx="18198252" cy="3052198"/>
            <a:chOff x="220741" y="3616097"/>
            <a:chExt cx="8753397" cy="1262680"/>
          </a:xfrm>
        </p:grpSpPr>
        <p:sp>
          <p:nvSpPr>
            <p:cNvPr id="180" name="Прямоугольник 179">
              <a:extLst>
                <a:ext uri="{FF2B5EF4-FFF2-40B4-BE49-F238E27FC236}">
                  <a16:creationId xmlns:a16="http://schemas.microsoft.com/office/drawing/2014/main" id="{DF97C635-0D7C-347E-F8DD-6CB52069A846}"/>
                </a:ext>
              </a:extLst>
            </p:cNvPr>
            <p:cNvSpPr/>
            <p:nvPr/>
          </p:nvSpPr>
          <p:spPr>
            <a:xfrm>
              <a:off x="220741" y="4335659"/>
              <a:ext cx="539666" cy="1323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2079" b="1" dirty="0"/>
                <a:t>~5%</a:t>
              </a:r>
            </a:p>
          </p:txBody>
        </p:sp>
        <p:grpSp>
          <p:nvGrpSpPr>
            <p:cNvPr id="6" name="Группа 5"/>
            <p:cNvGrpSpPr/>
            <p:nvPr/>
          </p:nvGrpSpPr>
          <p:grpSpPr>
            <a:xfrm>
              <a:off x="286718" y="3616097"/>
              <a:ext cx="8687420" cy="1262680"/>
              <a:chOff x="286718" y="3616097"/>
              <a:chExt cx="8687420" cy="1262680"/>
            </a:xfrm>
          </p:grpSpPr>
          <p:graphicFrame>
            <p:nvGraphicFramePr>
              <p:cNvPr id="40" name="Chart 3">
                <a:extLst>
                  <a:ext uri="{FF2B5EF4-FFF2-40B4-BE49-F238E27FC236}">
                    <a16:creationId xmlns:a16="http://schemas.microsoft.com/office/drawing/2014/main" id="{2FBFAF2C-6E4A-A1F4-F2D5-4A9AAF45FB52}"/>
                  </a:ext>
                </a:extLst>
              </p:cNvPr>
              <p:cNvGraphicFramePr/>
              <p:nvPr>
                <p:custDataLst>
                  <p:tags r:id="rId3"/>
                </p:custDataLst>
                <p:extLst/>
              </p:nvPr>
            </p:nvGraphicFramePr>
            <p:xfrm>
              <a:off x="286718" y="3706054"/>
              <a:ext cx="8648060" cy="109603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8"/>
              </a:graphicData>
            </a:graphic>
          </p:graphicFrame>
          <p:graphicFrame>
            <p:nvGraphicFramePr>
              <p:cNvPr id="138" name="Chart 3">
                <a:extLst>
                  <a:ext uri="{FF2B5EF4-FFF2-40B4-BE49-F238E27FC236}">
                    <a16:creationId xmlns:a16="http://schemas.microsoft.com/office/drawing/2014/main" id="{7A9284CB-38E2-901A-160A-0E192CF9FD6D}"/>
                  </a:ext>
                </a:extLst>
              </p:cNvPr>
              <p:cNvGraphicFramePr/>
              <p:nvPr>
                <p:custDataLst>
                  <p:tags r:id="rId4"/>
                </p:custDataLst>
                <p:extLst/>
              </p:nvPr>
            </p:nvGraphicFramePr>
            <p:xfrm>
              <a:off x="327025" y="3719513"/>
              <a:ext cx="8647113" cy="107950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9"/>
              </a:graphicData>
            </a:graphic>
          </p:graphicFrame>
          <p:sp>
            <p:nvSpPr>
              <p:cNvPr id="147" name="Прямоугольник 146">
                <a:extLst>
                  <a:ext uri="{FF2B5EF4-FFF2-40B4-BE49-F238E27FC236}">
                    <a16:creationId xmlns:a16="http://schemas.microsoft.com/office/drawing/2014/main" id="{D313EE32-CB62-1CFC-0037-F5B05C3F05E8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 bwMode="auto">
              <a:xfrm>
                <a:off x="4296834" y="4775086"/>
                <a:ext cx="198741" cy="10369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0" tIns="0" rIns="0" bIns="0" numCol="1" spcCol="0" rtlCol="0" anchor="t" anchorCtr="0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fld id="{6AE0E97C-7B47-42F2-A9A9-56B6839250B1}" type="datetime'2''''''''''''''''''''''''''''0''2''''''''''6'''">
                  <a:rPr lang="ru-RU" altLang="en-US" sz="2079">
                    <a:solidFill>
                      <a:schemeClr val="tx1"/>
                    </a:solidFill>
                  </a:rPr>
                  <a:pPr/>
                  <a:t>2026</a:t>
                </a:fld>
                <a:endParaRPr lang="ru-RU" sz="207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5" name="Овал 164">
                <a:extLst>
                  <a:ext uri="{FF2B5EF4-FFF2-40B4-BE49-F238E27FC236}">
                    <a16:creationId xmlns:a16="http://schemas.microsoft.com/office/drawing/2014/main" id="{4CBE7E59-594B-AFC5-941D-DB8B9191A5A2}"/>
                  </a:ext>
                </a:extLst>
              </p:cNvPr>
              <p:cNvSpPr/>
              <p:nvPr/>
            </p:nvSpPr>
            <p:spPr>
              <a:xfrm>
                <a:off x="4359467" y="4036632"/>
                <a:ext cx="73473" cy="73480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911"/>
              </a:p>
            </p:txBody>
          </p:sp>
          <p:sp>
            <p:nvSpPr>
              <p:cNvPr id="169" name="Прямоугольник 168">
                <a:extLst>
                  <a:ext uri="{FF2B5EF4-FFF2-40B4-BE49-F238E27FC236}">
                    <a16:creationId xmlns:a16="http://schemas.microsoft.com/office/drawing/2014/main" id="{6F47B363-D31B-FB71-DBA5-27567F073196}"/>
                  </a:ext>
                </a:extLst>
              </p:cNvPr>
              <p:cNvSpPr/>
              <p:nvPr/>
            </p:nvSpPr>
            <p:spPr>
              <a:xfrm>
                <a:off x="4081449" y="3865870"/>
                <a:ext cx="636838" cy="13236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en-US" sz="2079" b="1" dirty="0"/>
                  <a:t>~1</a:t>
                </a:r>
                <a:r>
                  <a:rPr lang="ru-RU" sz="2079" b="1" dirty="0"/>
                  <a:t>1-</a:t>
                </a:r>
                <a:r>
                  <a:rPr lang="en-US" sz="2079" b="1" dirty="0"/>
                  <a:t>1</a:t>
                </a:r>
                <a:r>
                  <a:rPr lang="ru-RU" sz="2079" b="1" dirty="0"/>
                  <a:t>3</a:t>
                </a:r>
                <a:r>
                  <a:rPr lang="en-US" sz="2079" b="1" dirty="0"/>
                  <a:t>%</a:t>
                </a:r>
              </a:p>
            </p:txBody>
          </p:sp>
          <p:sp>
            <p:nvSpPr>
              <p:cNvPr id="161" name="Rectangle 58">
                <a:extLst>
                  <a:ext uri="{FF2B5EF4-FFF2-40B4-BE49-F238E27FC236}">
                    <a16:creationId xmlns:a16="http://schemas.microsoft.com/office/drawing/2014/main" id="{65FBE7C2-29FF-A349-517F-AAFBDCA2C781}"/>
                  </a:ext>
                </a:extLst>
              </p:cNvPr>
              <p:cNvSpPr/>
              <p:nvPr/>
            </p:nvSpPr>
            <p:spPr>
              <a:xfrm>
                <a:off x="4349289" y="4674282"/>
                <a:ext cx="93830" cy="9743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981"/>
              </a:p>
            </p:txBody>
          </p:sp>
          <p:sp>
            <p:nvSpPr>
              <p:cNvPr id="8" name="Овал 7">
                <a:extLst>
                  <a:ext uri="{FF2B5EF4-FFF2-40B4-BE49-F238E27FC236}">
                    <a16:creationId xmlns:a16="http://schemas.microsoft.com/office/drawing/2014/main" id="{CA09CC31-6852-E2BE-7C8F-F05F27710C93}"/>
                  </a:ext>
                </a:extLst>
              </p:cNvPr>
              <p:cNvSpPr/>
              <p:nvPr/>
            </p:nvSpPr>
            <p:spPr>
              <a:xfrm>
                <a:off x="4359467" y="4476343"/>
                <a:ext cx="73473" cy="73480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79"/>
              </a:p>
            </p:txBody>
          </p:sp>
          <p:sp>
            <p:nvSpPr>
              <p:cNvPr id="19" name="Прямоугольник 18">
                <a:extLst>
                  <a:ext uri="{FF2B5EF4-FFF2-40B4-BE49-F238E27FC236}">
                    <a16:creationId xmlns:a16="http://schemas.microsoft.com/office/drawing/2014/main" id="{C393C584-E2A3-DAFC-4C0B-0ACA3EFCEC7B}"/>
                  </a:ext>
                </a:extLst>
              </p:cNvPr>
              <p:cNvSpPr/>
              <p:nvPr/>
            </p:nvSpPr>
            <p:spPr>
              <a:xfrm>
                <a:off x="4126371" y="4313345"/>
                <a:ext cx="539666" cy="13236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en-US" sz="2079" b="1" dirty="0"/>
                  <a:t>~5%</a:t>
                </a:r>
              </a:p>
            </p:txBody>
          </p:sp>
          <p:sp>
            <p:nvSpPr>
              <p:cNvPr id="150" name="Прямоугольник 149">
                <a:extLst>
                  <a:ext uri="{FF2B5EF4-FFF2-40B4-BE49-F238E27FC236}">
                    <a16:creationId xmlns:a16="http://schemas.microsoft.com/office/drawing/2014/main" id="{4192ACAE-30FF-9DD1-97DC-6F5F6B35A3C3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6268633" y="4775086"/>
                <a:ext cx="198741" cy="10369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0" tIns="0" rIns="0" bIns="0" numCol="1" spcCol="0" rtlCol="0" anchor="t" anchorCtr="0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fld id="{E67BF77D-4722-41A6-820C-5650137F3781}" type="datetime'2''''0''''2''''''''''''''''''''8'">
                  <a:rPr lang="ru-RU" altLang="en-US" sz="2079">
                    <a:solidFill>
                      <a:schemeClr val="tx1"/>
                    </a:solidFill>
                  </a:rPr>
                  <a:pPr/>
                  <a:t>2028</a:t>
                </a:fld>
                <a:endParaRPr lang="ru-RU" sz="207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Овал 165">
                <a:extLst>
                  <a:ext uri="{FF2B5EF4-FFF2-40B4-BE49-F238E27FC236}">
                    <a16:creationId xmlns:a16="http://schemas.microsoft.com/office/drawing/2014/main" id="{C2BE0864-5EF3-8011-1A66-077CE775C3E4}"/>
                  </a:ext>
                </a:extLst>
              </p:cNvPr>
              <p:cNvSpPr/>
              <p:nvPr/>
            </p:nvSpPr>
            <p:spPr>
              <a:xfrm>
                <a:off x="6331266" y="3931494"/>
                <a:ext cx="73473" cy="73480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911"/>
              </a:p>
            </p:txBody>
          </p:sp>
          <p:sp>
            <p:nvSpPr>
              <p:cNvPr id="170" name="Прямоугольник 169">
                <a:extLst>
                  <a:ext uri="{FF2B5EF4-FFF2-40B4-BE49-F238E27FC236}">
                    <a16:creationId xmlns:a16="http://schemas.microsoft.com/office/drawing/2014/main" id="{98823C7E-5619-290A-1C24-8C6BC2C2C8BE}"/>
                  </a:ext>
                </a:extLst>
              </p:cNvPr>
              <p:cNvSpPr/>
              <p:nvPr/>
            </p:nvSpPr>
            <p:spPr>
              <a:xfrm>
                <a:off x="6053248" y="3743533"/>
                <a:ext cx="636838" cy="13236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en-US" sz="2079" b="1" dirty="0"/>
                  <a:t>~1</a:t>
                </a:r>
                <a:r>
                  <a:rPr lang="ru-RU" sz="2079" b="1" dirty="0"/>
                  <a:t>4-16</a:t>
                </a:r>
                <a:r>
                  <a:rPr lang="en-US" sz="2079" b="1" dirty="0"/>
                  <a:t>%</a:t>
                </a:r>
              </a:p>
            </p:txBody>
          </p:sp>
          <p:sp>
            <p:nvSpPr>
              <p:cNvPr id="162" name="Rectangle 59">
                <a:extLst>
                  <a:ext uri="{FF2B5EF4-FFF2-40B4-BE49-F238E27FC236}">
                    <a16:creationId xmlns:a16="http://schemas.microsoft.com/office/drawing/2014/main" id="{8D05E404-97BF-DC35-A026-688A7F4BE394}"/>
                  </a:ext>
                </a:extLst>
              </p:cNvPr>
              <p:cNvSpPr/>
              <p:nvPr/>
            </p:nvSpPr>
            <p:spPr>
              <a:xfrm>
                <a:off x="6321088" y="4674282"/>
                <a:ext cx="93830" cy="9743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981"/>
              </a:p>
            </p:txBody>
          </p:sp>
          <p:sp>
            <p:nvSpPr>
              <p:cNvPr id="21" name="Овал 20">
                <a:extLst>
                  <a:ext uri="{FF2B5EF4-FFF2-40B4-BE49-F238E27FC236}">
                    <a16:creationId xmlns:a16="http://schemas.microsoft.com/office/drawing/2014/main" id="{C9269007-FBA5-5666-03F5-FF3B0E3C580D}"/>
                  </a:ext>
                </a:extLst>
              </p:cNvPr>
              <p:cNvSpPr/>
              <p:nvPr/>
            </p:nvSpPr>
            <p:spPr>
              <a:xfrm>
                <a:off x="6331266" y="4476343"/>
                <a:ext cx="73473" cy="73480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79"/>
              </a:p>
            </p:txBody>
          </p:sp>
          <p:sp>
            <p:nvSpPr>
              <p:cNvPr id="22" name="Прямоугольник 21">
                <a:extLst>
                  <a:ext uri="{FF2B5EF4-FFF2-40B4-BE49-F238E27FC236}">
                    <a16:creationId xmlns:a16="http://schemas.microsoft.com/office/drawing/2014/main" id="{4CF90386-B21F-08AB-7C7C-3EAC0C88397B}"/>
                  </a:ext>
                </a:extLst>
              </p:cNvPr>
              <p:cNvSpPr/>
              <p:nvPr/>
            </p:nvSpPr>
            <p:spPr>
              <a:xfrm>
                <a:off x="6098170" y="4313345"/>
                <a:ext cx="539666" cy="13236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en-US" sz="2079" b="1" dirty="0"/>
                  <a:t>~5%</a:t>
                </a:r>
              </a:p>
            </p:txBody>
          </p:sp>
          <p:sp>
            <p:nvSpPr>
              <p:cNvPr id="151" name="Прямоугольник 150">
                <a:extLst>
                  <a:ext uri="{FF2B5EF4-FFF2-40B4-BE49-F238E27FC236}">
                    <a16:creationId xmlns:a16="http://schemas.microsoft.com/office/drawing/2014/main" id="{4000FE27-C2EE-1D29-E461-BD223078C80E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 bwMode="auto">
              <a:xfrm>
                <a:off x="8240433" y="4775086"/>
                <a:ext cx="198741" cy="10369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0" tIns="0" rIns="0" bIns="0" numCol="1" spcCol="0" rtlCol="0" anchor="t" anchorCtr="0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fld id="{1112B8DB-CF14-414D-A087-CBB7893ED7F3}" type="datetime'''''''''''''''''''''''''''''2''0''''''''3''''''''''''''0'">
                  <a:rPr lang="ru-RU" altLang="en-US" sz="2079">
                    <a:solidFill>
                      <a:schemeClr val="tx1"/>
                    </a:solidFill>
                  </a:rPr>
                  <a:pPr/>
                  <a:t>2030</a:t>
                </a:fld>
                <a:endParaRPr lang="ru-RU" sz="1414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7" name="Овал 166">
                <a:extLst>
                  <a:ext uri="{FF2B5EF4-FFF2-40B4-BE49-F238E27FC236}">
                    <a16:creationId xmlns:a16="http://schemas.microsoft.com/office/drawing/2014/main" id="{1CD32043-43B5-47C7-8B08-61DEAEC627A7}"/>
                  </a:ext>
                </a:extLst>
              </p:cNvPr>
              <p:cNvSpPr/>
              <p:nvPr/>
            </p:nvSpPr>
            <p:spPr>
              <a:xfrm>
                <a:off x="8303066" y="3810486"/>
                <a:ext cx="73473" cy="73480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911"/>
              </a:p>
            </p:txBody>
          </p:sp>
          <p:sp>
            <p:nvSpPr>
              <p:cNvPr id="171" name="Прямоугольник 170">
                <a:extLst>
                  <a:ext uri="{FF2B5EF4-FFF2-40B4-BE49-F238E27FC236}">
                    <a16:creationId xmlns:a16="http://schemas.microsoft.com/office/drawing/2014/main" id="{C1727DB7-C894-05C5-1D55-BC0E8E8D04BF}"/>
                  </a:ext>
                </a:extLst>
              </p:cNvPr>
              <p:cNvSpPr/>
              <p:nvPr/>
            </p:nvSpPr>
            <p:spPr>
              <a:xfrm>
                <a:off x="8025048" y="3616097"/>
                <a:ext cx="636838" cy="13236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en-US" sz="2079" b="1" dirty="0"/>
                  <a:t>~</a:t>
                </a:r>
                <a:r>
                  <a:rPr lang="ru-RU" sz="2079" b="1" dirty="0"/>
                  <a:t>18-20</a:t>
                </a:r>
                <a:r>
                  <a:rPr lang="en-US" sz="2079" b="1" dirty="0"/>
                  <a:t>%</a:t>
                </a:r>
              </a:p>
            </p:txBody>
          </p:sp>
          <p:sp>
            <p:nvSpPr>
              <p:cNvPr id="163" name="Rectangle 60">
                <a:extLst>
                  <a:ext uri="{FF2B5EF4-FFF2-40B4-BE49-F238E27FC236}">
                    <a16:creationId xmlns:a16="http://schemas.microsoft.com/office/drawing/2014/main" id="{73498F9A-F0D1-F65F-BEB3-C9D6E354F99C}"/>
                  </a:ext>
                </a:extLst>
              </p:cNvPr>
              <p:cNvSpPr/>
              <p:nvPr/>
            </p:nvSpPr>
            <p:spPr>
              <a:xfrm>
                <a:off x="8292888" y="4674282"/>
                <a:ext cx="93830" cy="9743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981"/>
              </a:p>
            </p:txBody>
          </p:sp>
          <p:sp>
            <p:nvSpPr>
              <p:cNvPr id="26" name="Овал 25">
                <a:extLst>
                  <a:ext uri="{FF2B5EF4-FFF2-40B4-BE49-F238E27FC236}">
                    <a16:creationId xmlns:a16="http://schemas.microsoft.com/office/drawing/2014/main" id="{0C57B6BA-E458-19BF-51EB-F9AF77292112}"/>
                  </a:ext>
                </a:extLst>
              </p:cNvPr>
              <p:cNvSpPr/>
              <p:nvPr/>
            </p:nvSpPr>
            <p:spPr>
              <a:xfrm>
                <a:off x="8303066" y="4476343"/>
                <a:ext cx="73473" cy="73480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79"/>
              </a:p>
            </p:txBody>
          </p:sp>
          <p:sp>
            <p:nvSpPr>
              <p:cNvPr id="31" name="Прямоугольник 30">
                <a:extLst>
                  <a:ext uri="{FF2B5EF4-FFF2-40B4-BE49-F238E27FC236}">
                    <a16:creationId xmlns:a16="http://schemas.microsoft.com/office/drawing/2014/main" id="{F02EDA4E-9DFA-7A71-9CA0-4ABFB149BE7B}"/>
                  </a:ext>
                </a:extLst>
              </p:cNvPr>
              <p:cNvSpPr/>
              <p:nvPr/>
            </p:nvSpPr>
            <p:spPr>
              <a:xfrm>
                <a:off x="8069970" y="4313345"/>
                <a:ext cx="539666" cy="13236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en-US" sz="2079" b="1" dirty="0"/>
                  <a:t>~5%</a:t>
                </a:r>
              </a:p>
            </p:txBody>
          </p:sp>
          <p:sp>
            <p:nvSpPr>
              <p:cNvPr id="45" name="Прямоугольник 44">
                <a:extLst>
                  <a:ext uri="{FF2B5EF4-FFF2-40B4-BE49-F238E27FC236}">
                    <a16:creationId xmlns:a16="http://schemas.microsoft.com/office/drawing/2014/main" id="{F8D0F012-C50B-F997-E391-EE92A4AACF75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 bwMode="auto">
              <a:xfrm>
                <a:off x="358775" y="3638550"/>
                <a:ext cx="179388" cy="133350"/>
              </a:xfrm>
              <a:prstGeom prst="rect">
                <a:avLst/>
              </a:prstGeom>
              <a:solidFill>
                <a:srgbClr val="BADB91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911"/>
              </a:p>
            </p:txBody>
          </p:sp>
          <p:sp>
            <p:nvSpPr>
              <p:cNvPr id="44" name="Прямоугольник 43">
                <a:extLst>
                  <a:ext uri="{FF2B5EF4-FFF2-40B4-BE49-F238E27FC236}">
                    <a16:creationId xmlns:a16="http://schemas.microsoft.com/office/drawing/2014/main" id="{45BA3A3D-DC5C-A636-CB38-3BC2A381DE24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 bwMode="auto">
              <a:xfrm>
                <a:off x="1928813" y="3638550"/>
                <a:ext cx="179388" cy="133350"/>
              </a:xfrm>
              <a:prstGeom prst="rect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911"/>
              </a:p>
            </p:txBody>
          </p:sp>
          <p:sp>
            <p:nvSpPr>
              <p:cNvPr id="46" name="Прямоугольник 45">
                <a:extLst>
                  <a:ext uri="{FF2B5EF4-FFF2-40B4-BE49-F238E27FC236}">
                    <a16:creationId xmlns:a16="http://schemas.microsoft.com/office/drawing/2014/main" id="{10FBB099-4168-310C-D3A1-3988E0C8C231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 bwMode="auto">
              <a:xfrm>
                <a:off x="588963" y="3633788"/>
                <a:ext cx="1238250" cy="152400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0" tIns="0" rIns="0" bIns="0" numCol="1" spcCol="0" rtlCol="0" anchor="ctr" anchorCtr="0"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fld id="{C230E956-93F9-46BB-86EE-A87E5B215971}" type="datetime'С'''' мерами'''' под''''де''''''''''р''''ж''к''и'''''">
                  <a:rPr lang="ru-RU" altLang="en-US" sz="2079">
                    <a:solidFill>
                      <a:schemeClr val="tx1"/>
                    </a:solidFill>
                  </a:rPr>
                  <a:pPr/>
                  <a:t>С мерами поддержки</a:t>
                </a:fld>
                <a:endParaRPr lang="ru-RU" sz="207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Прямоугольник 46">
                <a:extLst>
                  <a:ext uri="{FF2B5EF4-FFF2-40B4-BE49-F238E27FC236}">
                    <a16:creationId xmlns:a16="http://schemas.microsoft.com/office/drawing/2014/main" id="{36AA2184-F9AC-FA2C-11FC-DD8B0CEB3592}"/>
                  </a:ext>
                </a:extLst>
              </p:cNvPr>
              <p:cNvSpPr/>
              <p:nvPr>
                <p:custDataLst>
                  <p:tags r:id="rId11"/>
                </p:custDataLst>
              </p:nvPr>
            </p:nvSpPr>
            <p:spPr bwMode="auto">
              <a:xfrm>
                <a:off x="2159000" y="3633788"/>
                <a:ext cx="1143000" cy="152400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0" tIns="0" rIns="0" bIns="0" numCol="1" spcCol="0" rtlCol="0" anchor="ctr" anchorCtr="0">
                <a:noAutofit/>
              </a:bodyPr>
              <a:lstStyle/>
              <a:p>
                <a:pPr>
                  <a:spcBef>
                    <a:spcPct val="0"/>
                  </a:spcBef>
                  <a:spcAft>
                    <a:spcPct val="0"/>
                  </a:spcAft>
                </a:pPr>
                <a:fld id="{BE315FF4-A236-4FB9-8EC4-B22579C205D6}" type="datetime'''Б''''ез'''' ''''''''ме''р'' ''п''''''''о''дд''ерж''''''к''и'">
                  <a:rPr lang="ru-RU" altLang="en-US" sz="2079">
                    <a:solidFill>
                      <a:schemeClr val="tx1"/>
                    </a:solidFill>
                  </a:rPr>
                  <a:pPr/>
                  <a:t>Без мер поддержки</a:t>
                </a:fld>
                <a:endParaRPr lang="ru-RU" sz="207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9" name="Прямоугольник 148">
                <a:extLst>
                  <a:ext uri="{FF2B5EF4-FFF2-40B4-BE49-F238E27FC236}">
                    <a16:creationId xmlns:a16="http://schemas.microsoft.com/office/drawing/2014/main" id="{CD0D9A6E-CA1A-0807-F5A4-980D7A1045D3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 bwMode="auto">
              <a:xfrm>
                <a:off x="396743" y="4775086"/>
                <a:ext cx="198741" cy="10369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0" tIns="0" rIns="0" bIns="0" numCol="1" spcCol="0" rtlCol="0" anchor="t" anchorCtr="0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fld id="{2D0F1A90-430E-4CCE-AAEF-C58612643665}" type="datetime'''''''''2''''0''''''''''''''''''2''''''''''''2'''''''''''">
                  <a:rPr lang="ru-RU" altLang="en-US" sz="2079">
                    <a:solidFill>
                      <a:schemeClr val="tx1"/>
                    </a:solidFill>
                  </a:rPr>
                  <a:pPr/>
                  <a:t>2022</a:t>
                </a:fld>
                <a:endParaRPr lang="ru-RU" sz="207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1" name="Овал 180">
                <a:extLst>
                  <a:ext uri="{FF2B5EF4-FFF2-40B4-BE49-F238E27FC236}">
                    <a16:creationId xmlns:a16="http://schemas.microsoft.com/office/drawing/2014/main" id="{DDAC74B1-10C4-5F78-C3D9-415E679D1704}"/>
                  </a:ext>
                </a:extLst>
              </p:cNvPr>
              <p:cNvSpPr/>
              <p:nvPr/>
            </p:nvSpPr>
            <p:spPr>
              <a:xfrm>
                <a:off x="446385" y="4494602"/>
                <a:ext cx="73473" cy="73479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79"/>
              </a:p>
            </p:txBody>
          </p:sp>
          <p:sp>
            <p:nvSpPr>
              <p:cNvPr id="159" name="Rectangle 14">
                <a:extLst>
                  <a:ext uri="{FF2B5EF4-FFF2-40B4-BE49-F238E27FC236}">
                    <a16:creationId xmlns:a16="http://schemas.microsoft.com/office/drawing/2014/main" id="{1262D36A-9023-0DE7-56E3-09BDFCE3AC04}"/>
                  </a:ext>
                </a:extLst>
              </p:cNvPr>
              <p:cNvSpPr/>
              <p:nvPr/>
            </p:nvSpPr>
            <p:spPr>
              <a:xfrm>
                <a:off x="458736" y="4666445"/>
                <a:ext cx="93830" cy="9743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981"/>
              </a:p>
            </p:txBody>
          </p:sp>
          <p:sp>
            <p:nvSpPr>
              <p:cNvPr id="148" name="Прямоугольник 147">
                <a:extLst>
                  <a:ext uri="{FF2B5EF4-FFF2-40B4-BE49-F238E27FC236}">
                    <a16:creationId xmlns:a16="http://schemas.microsoft.com/office/drawing/2014/main" id="{2DA3539F-02E0-7E54-CDDB-7822FD3972E5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 bwMode="auto">
              <a:xfrm>
                <a:off x="2325035" y="4775086"/>
                <a:ext cx="198741" cy="10369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none" lIns="0" tIns="0" rIns="0" bIns="0" numCol="1" spcCol="0" rtlCol="0" anchor="t" anchorCtr="0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fld id="{C176F87D-356B-4ED8-ADA0-F33075553029}" type="datetime'''''''''''''''2''0''''2''''4'''''''''''''''''''''''''''''''''">
                  <a:rPr lang="ru-RU" altLang="en-US" sz="2079">
                    <a:solidFill>
                      <a:schemeClr val="tx1"/>
                    </a:solidFill>
                  </a:rPr>
                  <a:pPr/>
                  <a:t>2024</a:t>
                </a:fld>
                <a:endParaRPr lang="ru-RU" sz="2079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Овал 163">
                <a:extLst>
                  <a:ext uri="{FF2B5EF4-FFF2-40B4-BE49-F238E27FC236}">
                    <a16:creationId xmlns:a16="http://schemas.microsoft.com/office/drawing/2014/main" id="{E0142F79-0E16-86D4-80A2-613D3C628035}"/>
                  </a:ext>
                </a:extLst>
              </p:cNvPr>
              <p:cNvSpPr/>
              <p:nvPr/>
            </p:nvSpPr>
            <p:spPr>
              <a:xfrm>
                <a:off x="2387668" y="4190417"/>
                <a:ext cx="73473" cy="73480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911"/>
              </a:p>
            </p:txBody>
          </p:sp>
          <p:sp>
            <p:nvSpPr>
              <p:cNvPr id="168" name="Прямоугольник 167">
                <a:extLst>
                  <a:ext uri="{FF2B5EF4-FFF2-40B4-BE49-F238E27FC236}">
                    <a16:creationId xmlns:a16="http://schemas.microsoft.com/office/drawing/2014/main" id="{6734C250-6D71-37FA-80C7-6B7870C34097}"/>
                  </a:ext>
                </a:extLst>
              </p:cNvPr>
              <p:cNvSpPr/>
              <p:nvPr/>
            </p:nvSpPr>
            <p:spPr>
              <a:xfrm>
                <a:off x="2109650" y="4020103"/>
                <a:ext cx="636838" cy="13236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en-US" sz="2079" b="1" dirty="0"/>
                  <a:t>~</a:t>
                </a:r>
                <a:r>
                  <a:rPr lang="ru-RU" sz="2079" b="1" dirty="0"/>
                  <a:t>8-10</a:t>
                </a:r>
                <a:r>
                  <a:rPr lang="en-US" sz="2079" b="1" dirty="0"/>
                  <a:t>%</a:t>
                </a:r>
              </a:p>
            </p:txBody>
          </p:sp>
          <p:sp>
            <p:nvSpPr>
              <p:cNvPr id="172" name="Овал 171">
                <a:extLst>
                  <a:ext uri="{FF2B5EF4-FFF2-40B4-BE49-F238E27FC236}">
                    <a16:creationId xmlns:a16="http://schemas.microsoft.com/office/drawing/2014/main" id="{DDAC74B1-10C4-5F78-C3D9-415E679D1704}"/>
                  </a:ext>
                </a:extLst>
              </p:cNvPr>
              <p:cNvSpPr/>
              <p:nvPr/>
            </p:nvSpPr>
            <p:spPr>
              <a:xfrm>
                <a:off x="2387668" y="4476343"/>
                <a:ext cx="73473" cy="73480"/>
              </a:xfrm>
              <a:prstGeom prst="ellipse">
                <a:avLst/>
              </a:prstGeom>
              <a:solidFill>
                <a:schemeClr val="bg1"/>
              </a:solidFill>
              <a:ln w="635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79"/>
              </a:p>
            </p:txBody>
          </p:sp>
          <p:sp>
            <p:nvSpPr>
              <p:cNvPr id="176" name="Прямоугольник 175">
                <a:extLst>
                  <a:ext uri="{FF2B5EF4-FFF2-40B4-BE49-F238E27FC236}">
                    <a16:creationId xmlns:a16="http://schemas.microsoft.com/office/drawing/2014/main" id="{889C0A05-9C85-73C6-A2B6-097C2C0F8A30}"/>
                  </a:ext>
                </a:extLst>
              </p:cNvPr>
              <p:cNvSpPr/>
              <p:nvPr/>
            </p:nvSpPr>
            <p:spPr>
              <a:xfrm>
                <a:off x="2154572" y="4313345"/>
                <a:ext cx="539666" cy="132366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algn="ctr"/>
                <a:r>
                  <a:rPr lang="en-US" sz="2079" b="1" dirty="0"/>
                  <a:t>~5%</a:t>
                </a:r>
              </a:p>
            </p:txBody>
          </p:sp>
          <p:sp>
            <p:nvSpPr>
              <p:cNvPr id="160" name="Rectangle 55">
                <a:extLst>
                  <a:ext uri="{FF2B5EF4-FFF2-40B4-BE49-F238E27FC236}">
                    <a16:creationId xmlns:a16="http://schemas.microsoft.com/office/drawing/2014/main" id="{1507E05C-EB28-8E67-D506-304C0328636D}"/>
                  </a:ext>
                </a:extLst>
              </p:cNvPr>
              <p:cNvSpPr/>
              <p:nvPr/>
            </p:nvSpPr>
            <p:spPr>
              <a:xfrm>
                <a:off x="2377490" y="4674282"/>
                <a:ext cx="93830" cy="9743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981"/>
              </a:p>
            </p:txBody>
          </p:sp>
          <p:cxnSp>
            <p:nvCxnSpPr>
              <p:cNvPr id="158" name="Straight Connector 11">
                <a:extLst>
                  <a:ext uri="{FF2B5EF4-FFF2-40B4-BE49-F238E27FC236}">
                    <a16:creationId xmlns:a16="http://schemas.microsoft.com/office/drawing/2014/main" id="{7224714F-5656-3C82-7F20-0AAB033A42DE}"/>
                  </a:ext>
                </a:extLst>
              </p:cNvPr>
              <p:cNvCxnSpPr>
                <a:cxnSpLocks/>
                <a:stCxn id="159" idx="1"/>
              </p:cNvCxnSpPr>
              <p:nvPr/>
            </p:nvCxnSpPr>
            <p:spPr>
              <a:xfrm>
                <a:off x="458736" y="4715164"/>
                <a:ext cx="8433264" cy="0"/>
              </a:xfrm>
              <a:prstGeom prst="line">
                <a:avLst/>
              </a:prstGeom>
              <a:ln w="12700">
                <a:solidFill>
                  <a:schemeClr val="accent6"/>
                </a:solidFill>
                <a:tailEnd type="stealth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4" name="Заголовок 3"/>
          <p:cNvSpPr txBox="1">
            <a:spLocks/>
          </p:cNvSpPr>
          <p:nvPr/>
        </p:nvSpPr>
        <p:spPr bwMode="auto">
          <a:xfrm>
            <a:off x="382591" y="283405"/>
            <a:ext cx="18293206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18288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2860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27432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2004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defTabSz="1422394">
              <a:defRPr/>
            </a:pPr>
            <a:r>
              <a:rPr lang="ru-RU" altLang="ru-RU" sz="3500" b="1" dirty="0">
                <a:solidFill>
                  <a:srgbClr val="3E5057"/>
                </a:solidFill>
              </a:rPr>
              <a:t>ГОСТ Р и ЕИСЖС – основа внедрения мер государственной поддержки</a:t>
            </a:r>
          </a:p>
        </p:txBody>
      </p:sp>
    </p:spTree>
    <p:extLst>
      <p:ext uri="{BB962C8B-B14F-4D97-AF65-F5344CB8AC3E}">
        <p14:creationId xmlns:p14="http://schemas.microsoft.com/office/powerpoint/2010/main" val="33527843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79658" y="1340050"/>
          <a:ext cx="3300" cy="33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3" name="Слайд think-cell" r:id="rId5" imgW="286" imgH="286" progId="TCLayout.ActiveDocument.1">
                  <p:embed/>
                </p:oleObj>
              </mc:Choice>
              <mc:Fallback>
                <p:oleObj name="Слайд think-cell" r:id="rId5" imgW="286" imgH="286" progId="TCLayout.ActiveDocument.1">
                  <p:embed/>
                  <p:pic>
                    <p:nvPicPr>
                      <p:cNvPr id="17410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79658" y="1340050"/>
                        <a:ext cx="3300" cy="33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/>
          <p:cNvSpPr/>
          <p:nvPr/>
        </p:nvSpPr>
        <p:spPr>
          <a:xfrm>
            <a:off x="312984" y="999429"/>
            <a:ext cx="17515069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4994884">
              <a:spcAft>
                <a:spcPts val="668"/>
              </a:spcAft>
              <a:buClr>
                <a:srgbClr val="8FC54C"/>
              </a:buClr>
              <a:defRPr/>
            </a:pPr>
            <a:r>
              <a:rPr lang="ru-RU" sz="2800" b="1" dirty="0">
                <a:solidFill>
                  <a:srgbClr val="8FC54C"/>
                </a:solidFill>
              </a:rPr>
              <a:t>Банк ДОМ.РФ - №1 в </a:t>
            </a:r>
            <a:r>
              <a:rPr lang="ru-RU" sz="2800" b="1" dirty="0" err="1">
                <a:solidFill>
                  <a:srgbClr val="8FC54C"/>
                </a:solidFill>
              </a:rPr>
              <a:t>рэнкинге</a:t>
            </a:r>
            <a:r>
              <a:rPr lang="ru-RU" sz="2800" b="1" dirty="0">
                <a:solidFill>
                  <a:srgbClr val="8FC54C"/>
                </a:solidFill>
              </a:rPr>
              <a:t> организаторов выпусков </a:t>
            </a:r>
            <a:r>
              <a:rPr lang="en-US" sz="2800" b="1" dirty="0">
                <a:solidFill>
                  <a:srgbClr val="8FC54C"/>
                </a:solidFill>
              </a:rPr>
              <a:t>ESG</a:t>
            </a:r>
            <a:r>
              <a:rPr lang="ru-RU" sz="2800" b="1" dirty="0">
                <a:solidFill>
                  <a:srgbClr val="8FC54C"/>
                </a:solidFill>
              </a:rPr>
              <a:t>-облигаций </a:t>
            </a:r>
            <a:br>
              <a:rPr lang="ru-RU" sz="2800" b="1" dirty="0">
                <a:solidFill>
                  <a:srgbClr val="8FC54C"/>
                </a:solidFill>
              </a:rPr>
            </a:br>
            <a:r>
              <a:rPr lang="ru-RU" sz="2400" dirty="0">
                <a:solidFill>
                  <a:srgbClr val="8FC54C"/>
                </a:solidFill>
              </a:rPr>
              <a:t>(8 выпусков социальных облигаций на 75 млрд руб. и 3 выпуска «зеленых» облигаций на 13 млрд руб.)</a:t>
            </a:r>
            <a:endParaRPr lang="ru-RU" sz="2400" i="1" dirty="0">
              <a:solidFill>
                <a:prstClr val="white">
                  <a:lumMod val="50000"/>
                </a:prstClr>
              </a:solidFill>
              <a:latin typeface="Tahoma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30950" y="2056837"/>
            <a:ext cx="5409536" cy="16350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44994884">
              <a:spcAft>
                <a:spcPts val="668"/>
              </a:spcAft>
              <a:buClr>
                <a:srgbClr val="8FC54C"/>
              </a:buClr>
              <a:tabLst>
                <a:tab pos="396028" algn="l"/>
                <a:tab pos="792056" algn="l"/>
                <a:tab pos="1188085" algn="l"/>
                <a:tab pos="1584114" algn="l"/>
                <a:tab pos="1980142" algn="l"/>
                <a:tab pos="2376169" algn="l"/>
                <a:tab pos="2772198" algn="l"/>
                <a:tab pos="3168226" algn="l"/>
                <a:tab pos="3564254" algn="l"/>
                <a:tab pos="3960283" algn="l"/>
                <a:tab pos="4356311" algn="l"/>
                <a:tab pos="4752339" algn="l"/>
              </a:tabLst>
              <a:defRPr/>
            </a:pPr>
            <a:r>
              <a:rPr lang="ru-RU" sz="1671" dirty="0">
                <a:solidFill>
                  <a:srgbClr val="3E5057"/>
                </a:solidFill>
                <a:latin typeface="Tahoma"/>
              </a:rPr>
              <a:t>Ипотечный агент разместил </a:t>
            </a:r>
            <a:r>
              <a:rPr lang="ru-RU" sz="1671" b="1" dirty="0">
                <a:solidFill>
                  <a:srgbClr val="8FC54C"/>
                </a:solidFill>
                <a:latin typeface="Tahoma"/>
              </a:rPr>
              <a:t>первый в России выпуск «зеленых» ИЦБ</a:t>
            </a:r>
            <a:r>
              <a:rPr lang="ru-RU" sz="1671" dirty="0">
                <a:solidFill>
                  <a:srgbClr val="3E5057"/>
                </a:solidFill>
                <a:latin typeface="Tahoma"/>
              </a:rPr>
              <a:t> из кредитов, выданных Банком ДОМ.РФ в рамках льготных госпрограмм ипотеки </a:t>
            </a:r>
            <a:r>
              <a:rPr lang="ru-RU" sz="1671" dirty="0">
                <a:latin typeface="Tahoma"/>
              </a:rPr>
              <a:t>«Семейная ипотека» и «Льготная ипотека» </a:t>
            </a:r>
            <a:r>
              <a:rPr lang="ru-RU" sz="1671" strike="sngStrike" dirty="0">
                <a:solidFill>
                  <a:srgbClr val="FF0000"/>
                </a:solidFill>
                <a:latin typeface="Tahoma"/>
              </a:rPr>
              <a:t/>
            </a:r>
            <a:br>
              <a:rPr lang="ru-RU" sz="1671" strike="sngStrike" dirty="0">
                <a:solidFill>
                  <a:srgbClr val="FF0000"/>
                </a:solidFill>
                <a:latin typeface="Tahoma"/>
              </a:rPr>
            </a:br>
            <a:r>
              <a:rPr lang="ru-RU" sz="1671" dirty="0">
                <a:solidFill>
                  <a:srgbClr val="3E5057"/>
                </a:solidFill>
                <a:latin typeface="Tahoma"/>
              </a:rPr>
              <a:t>на покупку квартир в домах </a:t>
            </a:r>
            <a:r>
              <a:rPr lang="ru-RU" sz="1671" b="1" dirty="0">
                <a:solidFill>
                  <a:schemeClr val="accent6"/>
                </a:solidFill>
                <a:latin typeface="Tahoma"/>
              </a:rPr>
              <a:t>с классами энергоэффективности не ниже А</a:t>
            </a:r>
            <a:endParaRPr lang="ru-RU" sz="1671" b="1" i="1" dirty="0">
              <a:solidFill>
                <a:schemeClr val="accent6"/>
              </a:solidFill>
              <a:highlight>
                <a:srgbClr val="FFFF00"/>
              </a:highlight>
              <a:latin typeface="Tahoma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 flipH="1">
            <a:off x="6044308" y="2077236"/>
            <a:ext cx="0" cy="5934040"/>
          </a:xfrm>
          <a:prstGeom prst="line">
            <a:avLst/>
          </a:prstGeom>
          <a:ln w="1905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21" name="Picture 16" descr="Коммуникационные материалы — Устойчивое развитие">
            <a:extLst>
              <a:ext uri="{FF2B5EF4-FFF2-40B4-BE49-F238E27FC236}">
                <a16:creationId xmlns:a16="http://schemas.microsoft.com/office/drawing/2014/main" id="{4BBB3723-3AF5-B34C-9F36-4A8EF0F756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772" y="9659191"/>
            <a:ext cx="4209922" cy="853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International Capital Market Association (ICMA) Vector Logo - (.SVG + .PNG)  - SeekVectorLogo.Net">
            <a:extLst>
              <a:ext uri="{FF2B5EF4-FFF2-40B4-BE49-F238E27FC236}">
                <a16:creationId xmlns:a16="http://schemas.microsoft.com/office/drawing/2014/main" id="{4A9A347E-4A49-1341-B7E9-27AD8DF8A4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02" b="17196"/>
          <a:stretch/>
        </p:blipFill>
        <p:spPr bwMode="auto">
          <a:xfrm>
            <a:off x="5629132" y="9575964"/>
            <a:ext cx="2825467" cy="1117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71713" y="9469571"/>
            <a:ext cx="2931325" cy="1042951"/>
          </a:xfrm>
          <a:prstGeom prst="rect">
            <a:avLst/>
          </a:prstGeom>
        </p:spPr>
      </p:pic>
      <p:pic>
        <p:nvPicPr>
          <p:cNvPr id="24" name="Picture 248" descr="Индексы и рейтинги ESG — АФК «Система»">
            <a:extLst>
              <a:ext uri="{FF2B5EF4-FFF2-40B4-BE49-F238E27FC236}">
                <a16:creationId xmlns:a16="http://schemas.microsoft.com/office/drawing/2014/main" id="{8B55AA90-5749-4640-A8AF-A0D690FB72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53788" y="9804337"/>
            <a:ext cx="2709373" cy="650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Прямоугольник 39"/>
          <p:cNvSpPr/>
          <p:nvPr/>
        </p:nvSpPr>
        <p:spPr>
          <a:xfrm>
            <a:off x="341353" y="8332373"/>
            <a:ext cx="17773998" cy="10179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44994884">
              <a:spcAft>
                <a:spcPts val="668"/>
              </a:spcAft>
              <a:buClr>
                <a:srgbClr val="8FC54C"/>
              </a:buClr>
              <a:tabLst>
                <a:tab pos="396028" algn="l"/>
                <a:tab pos="792056" algn="l"/>
                <a:tab pos="1188085" algn="l"/>
                <a:tab pos="1584114" algn="l"/>
                <a:tab pos="1980142" algn="l"/>
                <a:tab pos="2376169" algn="l"/>
                <a:tab pos="2772198" algn="l"/>
                <a:tab pos="3168226" algn="l"/>
                <a:tab pos="3564254" algn="l"/>
                <a:tab pos="3960283" algn="l"/>
                <a:tab pos="4356311" algn="l"/>
                <a:tab pos="4752339" algn="l"/>
              </a:tabLst>
              <a:defRPr/>
            </a:pPr>
            <a:r>
              <a:rPr lang="ru-RU" sz="2005" dirty="0">
                <a:solidFill>
                  <a:srgbClr val="3E5057"/>
                </a:solidFill>
                <a:latin typeface="Tahoma"/>
              </a:rPr>
              <a:t>Выпуски </a:t>
            </a:r>
            <a:r>
              <a:rPr lang="en-US" sz="2005" dirty="0" err="1">
                <a:solidFill>
                  <a:srgbClr val="3E5057"/>
                </a:solidFill>
                <a:latin typeface="Tahoma"/>
              </a:rPr>
              <a:t>соответствуют</a:t>
            </a:r>
            <a:r>
              <a:rPr lang="en-US" sz="2005" dirty="0">
                <a:solidFill>
                  <a:srgbClr val="3E5057"/>
                </a:solidFill>
                <a:latin typeface="Tahoma"/>
              </a:rPr>
              <a:t> </a:t>
            </a:r>
            <a:r>
              <a:rPr lang="en-US" sz="2005" dirty="0" err="1">
                <a:latin typeface="Tahoma"/>
              </a:rPr>
              <a:t>критериям</a:t>
            </a:r>
            <a:r>
              <a:rPr lang="en-US" sz="2005" dirty="0">
                <a:latin typeface="Tahoma"/>
              </a:rPr>
              <a:t> Таксономии </a:t>
            </a:r>
            <a:r>
              <a:rPr lang="ru-RU" sz="2005" dirty="0"/>
              <a:t>«зеленых» проектов</a:t>
            </a:r>
            <a:r>
              <a:rPr lang="en-US" sz="2005" dirty="0">
                <a:latin typeface="Tahoma"/>
              </a:rPr>
              <a:t>,</a:t>
            </a:r>
            <a:r>
              <a:rPr lang="ru-RU" sz="2005" dirty="0">
                <a:latin typeface="Tahoma"/>
              </a:rPr>
              <a:t> </a:t>
            </a:r>
            <a:r>
              <a:rPr lang="ru-RU" sz="2005" dirty="0">
                <a:solidFill>
                  <a:srgbClr val="3E5057"/>
                </a:solidFill>
              </a:rPr>
              <a:t>стандартам эмиссии Банка России, </a:t>
            </a:r>
            <a:r>
              <a:rPr lang="ru-RU" sz="2005" dirty="0">
                <a:latin typeface="Tahoma"/>
              </a:rPr>
              <a:t>принципам зеленых облигаций ICMA, </a:t>
            </a:r>
            <a:r>
              <a:rPr lang="ru-RU" sz="2005" b="1" dirty="0">
                <a:solidFill>
                  <a:schemeClr val="accent6"/>
                </a:solidFill>
                <a:latin typeface="Tahoma"/>
              </a:rPr>
              <a:t>получили</a:t>
            </a:r>
            <a:r>
              <a:rPr lang="ru-RU" sz="2005" dirty="0">
                <a:latin typeface="Tahoma"/>
              </a:rPr>
              <a:t> </a:t>
            </a:r>
            <a:r>
              <a:rPr lang="ru-RU" sz="2005" b="1" dirty="0">
                <a:solidFill>
                  <a:schemeClr val="accent6"/>
                </a:solidFill>
                <a:latin typeface="Tahoma"/>
              </a:rPr>
              <a:t>независимое заключение о соответствии от Эксперт РА,</a:t>
            </a:r>
            <a:r>
              <a:rPr lang="ru-RU" sz="2005" dirty="0">
                <a:solidFill>
                  <a:srgbClr val="3E5057"/>
                </a:solidFill>
                <a:latin typeface="Tahoma"/>
              </a:rPr>
              <a:t> </a:t>
            </a:r>
            <a:r>
              <a:rPr lang="ru-RU" sz="2005" b="1" dirty="0">
                <a:solidFill>
                  <a:schemeClr val="accent6"/>
                </a:solidFill>
                <a:latin typeface="Tahoma"/>
              </a:rPr>
              <a:t>включены в сектор Устойчивого развития Московской биржи </a:t>
            </a:r>
            <a:br>
              <a:rPr lang="ru-RU" sz="2005" b="1" dirty="0">
                <a:solidFill>
                  <a:schemeClr val="accent6"/>
                </a:solidFill>
                <a:latin typeface="Tahoma"/>
              </a:rPr>
            </a:br>
            <a:r>
              <a:rPr lang="ru-RU" sz="2005" b="1" dirty="0">
                <a:solidFill>
                  <a:schemeClr val="accent6"/>
                </a:solidFill>
                <a:latin typeface="Tahoma"/>
              </a:rPr>
              <a:t>и входят в реестр «зеленых» облигаций Методологического центра Правительства Российской Федерации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6409358" y="2072763"/>
            <a:ext cx="5511796" cy="137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44994884">
              <a:spcAft>
                <a:spcPts val="668"/>
              </a:spcAft>
              <a:buClr>
                <a:srgbClr val="8FC54C"/>
              </a:buClr>
              <a:tabLst>
                <a:tab pos="396028" algn="l"/>
                <a:tab pos="792056" algn="l"/>
                <a:tab pos="1188085" algn="l"/>
                <a:tab pos="1584114" algn="l"/>
                <a:tab pos="1980142" algn="l"/>
                <a:tab pos="2376169" algn="l"/>
                <a:tab pos="2772198" algn="l"/>
                <a:tab pos="3168226" algn="l"/>
                <a:tab pos="3564254" algn="l"/>
                <a:tab pos="3960283" algn="l"/>
                <a:tab pos="4356311" algn="l"/>
                <a:tab pos="4752339" algn="l"/>
              </a:tabLst>
              <a:defRPr/>
            </a:pPr>
            <a:r>
              <a:rPr lang="ru-RU" sz="1671" dirty="0">
                <a:solidFill>
                  <a:srgbClr val="3E5057"/>
                </a:solidFill>
                <a:latin typeface="Tahoma"/>
              </a:rPr>
              <a:t>Банк ДОМ.РФ разместил </a:t>
            </a:r>
            <a:r>
              <a:rPr lang="ru-RU" sz="1671" b="1" dirty="0">
                <a:solidFill>
                  <a:srgbClr val="8FC54C"/>
                </a:solidFill>
                <a:latin typeface="Tahoma"/>
              </a:rPr>
              <a:t>первый</a:t>
            </a:r>
            <a:r>
              <a:rPr lang="ru-RU" sz="1671" dirty="0">
                <a:solidFill>
                  <a:srgbClr val="3E5057"/>
                </a:solidFill>
                <a:latin typeface="Tahoma"/>
              </a:rPr>
              <a:t> </a:t>
            </a:r>
            <a:r>
              <a:rPr lang="ru-RU" sz="1671" b="1" dirty="0">
                <a:solidFill>
                  <a:srgbClr val="8FC54C"/>
                </a:solidFill>
                <a:latin typeface="Tahoma"/>
              </a:rPr>
              <a:t>выпуск</a:t>
            </a:r>
            <a:r>
              <a:rPr lang="ru-RU" sz="1671" b="1" dirty="0">
                <a:solidFill>
                  <a:srgbClr val="3E5057"/>
                </a:solidFill>
                <a:latin typeface="Tahoma"/>
              </a:rPr>
              <a:t> </a:t>
            </a:r>
            <a:r>
              <a:rPr lang="ru-RU" sz="1671" b="1" dirty="0">
                <a:solidFill>
                  <a:srgbClr val="8FC54C"/>
                </a:solidFill>
                <a:latin typeface="Tahoma"/>
              </a:rPr>
              <a:t>«зеленых» облигаций </a:t>
            </a:r>
            <a:r>
              <a:rPr lang="ru-RU" sz="1671" dirty="0">
                <a:solidFill>
                  <a:srgbClr val="3E5057"/>
                </a:solidFill>
                <a:latin typeface="Tahoma"/>
              </a:rPr>
              <a:t>для рефинансирования портфеля кредитов проектного финансирования, выданных Банком на строительство жилых домов </a:t>
            </a:r>
            <a:br>
              <a:rPr lang="ru-RU" sz="1671" dirty="0">
                <a:solidFill>
                  <a:srgbClr val="3E5057"/>
                </a:solidFill>
                <a:latin typeface="Tahoma"/>
              </a:rPr>
            </a:br>
            <a:r>
              <a:rPr lang="ru-RU" sz="1671" b="1" dirty="0">
                <a:solidFill>
                  <a:schemeClr val="accent6"/>
                </a:solidFill>
                <a:latin typeface="Tahoma"/>
              </a:rPr>
              <a:t>с классами энергоэффективности не ниже А</a:t>
            </a:r>
            <a:endParaRPr lang="ru-RU" sz="1671" b="1" i="1" dirty="0">
              <a:solidFill>
                <a:schemeClr val="accent6"/>
              </a:solidFill>
              <a:highlight>
                <a:srgbClr val="FFFF00"/>
              </a:highlight>
              <a:latin typeface="Tahoma"/>
            </a:endParaRPr>
          </a:p>
        </p:txBody>
      </p:sp>
      <p:pic>
        <p:nvPicPr>
          <p:cNvPr id="37" name="Picture 34" descr="Логотип Московской Биржи очень похож на логотип Visual Studio 2012 / Хабр">
            <a:extLst>
              <a:ext uri="{FF2B5EF4-FFF2-40B4-BE49-F238E27FC236}">
                <a16:creationId xmlns:a16="http://schemas.microsoft.com/office/drawing/2014/main" id="{9FE4EB03-2EA9-2D4D-B24D-2607CE3170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2793" y="9746872"/>
            <a:ext cx="765650" cy="765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 flipH="1">
            <a:off x="12136904" y="2072763"/>
            <a:ext cx="0" cy="5934040"/>
          </a:xfrm>
          <a:prstGeom prst="line">
            <a:avLst/>
          </a:prstGeom>
          <a:ln w="1905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12352655" y="2079007"/>
            <a:ext cx="5762695" cy="137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44994884">
              <a:spcAft>
                <a:spcPts val="668"/>
              </a:spcAft>
              <a:buClr>
                <a:srgbClr val="8FC54C"/>
              </a:buClr>
              <a:tabLst>
                <a:tab pos="396028" algn="l"/>
                <a:tab pos="792056" algn="l"/>
                <a:tab pos="1188085" algn="l"/>
                <a:tab pos="1584114" algn="l"/>
                <a:tab pos="1980142" algn="l"/>
                <a:tab pos="2376169" algn="l"/>
                <a:tab pos="2772198" algn="l"/>
                <a:tab pos="3168226" algn="l"/>
                <a:tab pos="3564254" algn="l"/>
                <a:tab pos="3960283" algn="l"/>
                <a:tab pos="4356311" algn="l"/>
                <a:tab pos="4752339" algn="l"/>
              </a:tabLst>
              <a:defRPr/>
            </a:pPr>
            <a:r>
              <a:rPr lang="ru-RU" sz="1671" dirty="0">
                <a:solidFill>
                  <a:srgbClr val="3E5057"/>
                </a:solidFill>
                <a:latin typeface="+mj-lt"/>
              </a:rPr>
              <a:t>Банк ДОМ.РФ стал организатором </a:t>
            </a:r>
            <a:r>
              <a:rPr lang="ru-RU" sz="1671" b="1" dirty="0">
                <a:solidFill>
                  <a:schemeClr val="accent6"/>
                </a:solidFill>
                <a:latin typeface="+mj-lt"/>
              </a:rPr>
              <a:t>первого </a:t>
            </a:r>
            <a:br>
              <a:rPr lang="ru-RU" sz="1671" b="1" dirty="0">
                <a:solidFill>
                  <a:schemeClr val="accent6"/>
                </a:solidFill>
                <a:latin typeface="+mj-lt"/>
              </a:rPr>
            </a:br>
            <a:r>
              <a:rPr lang="ru-RU" sz="1671" b="1" dirty="0">
                <a:solidFill>
                  <a:schemeClr val="accent6"/>
                </a:solidFill>
                <a:latin typeface="+mj-lt"/>
              </a:rPr>
              <a:t>в России выпуска «зеленых» облигаций</a:t>
            </a:r>
            <a:r>
              <a:rPr lang="ru-RU" sz="1671" dirty="0">
                <a:solidFill>
                  <a:srgbClr val="3E5057"/>
                </a:solidFill>
                <a:latin typeface="+mj-lt"/>
              </a:rPr>
              <a:t> </a:t>
            </a:r>
            <a:r>
              <a:rPr lang="ru-RU" sz="1671" b="1" dirty="0">
                <a:solidFill>
                  <a:schemeClr val="accent6"/>
                </a:solidFill>
                <a:latin typeface="+mj-lt"/>
              </a:rPr>
              <a:t>девелопера</a:t>
            </a:r>
            <a:r>
              <a:rPr lang="ru-RU" sz="1671" dirty="0">
                <a:solidFill>
                  <a:srgbClr val="3E5057"/>
                </a:solidFill>
                <a:latin typeface="+mj-lt"/>
              </a:rPr>
              <a:t> для рефинансирования затрат застройщика на строительство многоквартирных домов </a:t>
            </a:r>
            <a:r>
              <a:rPr lang="ru-RU" sz="1671" b="1" dirty="0">
                <a:solidFill>
                  <a:schemeClr val="accent6"/>
                </a:solidFill>
                <a:latin typeface="+mj-lt"/>
              </a:rPr>
              <a:t>с классами энергоэффективности не ниже А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418983" y="3728973"/>
            <a:ext cx="5146181" cy="4241184"/>
            <a:chOff x="392751" y="3728973"/>
            <a:chExt cx="5146181" cy="4241184"/>
          </a:xfrm>
        </p:grpSpPr>
        <p:grpSp>
          <p:nvGrpSpPr>
            <p:cNvPr id="36" name="Группа 35"/>
            <p:cNvGrpSpPr/>
            <p:nvPr/>
          </p:nvGrpSpPr>
          <p:grpSpPr>
            <a:xfrm>
              <a:off x="392751" y="3728973"/>
              <a:ext cx="5146181" cy="4241184"/>
              <a:chOff x="10466953" y="2521330"/>
              <a:chExt cx="4620647" cy="4836734"/>
            </a:xfrm>
          </p:grpSpPr>
          <p:sp>
            <p:nvSpPr>
              <p:cNvPr id="10" name="Freeform 17">
                <a:extLst>
                  <a:ext uri="{FF2B5EF4-FFF2-40B4-BE49-F238E27FC236}">
                    <a16:creationId xmlns:a16="http://schemas.microsoft.com/office/drawing/2014/main" id="{2E47A250-8515-B544-87A4-52AA8CA81AC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0466953" y="2521330"/>
                <a:ext cx="4620647" cy="4836734"/>
              </a:xfrm>
              <a:prstGeom prst="rect">
                <a:avLst/>
              </a:prstGeom>
              <a:solidFill>
                <a:srgbClr val="FFFFFF"/>
              </a:solidFill>
              <a:ln w="6350" cap="rnd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defTabSz="1425702">
                  <a:defRPr/>
                </a:pPr>
                <a:endParaRPr lang="ru-RU" sz="3564" kern="0" dirty="0">
                  <a:solidFill>
                    <a:sysClr val="windowText" lastClr="000000"/>
                  </a:solidFill>
                  <a:latin typeface="Tahoma"/>
                  <a:cs typeface="Arial" pitchFamily="34" charset="0"/>
                </a:endParaRPr>
              </a:p>
            </p:txBody>
          </p:sp>
          <p:sp>
            <p:nvSpPr>
              <p:cNvPr id="11" name="Text Box 16">
                <a:extLst>
                  <a:ext uri="{FF2B5EF4-FFF2-40B4-BE49-F238E27FC236}">
                    <a16:creationId xmlns:a16="http://schemas.microsoft.com/office/drawing/2014/main" id="{CA107C3B-E77A-F041-8128-1CEC75BEFDCB}"/>
                  </a:ext>
                </a:extLst>
              </p:cNvPr>
              <p:cNvSpPr txBox="1">
                <a:spLocks noChangeAspect="1" noChangeArrowheads="1"/>
              </p:cNvSpPr>
              <p:nvPr/>
            </p:nvSpPr>
            <p:spPr bwMode="auto">
              <a:xfrm>
                <a:off x="11584740" y="6236461"/>
                <a:ext cx="2385073" cy="2462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eaLnBrk="0" hangingPunct="0"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5pPr>
                <a:lvl6pPr marL="25146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6pPr>
                <a:lvl7pPr marL="29718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7pPr>
                <a:lvl8pPr marL="34290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8pPr>
                <a:lvl9pPr marL="38862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9pPr>
              </a:lstStyle>
              <a:p>
                <a:pPr algn="ctr" defTabSz="1425702">
                  <a:lnSpc>
                    <a:spcPct val="90000"/>
                  </a:lnSpc>
                  <a:defRPr/>
                </a:pPr>
                <a:r>
                  <a:rPr lang="ru-RU" sz="1559" b="0" kern="0" dirty="0">
                    <a:solidFill>
                      <a:prstClr val="white">
                        <a:lumMod val="50000"/>
                      </a:prstClr>
                    </a:solidFill>
                    <a:latin typeface="Tahoma"/>
                    <a:cs typeface="Arial" pitchFamily="34" charset="0"/>
                  </a:rPr>
                  <a:t>Организатор</a:t>
                </a:r>
                <a:endParaRPr lang="ru-RU" sz="1002" b="0" kern="0" dirty="0">
                  <a:solidFill>
                    <a:prstClr val="white">
                      <a:lumMod val="50000"/>
                    </a:prstClr>
                  </a:solidFill>
                  <a:latin typeface="Tahoma"/>
                  <a:cs typeface="Arial" pitchFamily="34" charset="0"/>
                </a:endParaRPr>
              </a:p>
            </p:txBody>
          </p:sp>
          <p:grpSp>
            <p:nvGrpSpPr>
              <p:cNvPr id="12" name="Группа 11"/>
              <p:cNvGrpSpPr/>
              <p:nvPr/>
            </p:nvGrpSpPr>
            <p:grpSpPr>
              <a:xfrm>
                <a:off x="10738031" y="2691017"/>
                <a:ext cx="4132398" cy="625502"/>
                <a:chOff x="3412097" y="941711"/>
                <a:chExt cx="2437548" cy="601178"/>
              </a:xfrm>
            </p:grpSpPr>
            <p:sp>
              <p:nvSpPr>
                <p:cNvPr id="13" name="Rectangle 13">
                  <a:extLst>
                    <a:ext uri="{FF2B5EF4-FFF2-40B4-BE49-F238E27FC236}">
                      <a16:creationId xmlns:a16="http://schemas.microsoft.com/office/drawing/2014/main" id="{755C5EF5-4673-3745-BF4E-5071ADAA273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3412097" y="941711"/>
                  <a:ext cx="1098798" cy="60117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/>
                <a:p>
                  <a:pPr defTabSz="1425702">
                    <a:defRPr/>
                  </a:pPr>
                  <a:r>
                    <a:rPr lang="ru-RU" sz="1782" kern="0" dirty="0">
                      <a:solidFill>
                        <a:prstClr val="white">
                          <a:lumMod val="50000"/>
                        </a:prstClr>
                      </a:solidFill>
                      <a:latin typeface="Tahoma"/>
                      <a:cs typeface="Arial" pitchFamily="34" charset="0"/>
                    </a:rPr>
                    <a:t>Книга заявок</a:t>
                  </a:r>
                </a:p>
                <a:p>
                  <a:pPr defTabSz="1425702">
                    <a:defRPr/>
                  </a:pPr>
                  <a:r>
                    <a:rPr lang="ru-RU" sz="1782" kern="0" dirty="0">
                      <a:solidFill>
                        <a:prstClr val="white">
                          <a:lumMod val="50000"/>
                        </a:prstClr>
                      </a:solidFill>
                      <a:latin typeface="Tahoma"/>
                      <a:cs typeface="Arial" pitchFamily="34" charset="0"/>
                    </a:rPr>
                    <a:t>Размещение</a:t>
                  </a:r>
                </a:p>
              </p:txBody>
            </p:sp>
            <p:sp>
              <p:nvSpPr>
                <p:cNvPr id="14" name="Rectangle 14">
                  <a:extLst>
                    <a:ext uri="{FF2B5EF4-FFF2-40B4-BE49-F238E27FC236}">
                      <a16:creationId xmlns:a16="http://schemas.microsoft.com/office/drawing/2014/main" id="{5FE5BCB4-379E-304D-8E51-5EDDAEDD6B0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38648" y="941712"/>
                  <a:ext cx="1210997" cy="60117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 anchor="ctr">
                  <a:spAutoFit/>
                </a:bodyPr>
                <a:lstStyle/>
                <a:p>
                  <a:pPr algn="r" defTabSz="1425702">
                    <a:defRPr/>
                  </a:pPr>
                  <a:r>
                    <a:rPr lang="ru-RU" sz="1782" kern="0" dirty="0">
                      <a:solidFill>
                        <a:srgbClr val="3E5057"/>
                      </a:solidFill>
                      <a:latin typeface="Tahoma"/>
                      <a:cs typeface="Arial" pitchFamily="34" charset="0"/>
                    </a:rPr>
                    <a:t>29 ноября 2022</a:t>
                  </a:r>
                </a:p>
                <a:p>
                  <a:pPr algn="r" defTabSz="1425702">
                    <a:defRPr/>
                  </a:pPr>
                  <a:r>
                    <a:rPr lang="ru-RU" sz="1782" kern="0" dirty="0">
                      <a:solidFill>
                        <a:srgbClr val="3E5057"/>
                      </a:solidFill>
                      <a:latin typeface="Tahoma"/>
                      <a:cs typeface="Arial" pitchFamily="34" charset="0"/>
                    </a:rPr>
                    <a:t>30 ноября 2022</a:t>
                  </a:r>
                </a:p>
              </p:txBody>
            </p:sp>
          </p:grpSp>
          <p:pic>
            <p:nvPicPr>
              <p:cNvPr id="15" name="Рисунок 14">
                <a:extLst>
                  <a:ext uri="{FF2B5EF4-FFF2-40B4-BE49-F238E27FC236}">
                    <a16:creationId xmlns:a16="http://schemas.microsoft.com/office/drawing/2014/main" id="{6EF6990A-7E2C-3648-AEEB-BEB07AF0258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t="1677" b="-1"/>
              <a:stretch/>
            </p:blipFill>
            <p:spPr>
              <a:xfrm>
                <a:off x="11996625" y="6611721"/>
                <a:ext cx="1561303" cy="614104"/>
              </a:xfrm>
              <a:prstGeom prst="rect">
                <a:avLst/>
              </a:prstGeom>
            </p:spPr>
          </p:pic>
          <p:sp>
            <p:nvSpPr>
              <p:cNvPr id="17" name="Rectangle 15">
                <a:extLst>
                  <a:ext uri="{FF2B5EF4-FFF2-40B4-BE49-F238E27FC236}">
                    <a16:creationId xmlns:a16="http://schemas.microsoft.com/office/drawing/2014/main" id="{1228CE79-3B77-E542-851B-68B7C82B95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99477" y="4370904"/>
                <a:ext cx="3955599" cy="17774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56133" tIns="71281" rIns="56133" bIns="71281">
                <a:spAutoFit/>
              </a:bodyPr>
              <a:lstStyle/>
              <a:p>
                <a:pPr algn="ctr" defTabSz="1425702">
                  <a:spcBef>
                    <a:spcPct val="10000"/>
                  </a:spcBef>
                  <a:defRPr/>
                </a:pPr>
                <a:r>
                  <a:rPr lang="ru-RU" sz="2005" kern="0" dirty="0">
                    <a:solidFill>
                      <a:srgbClr val="3E5057"/>
                    </a:solidFill>
                    <a:latin typeface="Tahoma"/>
                    <a:cs typeface="Arial" pitchFamily="34" charset="0"/>
                  </a:rPr>
                  <a:t>Выпуск </a:t>
                </a:r>
                <a:r>
                  <a:rPr lang="ru-RU" sz="2005" b="1" kern="0" dirty="0">
                    <a:solidFill>
                      <a:srgbClr val="8FC54C"/>
                    </a:solidFill>
                    <a:latin typeface="Tahoma"/>
                    <a:cs typeface="Arial" pitchFamily="34" charset="0"/>
                  </a:rPr>
                  <a:t>«зеленых» </a:t>
                </a:r>
                <a:r>
                  <a:rPr lang="ru-RU" sz="2005" kern="0" dirty="0">
                    <a:solidFill>
                      <a:srgbClr val="3E5057"/>
                    </a:solidFill>
                    <a:latin typeface="Tahoma"/>
                    <a:cs typeface="Arial" pitchFamily="34" charset="0"/>
                  </a:rPr>
                  <a:t>облигаций</a:t>
                </a:r>
                <a:br>
                  <a:rPr lang="ru-RU" sz="2005" kern="0" dirty="0">
                    <a:solidFill>
                      <a:srgbClr val="3E5057"/>
                    </a:solidFill>
                    <a:latin typeface="Tahoma"/>
                    <a:cs typeface="Arial" pitchFamily="34" charset="0"/>
                  </a:rPr>
                </a:br>
                <a:r>
                  <a:rPr lang="ru-RU" sz="2005" kern="0" dirty="0">
                    <a:latin typeface="Tahoma"/>
                    <a:cs typeface="Arial" pitchFamily="34" charset="0"/>
                  </a:rPr>
                  <a:t>с купоном по ставке</a:t>
                </a:r>
              </a:p>
              <a:p>
                <a:pPr algn="ctr" defTabSz="1425702">
                  <a:spcBef>
                    <a:spcPct val="10000"/>
                  </a:spcBef>
                  <a:defRPr/>
                </a:pPr>
                <a:r>
                  <a:rPr lang="ru-RU" sz="2005" b="1" kern="0" dirty="0">
                    <a:latin typeface="Tahoma"/>
                    <a:cs typeface="Arial" pitchFamily="34" charset="0"/>
                  </a:rPr>
                  <a:t>КС + 0,47%</a:t>
                </a:r>
              </a:p>
              <a:p>
                <a:pPr algn="ctr" defTabSz="1425702">
                  <a:spcBef>
                    <a:spcPts val="936"/>
                  </a:spcBef>
                  <a:spcAft>
                    <a:spcPts val="936"/>
                  </a:spcAft>
                  <a:defRPr/>
                </a:pPr>
                <a:r>
                  <a:rPr lang="ru-RU" sz="2227" b="1" kern="0" dirty="0">
                    <a:solidFill>
                      <a:srgbClr val="3E5057"/>
                    </a:solidFill>
                    <a:latin typeface="Tahoma"/>
                    <a:cs typeface="Arial" pitchFamily="34" charset="0"/>
                  </a:rPr>
                  <a:t>5 477 816 000 РУБ</a:t>
                </a:r>
              </a:p>
            </p:txBody>
          </p:sp>
        </p:grp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93ED3922-9010-4CBF-8554-43056EEB9DE1}"/>
                </a:ext>
              </a:extLst>
            </p:cNvPr>
            <p:cNvSpPr txBox="1"/>
            <p:nvPr/>
          </p:nvSpPr>
          <p:spPr>
            <a:xfrm>
              <a:off x="2735384" y="4592016"/>
              <a:ext cx="1457034" cy="5034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63775">
                <a:defRPr/>
              </a:pPr>
              <a:r>
                <a:rPr lang="ru-RU" sz="1336" b="1" dirty="0">
                  <a:solidFill>
                    <a:srgbClr val="3E5057">
                      <a:lumMod val="50000"/>
                    </a:srgbClr>
                  </a:solidFill>
                  <a:latin typeface="Etelka Light Pro" panose="02000503030000020004" pitchFamily="50" charset="0"/>
                </a:rPr>
                <a:t>Ипотечный </a:t>
              </a:r>
              <a:br>
                <a:rPr lang="ru-RU" sz="1336" b="1" dirty="0">
                  <a:solidFill>
                    <a:srgbClr val="3E5057">
                      <a:lumMod val="50000"/>
                    </a:srgbClr>
                  </a:solidFill>
                  <a:latin typeface="Etelka Light Pro" panose="02000503030000020004" pitchFamily="50" charset="0"/>
                </a:rPr>
              </a:br>
              <a:r>
                <a:rPr lang="ru-RU" sz="1336" b="1" dirty="0">
                  <a:solidFill>
                    <a:srgbClr val="3E5057">
                      <a:lumMod val="50000"/>
                    </a:srgbClr>
                  </a:solidFill>
                  <a:latin typeface="Etelka Light Pro" panose="02000503030000020004" pitchFamily="50" charset="0"/>
                </a:rPr>
                <a:t>агент</a:t>
              </a:r>
            </a:p>
          </p:txBody>
        </p:sp>
        <p:pic>
          <p:nvPicPr>
            <p:cNvPr id="54" name="Рисунок 53">
              <a:extLst>
                <a:ext uri="{FF2B5EF4-FFF2-40B4-BE49-F238E27FC236}">
                  <a16:creationId xmlns:a16="http://schemas.microsoft.com/office/drawing/2014/main" id="{F39E8325-A5B0-4184-9659-3E0BE1E2D3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1" r="59510" b="-557"/>
            <a:stretch/>
          </p:blipFill>
          <p:spPr>
            <a:xfrm>
              <a:off x="1986510" y="4480031"/>
              <a:ext cx="829887" cy="839916"/>
            </a:xfrm>
            <a:prstGeom prst="rect">
              <a:avLst/>
            </a:prstGeom>
          </p:spPr>
        </p:pic>
      </p:grpSp>
      <p:grpSp>
        <p:nvGrpSpPr>
          <p:cNvPr id="5" name="Группа 4"/>
          <p:cNvGrpSpPr/>
          <p:nvPr/>
        </p:nvGrpSpPr>
        <p:grpSpPr>
          <a:xfrm>
            <a:off x="6620379" y="3728973"/>
            <a:ext cx="5146181" cy="4241184"/>
            <a:chOff x="6497429" y="3728973"/>
            <a:chExt cx="5146181" cy="4241184"/>
          </a:xfrm>
        </p:grpSpPr>
        <p:grpSp>
          <p:nvGrpSpPr>
            <p:cNvPr id="35" name="Группа 34"/>
            <p:cNvGrpSpPr/>
            <p:nvPr/>
          </p:nvGrpSpPr>
          <p:grpSpPr>
            <a:xfrm>
              <a:off x="6497429" y="3728973"/>
              <a:ext cx="5146181" cy="4241184"/>
              <a:chOff x="1819308" y="2564191"/>
              <a:chExt cx="4620647" cy="4836734"/>
            </a:xfrm>
          </p:grpSpPr>
          <p:sp>
            <p:nvSpPr>
              <p:cNvPr id="25" name="Freeform 17">
                <a:extLst>
                  <a:ext uri="{FF2B5EF4-FFF2-40B4-BE49-F238E27FC236}">
                    <a16:creationId xmlns:a16="http://schemas.microsoft.com/office/drawing/2014/main" id="{2E47A250-8515-B544-87A4-52AA8CA81AC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19308" y="2564191"/>
                <a:ext cx="4620647" cy="4836734"/>
              </a:xfrm>
              <a:prstGeom prst="rect">
                <a:avLst/>
              </a:prstGeom>
              <a:solidFill>
                <a:srgbClr val="FFFFFF"/>
              </a:solidFill>
              <a:ln w="6350" cap="rnd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defTabSz="1425702">
                  <a:defRPr/>
                </a:pPr>
                <a:endParaRPr lang="ru-RU" sz="3564" kern="0" dirty="0">
                  <a:solidFill>
                    <a:sysClr val="windowText" lastClr="000000"/>
                  </a:solidFill>
                  <a:latin typeface="Tahoma"/>
                  <a:cs typeface="Arial" pitchFamily="34" charset="0"/>
                </a:endParaRPr>
              </a:p>
            </p:txBody>
          </p:sp>
          <p:sp>
            <p:nvSpPr>
              <p:cNvPr id="26" name="Text Box 16">
                <a:extLst>
                  <a:ext uri="{FF2B5EF4-FFF2-40B4-BE49-F238E27FC236}">
                    <a16:creationId xmlns:a16="http://schemas.microsoft.com/office/drawing/2014/main" id="{CA107C3B-E77A-F041-8128-1CEC75BEFDCB}"/>
                  </a:ext>
                </a:extLst>
              </p:cNvPr>
              <p:cNvSpPr txBox="1">
                <a:spLocks noChangeAspect="1" noChangeArrowheads="1"/>
              </p:cNvSpPr>
              <p:nvPr/>
            </p:nvSpPr>
            <p:spPr bwMode="auto">
              <a:xfrm>
                <a:off x="2977233" y="6279322"/>
                <a:ext cx="2385073" cy="2462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eaLnBrk="0" hangingPunct="0"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5pPr>
                <a:lvl6pPr marL="25146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6pPr>
                <a:lvl7pPr marL="29718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7pPr>
                <a:lvl8pPr marL="34290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8pPr>
                <a:lvl9pPr marL="38862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9pPr>
              </a:lstStyle>
              <a:p>
                <a:pPr algn="ctr" defTabSz="1425702">
                  <a:lnSpc>
                    <a:spcPct val="90000"/>
                  </a:lnSpc>
                  <a:defRPr/>
                </a:pPr>
                <a:r>
                  <a:rPr lang="ru-RU" sz="1559" b="0" kern="0" dirty="0">
                    <a:solidFill>
                      <a:prstClr val="white">
                        <a:lumMod val="50000"/>
                      </a:prstClr>
                    </a:solidFill>
                    <a:latin typeface="Tahoma"/>
                    <a:cs typeface="Arial" pitchFamily="34" charset="0"/>
                  </a:rPr>
                  <a:t>Организатор</a:t>
                </a:r>
                <a:endParaRPr lang="ru-RU" sz="1002" b="0" kern="0" dirty="0">
                  <a:solidFill>
                    <a:prstClr val="white">
                      <a:lumMod val="50000"/>
                    </a:prstClr>
                  </a:solidFill>
                  <a:latin typeface="Tahoma"/>
                  <a:cs typeface="Arial" pitchFamily="34" charset="0"/>
                </a:endParaRPr>
              </a:p>
            </p:txBody>
          </p:sp>
          <p:grpSp>
            <p:nvGrpSpPr>
              <p:cNvPr id="27" name="Группа 26"/>
              <p:cNvGrpSpPr/>
              <p:nvPr/>
            </p:nvGrpSpPr>
            <p:grpSpPr>
              <a:xfrm>
                <a:off x="2090386" y="2733879"/>
                <a:ext cx="4132398" cy="625503"/>
                <a:chOff x="3412097" y="941712"/>
                <a:chExt cx="2437548" cy="601179"/>
              </a:xfrm>
            </p:grpSpPr>
            <p:sp>
              <p:nvSpPr>
                <p:cNvPr id="28" name="Rectangle 13">
                  <a:extLst>
                    <a:ext uri="{FF2B5EF4-FFF2-40B4-BE49-F238E27FC236}">
                      <a16:creationId xmlns:a16="http://schemas.microsoft.com/office/drawing/2014/main" id="{755C5EF5-4673-3745-BF4E-5071ADAA273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3412097" y="941712"/>
                  <a:ext cx="1098798" cy="60117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/>
                <a:p>
                  <a:pPr defTabSz="1425702">
                    <a:defRPr/>
                  </a:pPr>
                  <a:r>
                    <a:rPr lang="ru-RU" sz="1782" kern="0" dirty="0">
                      <a:solidFill>
                        <a:prstClr val="white">
                          <a:lumMod val="50000"/>
                        </a:prstClr>
                      </a:solidFill>
                      <a:latin typeface="Tahoma"/>
                      <a:cs typeface="Arial" pitchFamily="34" charset="0"/>
                    </a:rPr>
                    <a:t>Книга заявок</a:t>
                  </a:r>
                </a:p>
                <a:p>
                  <a:pPr defTabSz="1425702">
                    <a:defRPr/>
                  </a:pPr>
                  <a:r>
                    <a:rPr lang="ru-RU" sz="1782" kern="0" dirty="0">
                      <a:solidFill>
                        <a:prstClr val="white">
                          <a:lumMod val="50000"/>
                        </a:prstClr>
                      </a:solidFill>
                      <a:latin typeface="Tahoma"/>
                      <a:cs typeface="Arial" pitchFamily="34" charset="0"/>
                    </a:rPr>
                    <a:t>Размещение</a:t>
                  </a:r>
                </a:p>
              </p:txBody>
            </p:sp>
            <p:sp>
              <p:nvSpPr>
                <p:cNvPr id="29" name="Rectangle 14">
                  <a:extLst>
                    <a:ext uri="{FF2B5EF4-FFF2-40B4-BE49-F238E27FC236}">
                      <a16:creationId xmlns:a16="http://schemas.microsoft.com/office/drawing/2014/main" id="{5FE5BCB4-379E-304D-8E51-5EDDAEDD6B0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38648" y="941714"/>
                  <a:ext cx="1210997" cy="60117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 anchor="ctr">
                  <a:spAutoFit/>
                </a:bodyPr>
                <a:lstStyle/>
                <a:p>
                  <a:pPr algn="r" defTabSz="1425702">
                    <a:defRPr/>
                  </a:pPr>
                  <a:r>
                    <a:rPr lang="ru-RU" sz="1782" kern="0" dirty="0">
                      <a:solidFill>
                        <a:srgbClr val="3E5057"/>
                      </a:solidFill>
                      <a:latin typeface="Tahoma"/>
                      <a:cs typeface="Arial" pitchFamily="34" charset="0"/>
                    </a:rPr>
                    <a:t>15 февраля 2023</a:t>
                  </a:r>
                </a:p>
                <a:p>
                  <a:pPr algn="r" defTabSz="1425702">
                    <a:defRPr/>
                  </a:pPr>
                  <a:r>
                    <a:rPr lang="ru-RU" sz="1782" kern="0" dirty="0">
                      <a:solidFill>
                        <a:srgbClr val="3E5057"/>
                      </a:solidFill>
                      <a:latin typeface="Tahoma"/>
                      <a:cs typeface="Arial" pitchFamily="34" charset="0"/>
                    </a:rPr>
                    <a:t>21 февраля 2023</a:t>
                  </a:r>
                </a:p>
              </p:txBody>
            </p:sp>
          </p:grpSp>
          <p:sp>
            <p:nvSpPr>
              <p:cNvPr id="31" name="Rectangle 15">
                <a:extLst>
                  <a:ext uri="{FF2B5EF4-FFF2-40B4-BE49-F238E27FC236}">
                    <a16:creationId xmlns:a16="http://schemas.microsoft.com/office/drawing/2014/main" id="{1228CE79-3B77-E542-851B-68B7C82B95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91969" y="4413765"/>
                <a:ext cx="3955599" cy="17774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56133" tIns="71281" rIns="56133" bIns="71281">
                <a:spAutoFit/>
              </a:bodyPr>
              <a:lstStyle/>
              <a:p>
                <a:pPr algn="ctr" defTabSz="1425702">
                  <a:spcBef>
                    <a:spcPct val="10000"/>
                  </a:spcBef>
                  <a:defRPr/>
                </a:pPr>
                <a:r>
                  <a:rPr lang="ru-RU" sz="2005" kern="0" dirty="0">
                    <a:solidFill>
                      <a:srgbClr val="3E5057"/>
                    </a:solidFill>
                    <a:latin typeface="Tahoma"/>
                    <a:cs typeface="Arial" pitchFamily="34" charset="0"/>
                  </a:rPr>
                  <a:t>Выпуск </a:t>
                </a:r>
                <a:r>
                  <a:rPr lang="ru-RU" sz="2005" b="1" kern="0" dirty="0">
                    <a:solidFill>
                      <a:srgbClr val="8FC54C"/>
                    </a:solidFill>
                    <a:latin typeface="Tahoma"/>
                    <a:cs typeface="Arial" pitchFamily="34" charset="0"/>
                  </a:rPr>
                  <a:t>«зеленых» </a:t>
                </a:r>
                <a:r>
                  <a:rPr lang="ru-RU" sz="2005" kern="0" dirty="0">
                    <a:solidFill>
                      <a:srgbClr val="3E5057"/>
                    </a:solidFill>
                    <a:latin typeface="Tahoma"/>
                    <a:cs typeface="Arial" pitchFamily="34" charset="0"/>
                  </a:rPr>
                  <a:t>облигаций</a:t>
                </a:r>
                <a:br>
                  <a:rPr lang="ru-RU" sz="2005" kern="0" dirty="0">
                    <a:solidFill>
                      <a:srgbClr val="3E5057"/>
                    </a:solidFill>
                    <a:latin typeface="Tahoma"/>
                    <a:cs typeface="Arial" pitchFamily="34" charset="0"/>
                  </a:rPr>
                </a:br>
                <a:r>
                  <a:rPr lang="ru-RU" sz="2005" kern="0" dirty="0">
                    <a:latin typeface="Tahoma"/>
                    <a:cs typeface="Arial" pitchFamily="34" charset="0"/>
                  </a:rPr>
                  <a:t>с купоном по ставке</a:t>
                </a:r>
              </a:p>
              <a:p>
                <a:pPr algn="ctr" defTabSz="1425702">
                  <a:spcBef>
                    <a:spcPct val="10000"/>
                  </a:spcBef>
                  <a:defRPr/>
                </a:pPr>
                <a:r>
                  <a:rPr lang="ru-RU" sz="2005" b="1" kern="0" dirty="0">
                    <a:latin typeface="Tahoma"/>
                    <a:cs typeface="Arial" pitchFamily="34" charset="0"/>
                  </a:rPr>
                  <a:t>9,70%</a:t>
                </a:r>
              </a:p>
              <a:p>
                <a:pPr algn="ctr" defTabSz="1425702">
                  <a:spcBef>
                    <a:spcPts val="936"/>
                  </a:spcBef>
                  <a:spcAft>
                    <a:spcPts val="936"/>
                  </a:spcAft>
                  <a:defRPr/>
                </a:pPr>
                <a:r>
                  <a:rPr lang="ru-RU" sz="2227" b="1" kern="0" dirty="0">
                    <a:solidFill>
                      <a:srgbClr val="3E5057"/>
                    </a:solidFill>
                    <a:latin typeface="Tahoma"/>
                    <a:cs typeface="Arial" pitchFamily="34" charset="0"/>
                  </a:rPr>
                  <a:t>5 000 000 000 РУБ</a:t>
                </a:r>
              </a:p>
            </p:txBody>
          </p:sp>
        </p:grpSp>
        <p:pic>
          <p:nvPicPr>
            <p:cNvPr id="55" name="Рисунок 54">
              <a:extLst>
                <a:ext uri="{FF2B5EF4-FFF2-40B4-BE49-F238E27FC236}">
                  <a16:creationId xmlns:a16="http://schemas.microsoft.com/office/drawing/2014/main" id="{6EF6990A-7E2C-3648-AEEB-BEB07AF025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1677" b="-1"/>
            <a:stretch/>
          </p:blipFill>
          <p:spPr>
            <a:xfrm>
              <a:off x="8280845" y="7325793"/>
              <a:ext cx="1738879" cy="538489"/>
            </a:xfrm>
            <a:prstGeom prst="rect">
              <a:avLst/>
            </a:prstGeom>
          </p:spPr>
        </p:pic>
        <p:pic>
          <p:nvPicPr>
            <p:cNvPr id="56" name="Рисунок 55">
              <a:extLst>
                <a:ext uri="{FF2B5EF4-FFF2-40B4-BE49-F238E27FC236}">
                  <a16:creationId xmlns:a16="http://schemas.microsoft.com/office/drawing/2014/main" id="{6EF6990A-7E2C-3648-AEEB-BEB07AF025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1677" b="-1"/>
            <a:stretch/>
          </p:blipFill>
          <p:spPr>
            <a:xfrm>
              <a:off x="8114137" y="4632961"/>
              <a:ext cx="1912767" cy="592337"/>
            </a:xfrm>
            <a:prstGeom prst="rect">
              <a:avLst/>
            </a:prstGeom>
          </p:spPr>
        </p:pic>
      </p:grpSp>
      <p:grpSp>
        <p:nvGrpSpPr>
          <p:cNvPr id="3" name="Группа 2"/>
          <p:cNvGrpSpPr/>
          <p:nvPr/>
        </p:nvGrpSpPr>
        <p:grpSpPr>
          <a:xfrm>
            <a:off x="12681872" y="3728973"/>
            <a:ext cx="5146181" cy="4241184"/>
            <a:chOff x="12440727" y="3722758"/>
            <a:chExt cx="5146181" cy="4241184"/>
          </a:xfrm>
        </p:grpSpPr>
        <p:grpSp>
          <p:nvGrpSpPr>
            <p:cNvPr id="43" name="Группа 42"/>
            <p:cNvGrpSpPr/>
            <p:nvPr/>
          </p:nvGrpSpPr>
          <p:grpSpPr>
            <a:xfrm>
              <a:off x="12440727" y="3722758"/>
              <a:ext cx="5146181" cy="4241184"/>
              <a:chOff x="1819308" y="2564191"/>
              <a:chExt cx="4620647" cy="4836734"/>
            </a:xfrm>
          </p:grpSpPr>
          <p:sp>
            <p:nvSpPr>
              <p:cNvPr id="44" name="Freeform 17">
                <a:extLst>
                  <a:ext uri="{FF2B5EF4-FFF2-40B4-BE49-F238E27FC236}">
                    <a16:creationId xmlns:a16="http://schemas.microsoft.com/office/drawing/2014/main" id="{2E47A250-8515-B544-87A4-52AA8CA81AC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819308" y="2564191"/>
                <a:ext cx="4620647" cy="4836734"/>
              </a:xfrm>
              <a:prstGeom prst="rect">
                <a:avLst/>
              </a:prstGeom>
              <a:solidFill>
                <a:srgbClr val="FFFFFF"/>
              </a:solidFill>
              <a:ln w="6350" cap="rnd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defTabSz="1425702">
                  <a:defRPr/>
                </a:pPr>
                <a:endParaRPr lang="ru-RU" sz="3564" kern="0" dirty="0">
                  <a:solidFill>
                    <a:sysClr val="windowText" lastClr="000000"/>
                  </a:solidFill>
                  <a:latin typeface="Tahoma"/>
                  <a:cs typeface="Arial" pitchFamily="34" charset="0"/>
                </a:endParaRPr>
              </a:p>
            </p:txBody>
          </p:sp>
          <p:sp>
            <p:nvSpPr>
              <p:cNvPr id="45" name="Text Box 16">
                <a:extLst>
                  <a:ext uri="{FF2B5EF4-FFF2-40B4-BE49-F238E27FC236}">
                    <a16:creationId xmlns:a16="http://schemas.microsoft.com/office/drawing/2014/main" id="{CA107C3B-E77A-F041-8128-1CEC75BEFDCB}"/>
                  </a:ext>
                </a:extLst>
              </p:cNvPr>
              <p:cNvSpPr txBox="1">
                <a:spLocks noChangeAspect="1" noChangeArrowheads="1"/>
              </p:cNvSpPr>
              <p:nvPr/>
            </p:nvSpPr>
            <p:spPr bwMode="auto">
              <a:xfrm>
                <a:off x="2937095" y="6279322"/>
                <a:ext cx="2385073" cy="2462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eaLnBrk="0" hangingPunct="0"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5pPr>
                <a:lvl6pPr marL="25146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6pPr>
                <a:lvl7pPr marL="29718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7pPr>
                <a:lvl8pPr marL="34290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8pPr>
                <a:lvl9pPr marL="3886200" indent="-228600"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rgbClr val="BABFB7"/>
                    </a:solidFill>
                    <a:latin typeface="Arial" pitchFamily="34" charset="0"/>
                  </a:defRPr>
                </a:lvl9pPr>
              </a:lstStyle>
              <a:p>
                <a:pPr algn="ctr" defTabSz="1425702">
                  <a:lnSpc>
                    <a:spcPct val="90000"/>
                  </a:lnSpc>
                  <a:defRPr/>
                </a:pPr>
                <a:r>
                  <a:rPr lang="ru-RU" sz="1559" b="0" kern="0" dirty="0">
                    <a:solidFill>
                      <a:prstClr val="white">
                        <a:lumMod val="50000"/>
                      </a:prstClr>
                    </a:solidFill>
                    <a:latin typeface="Tahoma"/>
                    <a:cs typeface="Arial" pitchFamily="34" charset="0"/>
                  </a:rPr>
                  <a:t>Организатор</a:t>
                </a:r>
                <a:endParaRPr lang="ru-RU" sz="1002" b="0" kern="0" dirty="0">
                  <a:solidFill>
                    <a:prstClr val="white">
                      <a:lumMod val="50000"/>
                    </a:prstClr>
                  </a:solidFill>
                  <a:latin typeface="Tahoma"/>
                  <a:cs typeface="Arial" pitchFamily="34" charset="0"/>
                </a:endParaRPr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2090386" y="2733879"/>
                <a:ext cx="4132398" cy="625503"/>
                <a:chOff x="3412097" y="941712"/>
                <a:chExt cx="2437548" cy="601179"/>
              </a:xfrm>
            </p:grpSpPr>
            <p:sp>
              <p:nvSpPr>
                <p:cNvPr id="51" name="Rectangle 13">
                  <a:extLst>
                    <a:ext uri="{FF2B5EF4-FFF2-40B4-BE49-F238E27FC236}">
                      <a16:creationId xmlns:a16="http://schemas.microsoft.com/office/drawing/2014/main" id="{755C5EF5-4673-3745-BF4E-5071ADAA2736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3412097" y="941712"/>
                  <a:ext cx="1098798" cy="60117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/>
                <a:p>
                  <a:pPr defTabSz="1425702">
                    <a:defRPr/>
                  </a:pPr>
                  <a:r>
                    <a:rPr lang="ru-RU" sz="1782" kern="0" dirty="0">
                      <a:solidFill>
                        <a:prstClr val="white">
                          <a:lumMod val="50000"/>
                        </a:prstClr>
                      </a:solidFill>
                      <a:latin typeface="Tahoma"/>
                      <a:cs typeface="Arial" pitchFamily="34" charset="0"/>
                    </a:rPr>
                    <a:t>Книга заявок</a:t>
                  </a:r>
                </a:p>
                <a:p>
                  <a:pPr defTabSz="1425702">
                    <a:defRPr/>
                  </a:pPr>
                  <a:r>
                    <a:rPr lang="ru-RU" sz="1782" kern="0" dirty="0">
                      <a:solidFill>
                        <a:prstClr val="white">
                          <a:lumMod val="50000"/>
                        </a:prstClr>
                      </a:solidFill>
                      <a:latin typeface="Tahoma"/>
                      <a:cs typeface="Arial" pitchFamily="34" charset="0"/>
                    </a:rPr>
                    <a:t>Размещение</a:t>
                  </a:r>
                </a:p>
              </p:txBody>
            </p:sp>
            <p:sp>
              <p:nvSpPr>
                <p:cNvPr id="52" name="Rectangle 14">
                  <a:extLst>
                    <a:ext uri="{FF2B5EF4-FFF2-40B4-BE49-F238E27FC236}">
                      <a16:creationId xmlns:a16="http://schemas.microsoft.com/office/drawing/2014/main" id="{5FE5BCB4-379E-304D-8E51-5EDDAEDD6B07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>
                  <a:off x="4638648" y="941714"/>
                  <a:ext cx="1210997" cy="60117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0" tIns="0" rIns="0" bIns="0" anchor="ctr">
                  <a:spAutoFit/>
                </a:bodyPr>
                <a:lstStyle/>
                <a:p>
                  <a:pPr algn="r" defTabSz="1425702">
                    <a:defRPr/>
                  </a:pPr>
                  <a:r>
                    <a:rPr lang="ru-RU" sz="1782" kern="0" dirty="0">
                      <a:solidFill>
                        <a:srgbClr val="3E5057"/>
                      </a:solidFill>
                      <a:latin typeface="Tahoma"/>
                      <a:cs typeface="Arial" pitchFamily="34" charset="0"/>
                    </a:rPr>
                    <a:t>5 мая 2023</a:t>
                  </a:r>
                </a:p>
                <a:p>
                  <a:pPr algn="r" defTabSz="1425702">
                    <a:defRPr/>
                  </a:pPr>
                  <a:r>
                    <a:rPr lang="ru-RU" sz="1782" kern="0" dirty="0">
                      <a:solidFill>
                        <a:srgbClr val="3E5057"/>
                      </a:solidFill>
                      <a:latin typeface="Tahoma"/>
                      <a:cs typeface="Arial" pitchFamily="34" charset="0"/>
                    </a:rPr>
                    <a:t>11-25 мая 2023</a:t>
                  </a:r>
                </a:p>
              </p:txBody>
            </p:sp>
          </p:grpSp>
          <p:sp>
            <p:nvSpPr>
              <p:cNvPr id="47" name="Rectangle 15">
                <a:extLst>
                  <a:ext uri="{FF2B5EF4-FFF2-40B4-BE49-F238E27FC236}">
                    <a16:creationId xmlns:a16="http://schemas.microsoft.com/office/drawing/2014/main" id="{1228CE79-3B77-E542-851B-68B7C82B95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1832" y="4413765"/>
                <a:ext cx="3955599" cy="17774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56133" tIns="71281" rIns="56133" bIns="71281">
                <a:spAutoFit/>
              </a:bodyPr>
              <a:lstStyle/>
              <a:p>
                <a:pPr algn="ctr" defTabSz="1425702">
                  <a:spcBef>
                    <a:spcPct val="10000"/>
                  </a:spcBef>
                  <a:defRPr/>
                </a:pPr>
                <a:r>
                  <a:rPr lang="ru-RU" sz="2005" kern="0" dirty="0">
                    <a:solidFill>
                      <a:srgbClr val="3E5057"/>
                    </a:solidFill>
                    <a:latin typeface="Tahoma"/>
                    <a:cs typeface="Arial" pitchFamily="34" charset="0"/>
                  </a:rPr>
                  <a:t>Выпуск </a:t>
                </a:r>
                <a:r>
                  <a:rPr lang="ru-RU" sz="2005" b="1" kern="0" dirty="0">
                    <a:solidFill>
                      <a:srgbClr val="8FC54C"/>
                    </a:solidFill>
                    <a:latin typeface="Tahoma"/>
                    <a:cs typeface="Arial" pitchFamily="34" charset="0"/>
                  </a:rPr>
                  <a:t>«зеленых» </a:t>
                </a:r>
                <a:r>
                  <a:rPr lang="ru-RU" sz="2005" kern="0" dirty="0">
                    <a:solidFill>
                      <a:srgbClr val="3E5057"/>
                    </a:solidFill>
                    <a:latin typeface="Tahoma"/>
                    <a:cs typeface="Arial" pitchFamily="34" charset="0"/>
                  </a:rPr>
                  <a:t>облигаций</a:t>
                </a:r>
                <a:br>
                  <a:rPr lang="ru-RU" sz="2005" kern="0" dirty="0">
                    <a:solidFill>
                      <a:srgbClr val="3E5057"/>
                    </a:solidFill>
                    <a:latin typeface="Tahoma"/>
                    <a:cs typeface="Arial" pitchFamily="34" charset="0"/>
                  </a:rPr>
                </a:br>
                <a:r>
                  <a:rPr lang="ru-RU" sz="2005" kern="0" dirty="0">
                    <a:latin typeface="Tahoma"/>
                    <a:cs typeface="Arial" pitchFamily="34" charset="0"/>
                  </a:rPr>
                  <a:t>с купоном по ставке</a:t>
                </a:r>
              </a:p>
              <a:p>
                <a:pPr algn="ctr" defTabSz="1425702">
                  <a:spcBef>
                    <a:spcPct val="10000"/>
                  </a:spcBef>
                  <a:defRPr/>
                </a:pPr>
                <a:r>
                  <a:rPr lang="ru-RU" sz="2005" b="1" kern="0" dirty="0">
                    <a:latin typeface="Tahoma"/>
                    <a:cs typeface="Arial" pitchFamily="34" charset="0"/>
                  </a:rPr>
                  <a:t>КС + 5</a:t>
                </a:r>
                <a:r>
                  <a:rPr lang="en-US" sz="2005" b="1" kern="0" dirty="0">
                    <a:latin typeface="Tahoma"/>
                    <a:cs typeface="Arial" pitchFamily="34" charset="0"/>
                  </a:rPr>
                  <a:t>%</a:t>
                </a:r>
                <a:endParaRPr lang="ru-RU" sz="2005" b="1" kern="0" dirty="0">
                  <a:latin typeface="Tahoma"/>
                  <a:cs typeface="Arial" pitchFamily="34" charset="0"/>
                </a:endParaRPr>
              </a:p>
              <a:p>
                <a:pPr algn="ctr" defTabSz="1425702">
                  <a:spcBef>
                    <a:spcPts val="936"/>
                  </a:spcBef>
                  <a:spcAft>
                    <a:spcPts val="936"/>
                  </a:spcAft>
                  <a:defRPr/>
                </a:pPr>
                <a:r>
                  <a:rPr lang="ru-RU" sz="2227" b="1" kern="0" dirty="0">
                    <a:solidFill>
                      <a:srgbClr val="3E5057"/>
                    </a:solidFill>
                    <a:latin typeface="Tahoma"/>
                    <a:cs typeface="Arial" pitchFamily="34" charset="0"/>
                  </a:rPr>
                  <a:t>3 000 000 000 РУБ</a:t>
                </a:r>
              </a:p>
            </p:txBody>
          </p:sp>
        </p:grpSp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3912186" y="4803413"/>
              <a:ext cx="2203265" cy="354096"/>
            </a:xfrm>
            <a:prstGeom prst="rect">
              <a:avLst/>
            </a:prstGeom>
          </p:spPr>
        </p:pic>
        <p:pic>
          <p:nvPicPr>
            <p:cNvPr id="58" name="Рисунок 57">
              <a:extLst>
                <a:ext uri="{FF2B5EF4-FFF2-40B4-BE49-F238E27FC236}">
                  <a16:creationId xmlns:a16="http://schemas.microsoft.com/office/drawing/2014/main" id="{6EF6990A-7E2C-3648-AEEB-BEB07AF025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1677" b="-1"/>
            <a:stretch/>
          </p:blipFill>
          <p:spPr>
            <a:xfrm>
              <a:off x="14144378" y="7322012"/>
              <a:ext cx="1738879" cy="538489"/>
            </a:xfrm>
            <a:prstGeom prst="rect">
              <a:avLst/>
            </a:prstGeom>
          </p:spPr>
        </p:pic>
      </p:grpSp>
      <p:pic>
        <p:nvPicPr>
          <p:cNvPr id="49" name="Рисунок 48"/>
          <p:cNvPicPr>
            <a:picLocks noChangeAspect="1"/>
          </p:cNvPicPr>
          <p:nvPr/>
        </p:nvPicPr>
        <p:blipFill rotWithShape="1">
          <a:blip r:embed="rId15"/>
          <a:srcRect l="3252" t="20924" r="1613" b="22951"/>
          <a:stretch/>
        </p:blipFill>
        <p:spPr>
          <a:xfrm>
            <a:off x="16226852" y="429525"/>
            <a:ext cx="1472617" cy="542978"/>
          </a:xfrm>
          <a:prstGeom prst="rect">
            <a:avLst/>
          </a:prstGeom>
        </p:spPr>
      </p:pic>
      <p:sp>
        <p:nvSpPr>
          <p:cNvPr id="57" name="Заголовок 3"/>
          <p:cNvSpPr txBox="1">
            <a:spLocks/>
          </p:cNvSpPr>
          <p:nvPr/>
        </p:nvSpPr>
        <p:spPr bwMode="auto">
          <a:xfrm>
            <a:off x="382591" y="283405"/>
            <a:ext cx="18293206" cy="538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defTabSz="684213"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18288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2860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27432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200400" indent="457200" defTabSz="684213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defTabSz="1422394">
              <a:defRPr/>
            </a:pPr>
            <a:r>
              <a:rPr lang="ru-RU" altLang="ru-RU" sz="3500" b="1" dirty="0">
                <a:solidFill>
                  <a:srgbClr val="3E5057"/>
                </a:solidFill>
              </a:rPr>
              <a:t>На основе данных ЕИСЖС сделаны выпуски «зеленых» облигаций</a:t>
            </a:r>
          </a:p>
        </p:txBody>
      </p:sp>
    </p:spTree>
    <p:extLst>
      <p:ext uri="{BB962C8B-B14F-4D97-AF65-F5344CB8AC3E}">
        <p14:creationId xmlns:p14="http://schemas.microsoft.com/office/powerpoint/2010/main" val="11154700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Объект 4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245053" y="-3206275"/>
          <a:ext cx="1713" cy="1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8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47" name="Объект 4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245053" y="-3206275"/>
                        <a:ext cx="1713" cy="17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Объект 13">
            <a:extLst>
              <a:ext uri="{FF2B5EF4-FFF2-40B4-BE49-F238E27FC236}">
                <a16:creationId xmlns:a16="http://schemas.microsoft.com/office/drawing/2014/main" id="{00E607A7-FF50-094B-9323-32CFE0A96143}"/>
              </a:ext>
            </a:extLst>
          </p:cNvPr>
          <p:cNvSpPr txBox="1">
            <a:spLocks/>
          </p:cNvSpPr>
          <p:nvPr/>
        </p:nvSpPr>
        <p:spPr>
          <a:xfrm>
            <a:off x="745890" y="304236"/>
            <a:ext cx="16647953" cy="6398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Arial" panose="020B0604020202020204" pitchFamily="34" charset="0"/>
              <a:buNone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0034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6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36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defRPr sz="1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6813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7978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tabLst>
                <a:tab pos="1380201" algn="l"/>
              </a:tabLst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510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603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97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789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4158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стойчивое развитие ТОП-30 застройщиков (2020-2023)  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738874" y="1705922"/>
          <a:ext cx="5189142" cy="50553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36323">
                  <a:extLst>
                    <a:ext uri="{9D8B030D-6E8A-4147-A177-3AD203B41FA5}">
                      <a16:colId xmlns:a16="http://schemas.microsoft.com/office/drawing/2014/main" val="1895741777"/>
                    </a:ext>
                  </a:extLst>
                </a:gridCol>
                <a:gridCol w="2852819">
                  <a:extLst>
                    <a:ext uri="{9D8B030D-6E8A-4147-A177-3AD203B41FA5}">
                      <a16:colId xmlns:a16="http://schemas.microsoft.com/office/drawing/2014/main" val="2718278900"/>
                    </a:ext>
                  </a:extLst>
                </a:gridCol>
              </a:tblGrid>
              <a:tr h="390853"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marL="64650" marR="64650" marT="32324" marB="3232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280130" rtl="0" eaLnBrk="1" latinLnBrk="0" hangingPunct="1"/>
                      <a:endParaRPr lang="ru-RU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650" marR="64650" marT="32324" marB="32324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9378626"/>
                  </a:ext>
                </a:extLst>
              </a:tr>
              <a:tr h="932900">
                <a:tc>
                  <a:txBody>
                    <a:bodyPr/>
                    <a:lstStyle/>
                    <a:p>
                      <a:endParaRPr lang="ru-RU" sz="1900" dirty="0">
                        <a:solidFill>
                          <a:schemeClr val="tx1"/>
                        </a:solidFill>
                      </a:endParaRPr>
                    </a:p>
                  </a:txBody>
                  <a:tcPr marL="64650" marR="64650" marT="32324" marB="32324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280130" rtl="0" eaLnBrk="1" latinLnBrk="0" hangingPunct="1"/>
                      <a:r>
                        <a:rPr lang="ru-RU" sz="17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r>
                        <a:rPr lang="ru-RU" sz="17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264 </a:t>
                      </a:r>
                      <a:r>
                        <a:rPr lang="ru-RU" sz="17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ыс. кв. м </a:t>
                      </a:r>
                    </a:p>
                    <a:p>
                      <a:pPr marL="0" algn="ctr" defTabSz="1280130" rtl="0" eaLnBrk="1" latinLnBrk="0" hangingPunct="1"/>
                      <a:r>
                        <a:rPr lang="ru-RU" sz="17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5% портфеля</a:t>
                      </a:r>
                      <a:endParaRPr lang="ru-RU" sz="17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650" marR="64650" marT="32324" marB="32324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818859"/>
                  </a:ext>
                </a:extLst>
              </a:tr>
              <a:tr h="932900">
                <a:tc>
                  <a:txBody>
                    <a:bodyPr/>
                    <a:lstStyle/>
                    <a:p>
                      <a:endParaRPr lang="ru-RU" sz="1900" dirty="0">
                        <a:solidFill>
                          <a:schemeClr val="tx1"/>
                        </a:solidFill>
                      </a:endParaRPr>
                    </a:p>
                  </a:txBody>
                  <a:tcPr marL="64650" marR="64650" marT="32324" marB="32324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8013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950 </a:t>
                      </a:r>
                      <a:r>
                        <a:rPr lang="ru-RU" sz="17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ыс. кв. м </a:t>
                      </a:r>
                    </a:p>
                    <a:p>
                      <a:pPr marL="0" marR="0" lvl="0" indent="0" algn="ctr" defTabSz="128013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0% портфеля</a:t>
                      </a:r>
                      <a:endParaRPr lang="ru-RU" sz="17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650" marR="64650" marT="32324" marB="32324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2273133"/>
                  </a:ext>
                </a:extLst>
              </a:tr>
              <a:tr h="932900">
                <a:tc>
                  <a:txBody>
                    <a:bodyPr/>
                    <a:lstStyle/>
                    <a:p>
                      <a:endParaRPr lang="ru-RU" sz="1900">
                        <a:solidFill>
                          <a:schemeClr val="tx1"/>
                        </a:solidFill>
                      </a:endParaRPr>
                    </a:p>
                  </a:txBody>
                  <a:tcPr marL="64650" marR="64650" marT="32324" marB="32324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8013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98</a:t>
                      </a:r>
                      <a:r>
                        <a:rPr kumimoji="0" lang="ru-RU" sz="1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7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ыс. кв. м </a:t>
                      </a:r>
                    </a:p>
                    <a:p>
                      <a:pPr marL="0" marR="0" lvl="0" indent="0" algn="ctr" defTabSz="128013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2% </a:t>
                      </a:r>
                      <a:r>
                        <a:rPr lang="ru-RU" sz="17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ртфеля</a:t>
                      </a:r>
                      <a:endParaRPr kumimoji="0" lang="ru-RU" sz="1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E505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650" marR="64650" marT="32324" marB="32324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8596831"/>
                  </a:ext>
                </a:extLst>
              </a:tr>
              <a:tr h="932900">
                <a:tc>
                  <a:txBody>
                    <a:bodyPr/>
                    <a:lstStyle/>
                    <a:p>
                      <a:endParaRPr lang="ru-RU" sz="1900">
                        <a:solidFill>
                          <a:schemeClr val="tx1"/>
                        </a:solidFill>
                      </a:endParaRPr>
                    </a:p>
                  </a:txBody>
                  <a:tcPr marL="64650" marR="64650" marT="32324" marB="32324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8013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41</a:t>
                      </a:r>
                      <a:r>
                        <a:rPr kumimoji="0" lang="ru-RU" sz="1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7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ыс. кв. м </a:t>
                      </a:r>
                      <a:endParaRPr kumimoji="0" lang="ru-RU" sz="1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E505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128013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5% </a:t>
                      </a:r>
                      <a:r>
                        <a:rPr lang="ru-RU" sz="17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ртфеля</a:t>
                      </a:r>
                      <a:endParaRPr kumimoji="0" lang="ru-RU" sz="1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E505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650" marR="64650" marT="32324" marB="32324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2557373"/>
                  </a:ext>
                </a:extLst>
              </a:tr>
              <a:tr h="932900">
                <a:tc>
                  <a:txBody>
                    <a:bodyPr/>
                    <a:lstStyle/>
                    <a:p>
                      <a:endParaRPr lang="ru-RU" sz="1900" dirty="0">
                        <a:solidFill>
                          <a:schemeClr val="tx1"/>
                        </a:solidFill>
                      </a:endParaRPr>
                    </a:p>
                  </a:txBody>
                  <a:tcPr marL="64650" marR="64650" marT="32324" marB="32324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28013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12</a:t>
                      </a:r>
                      <a:r>
                        <a:rPr kumimoji="0" lang="ru-RU" sz="1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7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ыс. кв. м </a:t>
                      </a:r>
                    </a:p>
                    <a:p>
                      <a:pPr marL="0" marR="0" lvl="0" indent="0" algn="ctr" defTabSz="128013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7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78% </a:t>
                      </a:r>
                      <a:r>
                        <a:rPr lang="ru-RU" sz="17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ртфеля</a:t>
                      </a:r>
                      <a:endParaRPr kumimoji="0" lang="ru-RU" sz="17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E505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650" marR="64650" marT="32324" marB="32324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0102171"/>
                  </a:ext>
                </a:extLst>
              </a:tr>
            </a:tbl>
          </a:graphicData>
        </a:graphic>
      </p:graphicFrame>
      <p:pic>
        <p:nvPicPr>
          <p:cNvPr id="10" name="Picture 2" descr="Файл:Логотип ПАО «ПИК».svg — Википедия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801" y="2329498"/>
            <a:ext cx="1078854" cy="332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33" y="3302287"/>
            <a:ext cx="1504029" cy="201388"/>
          </a:xfrm>
          <a:prstGeom prst="rect">
            <a:avLst/>
          </a:prstGeom>
        </p:spPr>
      </p:pic>
      <p:pic>
        <p:nvPicPr>
          <p:cNvPr id="12" name="Picture 14" descr="Файл:LSR newlogo-png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749" y="4958360"/>
            <a:ext cx="1402208" cy="563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6" descr="https://www.urbanus.ru/storage/public/developer_logos/1538/oH1907yR9YK4W9SBagfLb5dq0niDKM8ONnuC83Tt.jpe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60" t="31219" r="16451" b="32393"/>
          <a:stretch/>
        </p:blipFill>
        <p:spPr bwMode="auto">
          <a:xfrm>
            <a:off x="907540" y="5847636"/>
            <a:ext cx="1773628" cy="548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433" y="4103123"/>
            <a:ext cx="1572070" cy="43044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B916A4C-0F26-2749-997D-53C45A8F9E38}"/>
              </a:ext>
            </a:extLst>
          </p:cNvPr>
          <p:cNvSpPr txBox="1"/>
          <p:nvPr/>
        </p:nvSpPr>
        <p:spPr>
          <a:xfrm>
            <a:off x="738872" y="1271777"/>
            <a:ext cx="5288859" cy="6399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67"/>
              </a:spcBef>
              <a:buClr>
                <a:schemeClr val="accent6"/>
              </a:buClr>
            </a:pPr>
            <a:r>
              <a:rPr lang="ru-RU" sz="2079" b="1" dirty="0">
                <a:solidFill>
                  <a:schemeClr val="accent6"/>
                </a:solidFill>
              </a:rPr>
              <a:t>ТОП-5 (2022) компаний по портфелю </a:t>
            </a:r>
            <a:r>
              <a:rPr lang="ru-RU" sz="2079" b="1" dirty="0" err="1">
                <a:solidFill>
                  <a:schemeClr val="accent6"/>
                </a:solidFill>
              </a:rPr>
              <a:t>энергоэффективных</a:t>
            </a:r>
            <a:r>
              <a:rPr lang="ru-RU" sz="2079" b="1" dirty="0">
                <a:solidFill>
                  <a:schemeClr val="accent6"/>
                </a:solidFill>
              </a:rPr>
              <a:t> проектов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F0C24AD-2764-6E49-8C31-43B055C5FFC0}"/>
              </a:ext>
            </a:extLst>
          </p:cNvPr>
          <p:cNvSpPr txBox="1"/>
          <p:nvPr/>
        </p:nvSpPr>
        <p:spPr>
          <a:xfrm>
            <a:off x="12707119" y="5786455"/>
            <a:ext cx="5843426" cy="17523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square" lIns="60141" tIns="60141" rIns="60141" bIns="60141" rtlCol="0" anchor="ctr" anchorCtr="0">
            <a:noAutofit/>
          </a:bodyPr>
          <a:lstStyle>
            <a:defPPr>
              <a:defRPr lang="ru-RU"/>
            </a:defPPr>
            <a:lvl1pPr marL="0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1697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3395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5092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6790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8488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10185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11882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13580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871" dirty="0"/>
          </a:p>
        </p:txBody>
      </p:sp>
      <p:sp>
        <p:nvSpPr>
          <p:cNvPr id="4" name="TextBox 3"/>
          <p:cNvSpPr txBox="1"/>
          <p:nvPr/>
        </p:nvSpPr>
        <p:spPr>
          <a:xfrm>
            <a:off x="677711" y="9100587"/>
            <a:ext cx="2088461" cy="98809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5821" b="1" dirty="0"/>
              <a:t>13</a:t>
            </a:r>
            <a:r>
              <a:rPr lang="ru-RU" sz="5821" b="1" dirty="0"/>
              <a:t>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B916A4C-0F26-2749-997D-53C45A8F9E38}"/>
              </a:ext>
            </a:extLst>
          </p:cNvPr>
          <p:cNvSpPr txBox="1"/>
          <p:nvPr/>
        </p:nvSpPr>
        <p:spPr>
          <a:xfrm>
            <a:off x="738872" y="6863242"/>
            <a:ext cx="5288518" cy="6399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67"/>
              </a:spcBef>
              <a:buClr>
                <a:schemeClr val="accent6"/>
              </a:buClr>
            </a:pPr>
            <a:r>
              <a:rPr lang="ru-RU" sz="2079" b="1" dirty="0">
                <a:solidFill>
                  <a:schemeClr val="accent6"/>
                </a:solidFill>
              </a:rPr>
              <a:t>Раскрытие информации </a:t>
            </a:r>
            <a:br>
              <a:rPr lang="ru-RU" sz="2079" b="1" dirty="0">
                <a:solidFill>
                  <a:schemeClr val="accent6"/>
                </a:solidFill>
              </a:rPr>
            </a:br>
            <a:r>
              <a:rPr lang="ru-RU" sz="2079" b="1" dirty="0">
                <a:solidFill>
                  <a:schemeClr val="accent6"/>
                </a:solidFill>
              </a:rPr>
              <a:t>об устойчивом развитии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205762" y="9100587"/>
            <a:ext cx="2031325" cy="9880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821" b="1" dirty="0"/>
              <a:t>43%</a:t>
            </a:r>
          </a:p>
        </p:txBody>
      </p:sp>
      <p:graphicFrame>
        <p:nvGraphicFramePr>
          <p:cNvPr id="22" name="Диаграмма 21"/>
          <p:cNvGraphicFramePr>
            <a:graphicFrameLocks/>
          </p:cNvGraphicFramePr>
          <p:nvPr>
            <p:extLst/>
          </p:nvPr>
        </p:nvGraphicFramePr>
        <p:xfrm>
          <a:off x="12702759" y="1271776"/>
          <a:ext cx="5835719" cy="34628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550465" y="9932861"/>
            <a:ext cx="2931626" cy="3482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63" dirty="0"/>
              <a:t>компаний из ТОП-30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232943" y="9932861"/>
            <a:ext cx="2709125" cy="3482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63" dirty="0"/>
              <a:t>компаний из ТОП-30</a:t>
            </a:r>
          </a:p>
        </p:txBody>
      </p:sp>
      <p:cxnSp>
        <p:nvCxnSpPr>
          <p:cNvPr id="27" name="Straight Connector 11">
            <a:extLst>
              <a:ext uri="{FF2B5EF4-FFF2-40B4-BE49-F238E27FC236}">
                <a16:creationId xmlns:a16="http://schemas.microsoft.com/office/drawing/2014/main" id="{4EDDC916-22E2-014A-8E96-BA145D28CD8B}"/>
              </a:ext>
            </a:extLst>
          </p:cNvPr>
          <p:cNvCxnSpPr>
            <a:cxnSpLocks/>
          </p:cNvCxnSpPr>
          <p:nvPr/>
        </p:nvCxnSpPr>
        <p:spPr>
          <a:xfrm>
            <a:off x="738872" y="8930267"/>
            <a:ext cx="5048090" cy="0"/>
          </a:xfrm>
          <a:prstGeom prst="line">
            <a:avLst/>
          </a:prstGeom>
          <a:ln w="12700">
            <a:solidFill>
              <a:schemeClr val="accent6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59">
            <a:extLst>
              <a:ext uri="{FF2B5EF4-FFF2-40B4-BE49-F238E27FC236}">
                <a16:creationId xmlns:a16="http://schemas.microsoft.com/office/drawing/2014/main" id="{363266B9-6F66-3C47-AADE-0A6004886FFC}"/>
              </a:ext>
            </a:extLst>
          </p:cNvPr>
          <p:cNvSpPr/>
          <p:nvPr/>
        </p:nvSpPr>
        <p:spPr>
          <a:xfrm>
            <a:off x="738872" y="8818001"/>
            <a:ext cx="224531" cy="22453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663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17F7FDE-9605-B649-85F7-B1657CEABB6E}"/>
              </a:ext>
            </a:extLst>
          </p:cNvPr>
          <p:cNvSpPr txBox="1"/>
          <p:nvPr/>
        </p:nvSpPr>
        <p:spPr>
          <a:xfrm>
            <a:off x="738873" y="8441738"/>
            <a:ext cx="1447588" cy="2878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ru-RU"/>
            </a:defPPr>
            <a:lvl1pPr marL="0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1697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3395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5092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6790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8488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10185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11882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13580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71" b="1" dirty="0">
                <a:solidFill>
                  <a:schemeClr val="accent6"/>
                </a:solidFill>
              </a:rPr>
              <a:t>2020</a:t>
            </a:r>
            <a:endParaRPr lang="ru-RU" sz="1871" dirty="0">
              <a:solidFill>
                <a:schemeClr val="accent6"/>
              </a:solidFill>
            </a:endParaRPr>
          </a:p>
        </p:txBody>
      </p:sp>
      <p:sp>
        <p:nvSpPr>
          <p:cNvPr id="30" name="Rectangle 60">
            <a:extLst>
              <a:ext uri="{FF2B5EF4-FFF2-40B4-BE49-F238E27FC236}">
                <a16:creationId xmlns:a16="http://schemas.microsoft.com/office/drawing/2014/main" id="{E4B0F377-D5DC-174F-B409-941EEEE10075}"/>
              </a:ext>
            </a:extLst>
          </p:cNvPr>
          <p:cNvSpPr/>
          <p:nvPr/>
        </p:nvSpPr>
        <p:spPr>
          <a:xfrm>
            <a:off x="3471184" y="8818001"/>
            <a:ext cx="224531" cy="22453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63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28AE56A-703E-BD4E-A239-39C6457A18BD}"/>
              </a:ext>
            </a:extLst>
          </p:cNvPr>
          <p:cNvSpPr txBox="1"/>
          <p:nvPr/>
        </p:nvSpPr>
        <p:spPr>
          <a:xfrm>
            <a:off x="3251843" y="8441738"/>
            <a:ext cx="1447588" cy="2878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ru-RU"/>
            </a:defPPr>
            <a:lvl1pPr marL="0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1697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3395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5092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6790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08488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10185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11882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13580" algn="l" defTabSz="603395" rtl="0" eaLnBrk="1" latinLnBrk="0" hangingPunct="1">
              <a:defRPr sz="118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71" b="1" dirty="0">
                <a:solidFill>
                  <a:schemeClr val="accent6"/>
                </a:solidFill>
              </a:rPr>
              <a:t>2023</a:t>
            </a:r>
            <a:endParaRPr lang="ru-RU" sz="1871" dirty="0">
              <a:solidFill>
                <a:schemeClr val="accent6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F159DF0-F80A-3E45-9CEB-155735E8BF57}"/>
              </a:ext>
            </a:extLst>
          </p:cNvPr>
          <p:cNvSpPr txBox="1"/>
          <p:nvPr/>
        </p:nvSpPr>
        <p:spPr>
          <a:xfrm>
            <a:off x="6494162" y="5786455"/>
            <a:ext cx="5734119" cy="45059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72948" indent="-372948">
              <a:spcBef>
                <a:spcPts val="1247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663" dirty="0"/>
              <a:t>Участие в инициативе </a:t>
            </a:r>
            <a:r>
              <a:rPr lang="ru-RU" sz="1663" b="1" dirty="0"/>
              <a:t>корпоративной ответственности Глобального договора ООН</a:t>
            </a:r>
          </a:p>
          <a:p>
            <a:pPr marL="372948" indent="-372948">
              <a:spcBef>
                <a:spcPts val="1247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663" b="1" dirty="0"/>
              <a:t>Переработка и повторное использование </a:t>
            </a:r>
            <a:r>
              <a:rPr lang="ru-RU" sz="1663" dirty="0"/>
              <a:t>строительных отходов</a:t>
            </a:r>
          </a:p>
          <a:p>
            <a:pPr marL="372948" indent="-372948">
              <a:spcBef>
                <a:spcPts val="1247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663" b="1" dirty="0"/>
              <a:t>Цифровая инфраструктура, </a:t>
            </a:r>
            <a:r>
              <a:rPr lang="ru-RU" sz="1663" dirty="0"/>
              <a:t>включая автоматический сбор показаний счетчиков</a:t>
            </a:r>
          </a:p>
          <a:p>
            <a:pPr marL="372948" indent="-372948">
              <a:spcBef>
                <a:spcPts val="1247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663" b="1" dirty="0"/>
              <a:t>Создание соседских комьюнити</a:t>
            </a:r>
            <a:r>
              <a:rPr lang="ru-RU" sz="1663" dirty="0"/>
              <a:t/>
            </a:r>
            <a:br>
              <a:rPr lang="ru-RU" sz="1663" dirty="0"/>
            </a:br>
            <a:r>
              <a:rPr lang="ru-RU" sz="1663" dirty="0"/>
              <a:t>и проведение мероприятий в ЖК</a:t>
            </a:r>
          </a:p>
          <a:p>
            <a:pPr marL="372948" indent="-372948">
              <a:spcBef>
                <a:spcPts val="1247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663" b="1" dirty="0"/>
              <a:t>Высокая доля озеленения </a:t>
            </a:r>
            <a:r>
              <a:rPr lang="ru-RU" sz="1663" dirty="0"/>
              <a:t>общественных пространств, включая</a:t>
            </a:r>
            <a:r>
              <a:rPr lang="ru-RU" sz="1663" b="1" dirty="0"/>
              <a:t> эксплуатируемые крыши</a:t>
            </a:r>
          </a:p>
          <a:p>
            <a:pPr marL="372948" indent="-372948">
              <a:spcBef>
                <a:spcPts val="1247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663" b="1" dirty="0"/>
              <a:t>Внедрение инфраструктуры для альтернативного транспорта </a:t>
            </a:r>
            <a:r>
              <a:rPr lang="ru-RU" sz="1663" dirty="0"/>
              <a:t>и </a:t>
            </a:r>
            <a:r>
              <a:rPr lang="ru-RU" sz="1663" dirty="0" err="1"/>
              <a:t>шеринга</a:t>
            </a:r>
            <a:endParaRPr lang="ru-RU" sz="1663" dirty="0"/>
          </a:p>
          <a:p>
            <a:pPr marL="372948" indent="-372948">
              <a:spcBef>
                <a:spcPts val="1247"/>
              </a:spcBef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ru-RU" sz="1663" b="1" dirty="0">
                <a:solidFill>
                  <a:schemeClr val="accent6"/>
                </a:solidFill>
              </a:rPr>
              <a:t>Увеличение объема ввода </a:t>
            </a:r>
            <a:br>
              <a:rPr lang="ru-RU" sz="1663" b="1" dirty="0">
                <a:solidFill>
                  <a:schemeClr val="accent6"/>
                </a:solidFill>
              </a:rPr>
            </a:br>
            <a:r>
              <a:rPr lang="ru-RU" sz="1663" b="1" dirty="0">
                <a:solidFill>
                  <a:schemeClr val="accent6"/>
                </a:solidFill>
              </a:rPr>
              <a:t>энергоэффективного и зеленого жилья</a:t>
            </a:r>
            <a:endParaRPr lang="ru-RU" sz="1663" dirty="0">
              <a:solidFill>
                <a:schemeClr val="accent6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B916A4C-0F26-2749-997D-53C45A8F9E38}"/>
              </a:ext>
            </a:extLst>
          </p:cNvPr>
          <p:cNvSpPr txBox="1"/>
          <p:nvPr/>
        </p:nvSpPr>
        <p:spPr>
          <a:xfrm>
            <a:off x="6514269" y="5005035"/>
            <a:ext cx="5909970" cy="6399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67"/>
              </a:spcBef>
              <a:buClr>
                <a:schemeClr val="accent6"/>
              </a:buClr>
            </a:pPr>
            <a:r>
              <a:rPr lang="ru-RU" sz="2079" b="1" dirty="0">
                <a:solidFill>
                  <a:schemeClr val="accent6"/>
                </a:solidFill>
              </a:rPr>
              <a:t>Тренды устойчивого развития </a:t>
            </a:r>
            <a:br>
              <a:rPr lang="ru-RU" sz="2079" b="1" dirty="0">
                <a:solidFill>
                  <a:schemeClr val="accent6"/>
                </a:solidFill>
              </a:rPr>
            </a:br>
            <a:r>
              <a:rPr lang="ru-RU" sz="2079" b="1" dirty="0">
                <a:solidFill>
                  <a:schemeClr val="accent6"/>
                </a:solidFill>
              </a:rPr>
              <a:t>среди крупнейших застройщиков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B916A4C-0F26-2749-997D-53C45A8F9E38}"/>
              </a:ext>
            </a:extLst>
          </p:cNvPr>
          <p:cNvSpPr txBox="1"/>
          <p:nvPr/>
        </p:nvSpPr>
        <p:spPr>
          <a:xfrm>
            <a:off x="12702759" y="5005034"/>
            <a:ext cx="5835719" cy="6399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67"/>
              </a:spcBef>
              <a:buClr>
                <a:schemeClr val="accent6"/>
              </a:buClr>
            </a:pPr>
            <a:r>
              <a:rPr lang="ru-RU" sz="2079" b="1" dirty="0">
                <a:solidFill>
                  <a:schemeClr val="accent6"/>
                </a:solidFill>
              </a:rPr>
              <a:t>Зеленые премии, рейтинги </a:t>
            </a:r>
            <a:br>
              <a:rPr lang="ru-RU" sz="2079" b="1" dirty="0">
                <a:solidFill>
                  <a:schemeClr val="accent6"/>
                </a:solidFill>
              </a:rPr>
            </a:br>
            <a:r>
              <a:rPr lang="ru-RU" sz="2079" b="1" dirty="0">
                <a:solidFill>
                  <a:schemeClr val="accent6"/>
                </a:solidFill>
              </a:rPr>
              <a:t>и сертификаты</a:t>
            </a: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97"/>
          <a:stretch/>
        </p:blipFill>
        <p:spPr>
          <a:xfrm>
            <a:off x="12695052" y="7720691"/>
            <a:ext cx="1603430" cy="654461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56298" y="7541878"/>
            <a:ext cx="1762184" cy="1052049"/>
          </a:xfrm>
          <a:prstGeom prst="rect">
            <a:avLst/>
          </a:prstGeom>
        </p:spPr>
      </p:pic>
      <p:graphicFrame>
        <p:nvGraphicFramePr>
          <p:cNvPr id="41" name="Диаграмма 40"/>
          <p:cNvGraphicFramePr>
            <a:graphicFrameLocks/>
          </p:cNvGraphicFramePr>
          <p:nvPr>
            <p:extLst/>
          </p:nvPr>
        </p:nvGraphicFramePr>
        <p:xfrm>
          <a:off x="6500539" y="1271776"/>
          <a:ext cx="5729410" cy="34628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pic>
        <p:nvPicPr>
          <p:cNvPr id="40" name="Рисунок 39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56601" y="7818371"/>
            <a:ext cx="1881875" cy="459096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01414" y="8590438"/>
            <a:ext cx="1337063" cy="1337063"/>
          </a:xfrm>
          <a:prstGeom prst="rect">
            <a:avLst/>
          </a:prstGeom>
        </p:spPr>
      </p:pic>
      <p:sp>
        <p:nvSpPr>
          <p:cNvPr id="44" name="TextBox 43"/>
          <p:cNvSpPr txBox="1"/>
          <p:nvPr/>
        </p:nvSpPr>
        <p:spPr>
          <a:xfrm>
            <a:off x="12902131" y="5672510"/>
            <a:ext cx="2389973" cy="1747596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ru-RU" sz="3742" dirty="0"/>
              <a:t>на</a:t>
            </a:r>
            <a:r>
              <a:rPr lang="ru-RU" sz="4990" b="1" dirty="0"/>
              <a:t> </a:t>
            </a:r>
            <a:br>
              <a:rPr lang="ru-RU" sz="4990" b="1" dirty="0"/>
            </a:br>
            <a:r>
              <a:rPr lang="ru-RU" sz="5821" b="1" dirty="0"/>
              <a:t>50</a:t>
            </a:r>
            <a:r>
              <a:rPr lang="en-US" sz="5821" b="1" dirty="0"/>
              <a:t>%</a:t>
            </a:r>
            <a:endParaRPr lang="ru-RU" sz="5821" b="1" dirty="0"/>
          </a:p>
        </p:txBody>
      </p:sp>
      <p:sp>
        <p:nvSpPr>
          <p:cNvPr id="45" name="TextBox 44"/>
          <p:cNvSpPr txBox="1"/>
          <p:nvPr/>
        </p:nvSpPr>
        <p:spPr>
          <a:xfrm>
            <a:off x="15240350" y="5786455"/>
            <a:ext cx="2927311" cy="1752313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just"/>
            <a:r>
              <a:rPr lang="ru-RU" sz="1663" b="1" dirty="0"/>
              <a:t>увеличилось количество компаний, </a:t>
            </a:r>
            <a:r>
              <a:rPr lang="ru-RU" sz="1663" dirty="0"/>
              <a:t>имеющих </a:t>
            </a:r>
            <a:r>
              <a:rPr lang="ru-RU" sz="1663" b="1" dirty="0"/>
              <a:t>подтверждение</a:t>
            </a:r>
            <a:r>
              <a:rPr lang="ru-RU" sz="1663" dirty="0"/>
              <a:t> следования принципам </a:t>
            </a:r>
            <a:r>
              <a:rPr lang="ru-RU" sz="1663" b="1" dirty="0"/>
              <a:t>устойчивого развития </a:t>
            </a:r>
          </a:p>
        </p:txBody>
      </p:sp>
      <p:pic>
        <p:nvPicPr>
          <p:cNvPr id="7180" name="Picture 12" descr="https://www.coswick.ru/wp-content/uploads/2017/12/leed-logo-1.pn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3894" y="8616158"/>
            <a:ext cx="1270523" cy="1270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Green Building Standards | Aluminium Stewardship Initiative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4096" y="8677288"/>
            <a:ext cx="2033039" cy="474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2" name="Picture 14" descr="https://upload.wikimedia.org/wikipedia/ru/thumb/7/7a/%D0%9B%D0%BE%D0%B3%D0%BE%D1%82%D0%B8%D0%BF_%D0%AD%D0%BA%D1%81%D0%BF%D0%B5%D1%80%D1%82_%D0%A0%D0%90.svg/2560px-%D0%9B%D0%BE%D0%B3%D0%BE%D1%82%D0%B8%D0%BF_%D0%AD%D0%BA%D1%81%D0%BF%D0%B5%D1%80%D1%82_%D0%A0%D0%90.svg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80610" y="9331976"/>
            <a:ext cx="2697834" cy="669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FF159DF0-F80A-3E45-9CEB-155735E8BF57}"/>
              </a:ext>
            </a:extLst>
          </p:cNvPr>
          <p:cNvSpPr txBox="1"/>
          <p:nvPr/>
        </p:nvSpPr>
        <p:spPr>
          <a:xfrm>
            <a:off x="728670" y="7692693"/>
            <a:ext cx="4834644" cy="5118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47"/>
              </a:spcBef>
              <a:buClr>
                <a:schemeClr val="accent6"/>
              </a:buClr>
            </a:pPr>
            <a:r>
              <a:rPr lang="ru-RU" sz="1663" dirty="0"/>
              <a:t>В формате разделов годовых отчетов и сайтов, в том числе по одной из составляющих </a:t>
            </a:r>
          </a:p>
        </p:txBody>
      </p:sp>
    </p:spTree>
    <p:extLst>
      <p:ext uri="{BB962C8B-B14F-4D97-AF65-F5344CB8AC3E}">
        <p14:creationId xmlns:p14="http://schemas.microsoft.com/office/powerpoint/2010/main" val="32841970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3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1&quot;&gt;&lt;elem m_fUsage=&quot;1.26044100000000014461E+00&quot;&gt;&lt;m_msothmcolidx val=&quot;0&quot;/&gt;&lt;m_rgb r=&quot;CC&quot; g=&quot;CC&quot; b=&quot;CC&quot;/&gt;&lt;/elem&gt;&lt;elem m_fUsage=&quot;1.00000000000000000000E+00&quot;&gt;&lt;m_msothmcolidx val=&quot;0&quot;/&gt;&lt;m_rgb r=&quot;98&quot; g=&quot;D2&quot; b=&quot;53&quot;/&gt;&lt;/elem&gt;&lt;elem m_fUsage=&quot;9.08764110000000013834E-01&quot;&gt;&lt;m_msothmcolidx val=&quot;0&quot;/&gt;&lt;m_rgb r=&quot;D2&quot; g=&quot;E8&quot; b=&quot;B7&quot;/&gt;&lt;/elem&gt;&lt;elem m_fUsage=&quot;9.00000000000000022204E-01&quot;&gt;&lt;m_msothmcolidx val=&quot;0&quot;/&gt;&lt;m_rgb r=&quot;88&quot; g=&quot;88&quot; b=&quot;88&quot;/&gt;&lt;/elem&gt;&lt;elem m_fUsage=&quot;8.10000000000000053291E-01&quot;&gt;&lt;m_msothmcolidx val=&quot;0&quot;/&gt;&lt;m_rgb r=&quot;B0&quot; g=&quot;B0&quot; b=&quot;B0&quot;/&gt;&lt;/elem&gt;&lt;elem m_fUsage=&quot;6.56100000000000127542E-01&quot;&gt;&lt;m_msothmcolidx val=&quot;0&quot;/&gt;&lt;m_rgb r=&quot;6E&quot; g=&quot;7B&quot; b=&quot;81&quot;/&gt;&lt;/elem&gt;&lt;elem m_fUsage=&quot;5.90490000000000181402E-01&quot;&gt;&lt;m_msothmcolidx val=&quot;0&quot;/&gt;&lt;m_rgb r=&quot;E6&quot; g=&quot;E6&quot; b=&quot;E6&quot;/&gt;&lt;/elem&gt;&lt;elem m_fUsage=&quot;3.87420489000000145552E-01&quot;&gt;&lt;m_msothmcolidx val=&quot;0&quot;/&gt;&lt;m_rgb r=&quot;BC&quot; g=&quot;DC&quot; b=&quot;94&quot;/&gt;&lt;/elem&gt;&lt;elem m_fUsage=&quot;3.48678440100000153201E-01&quot;&gt;&lt;m_msothmcolidx val=&quot;0&quot;/&gt;&lt;m_rgb r=&quot;BF&quot; g=&quot;BF&quot; b=&quot;BF&quot;/&gt;&lt;/elem&gt;&lt;elem m_fUsage=&quot;3.13810596090000171188E-01&quot;&gt;&lt;m_msothmcolidx val=&quot;0&quot;/&gt;&lt;m_rgb r=&quot;D9&quot; g=&quot;D9&quot; b=&quot;D9&quot;/&gt;&lt;/elem&gt;&lt;elem m_fUsage=&quot;2.82429536481000165171E-01&quot;&gt;&lt;m_msothmcolidx val=&quot;0&quot;/&gt;&lt;m_rgb r=&quot;F2&quot; g=&quot;F2&quot; b=&quot;F2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dX8p4ZeDKrPcBGY3A7C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9HiTDDGxKLp82Nyvk3E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Gm9VogGdhoFl2VM3RO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sNk8A_mwe3vuT1yMgR1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ZMo.3mmpB4YiDIzHFD7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xS9WBU5F.i.bMaQwtH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6NOte2BvrT6Yk8xVPhz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.ZdoYDDJp_qjZiKZg5i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WW40LTPNBmOl4OfZYo4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jb16EOYPyf8AFaiMwg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Zt4itFXZOVHxna0THfp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9HiTDDGxKLp82Nyvk3E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Gm9VogGdhoFl2VM3ROG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jb16EOYPyf8AFaiMwgq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sNk8A_mwe3vuT1yMgR1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ZMo.3mmpB4YiDIzHFD7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Zt4itFXZOVHxna0THfp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vxS9WBU5F.i.bMaQwt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6NOte2BvrT6Yk8xVPhz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.ZdoYDDJp_qjZiKZg5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WW40LTPNBmOl4OfZYo4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sqJJHpCEeOXoMngnuBb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70mssNWc0BCTyNx.xfc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gU.B7Nq3i0VRMQYk_sQ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C1D5JZjbY3Ua2fNqiQG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qA8tL8m9oiisiUfTbzj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FS1PDrYXmhR6gN1JNUd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f0jD4WU.0EV_uEPzoRC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u4UKB.q8AVmcaZgLLlB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N6XidTjU76yF2RPtuR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RLmI7UaPLj5irhPaMTk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.nrbAQAlB32ljqN2Q9_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f0jD4WU.0EV_uEPzoRC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u4UKB.q8AVmcaZgLLlB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WW40LTPNBmOl4OfZYo4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9HiTDDGxKLp82Nyvk3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.ZdoYDDJp_qjZiKZg5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ZMo.3mmpB4YiDIzHFD7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WW40LTPNBmOl4OfZYo4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9HiTDDGxKLp82Nyvk3E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.ZdoYDDJp_qjZiKZg5i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jb16EOYPyf8AFaiMwgq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Zt4itFXZOVHxna0THfp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RjnEc6po7RsQ32iAxMX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_2HBEYoX9F5iIsBnSlv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bCrJyz8mw7WCDqRZjL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NmbpFVjHBC.UFtgFGO_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MHkarv.YAgPvaaoomd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7z2TwUIkLJf9rRsekcX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Op19dnZ1GsYfxUc59IC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XMSd083U_H7lpgYrLcK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BTWYzPH8ENTjVxg.8JR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wIEsRFvNyqm_DKTdEdB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qS6yIGzU1mTMOhA04n.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46.25"/>
  <p:tag name="LLEFT" val=" 399.2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CONTENTLIB_ASSET_META" val="{&quot;ai&quot;:&quot;EHiWUr-8g7UaA-oQSA9KXg&quot;,&quot;gi&quot;:&quot;FGqgo8LJlWW1vXT3-lNxyg&quot;,&quot;ti&quot;:&quot;ui_elements&quot;,&quot;vs&quot;:{&quot;f&quot;:[110],&quot;i&quot;:{&quot;d&quot;:&quot;EHiWUr-8g7UaA-oQSA9KXg&quot;,&quot;p&quot;:true}}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CONTENTLIB_ASSET_META" val="{&quot;ai&quot;:&quot;xE2HQVtJ7hzxNaUx_usJIw&quot;,&quot;gi&quot;:&quot;FGqgo8LJlWW1vXT3-lNxyg&quot;,&quot;ti&quot;:&quot;ui_elements&quot;,&quot;vs&quot;:{&quot;f&quot;:[113],&quot;i&quot;:{&quot;d&quot;:&quot;xE2HQVtJ7hzxNaUx_usJIw&quot;,&quot;p&quot;:true}}}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CONTENTLIB_ASSET_META" val="{&quot;ai&quot;:&quot;iXBvNDnC0EoM5SFTHBlNXw&quot;,&quot;gi&quot;:&quot;FGqgo8LJlWW1vXT3-lNxyg&quot;,&quot;ti&quot;:&quot;ui_elements&quot;,&quot;vs&quot;:{&quot;f&quot;:[204],&quot;i&quot;:{&quot;d&quot;:&quot;iXBvNDnC0EoM5SFTHBlNXw&quot;,&quot;p&quot;:true}}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CONTENTLIB_ASSET_META" val="{&quot;ai&quot;:&quot;7fL4ENXU6vti8sQ0X6d4Rw&quot;,&quot;gi&quot;:&quot;FGqgo8LJlWW1vXT3-lNxyg&quot;,&quot;ti&quot;:&quot;ui_elements&quot;,&quot;vs&quot;:{&quot;f&quot;:[1215],&quot;i&quot;:{&quot;d&quot;:&quot;7fL4ENXU6vti8sQ0X6d4Rw&quot;,&quot;p&quot;:true}}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АИЖК">
      <a:dk1>
        <a:srgbClr val="3E5057"/>
      </a:dk1>
      <a:lt1>
        <a:sysClr val="window" lastClr="FFFFFF"/>
      </a:lt1>
      <a:dk2>
        <a:srgbClr val="3E5057"/>
      </a:dk2>
      <a:lt2>
        <a:srgbClr val="FFFFFF"/>
      </a:lt2>
      <a:accent1>
        <a:srgbClr val="DCDEE0"/>
      </a:accent1>
      <a:accent2>
        <a:srgbClr val="A6AAA9"/>
      </a:accent2>
      <a:accent3>
        <a:srgbClr val="7F7F7F"/>
      </a:accent3>
      <a:accent4>
        <a:srgbClr val="3E5057"/>
      </a:accent4>
      <a:accent5>
        <a:srgbClr val="A6AAA9"/>
      </a:accent5>
      <a:accent6>
        <a:srgbClr val="8FC54C"/>
      </a:accent6>
      <a:hlink>
        <a:srgbClr val="8FC54C"/>
      </a:hlink>
      <a:folHlink>
        <a:srgbClr val="3E5057"/>
      </a:folHlink>
    </a:clrScheme>
    <a:fontScheme name="Другая 3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AHML_4.pptx [только чтение]" id="{683D8B4C-CCED-4A32-AB74-DC63D92A5C4B}" vid="{85563BA2-75FB-4245-8164-76E951ED826E}"/>
    </a:ext>
  </a:extLst>
</a:theme>
</file>

<file path=ppt/theme/theme2.xml><?xml version="1.0" encoding="utf-8"?>
<a:theme xmlns:a="http://schemas.openxmlformats.org/drawingml/2006/main" name="1_Тема Office">
  <a:themeElements>
    <a:clrScheme name="АИЖК">
      <a:dk1>
        <a:srgbClr val="3E5057"/>
      </a:dk1>
      <a:lt1>
        <a:sysClr val="window" lastClr="FFFFFF"/>
      </a:lt1>
      <a:dk2>
        <a:srgbClr val="3E5057"/>
      </a:dk2>
      <a:lt2>
        <a:srgbClr val="FFFFFF"/>
      </a:lt2>
      <a:accent1>
        <a:srgbClr val="DCDEE0"/>
      </a:accent1>
      <a:accent2>
        <a:srgbClr val="A6AAA9"/>
      </a:accent2>
      <a:accent3>
        <a:srgbClr val="7F7F7F"/>
      </a:accent3>
      <a:accent4>
        <a:srgbClr val="3E5057"/>
      </a:accent4>
      <a:accent5>
        <a:srgbClr val="A6AAA9"/>
      </a:accent5>
      <a:accent6>
        <a:srgbClr val="8FC54C"/>
      </a:accent6>
      <a:hlink>
        <a:srgbClr val="8FC54C"/>
      </a:hlink>
      <a:folHlink>
        <a:srgbClr val="3E5057"/>
      </a:folHlink>
    </a:clrScheme>
    <a:fontScheme name="Другая 3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AHML_4.pptx [только чтение]" id="{683D8B4C-CCED-4A32-AB74-DC63D92A5C4B}" vid="{85563BA2-75FB-4245-8164-76E951ED826E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165</TotalTime>
  <Words>2279</Words>
  <Application>Microsoft Office PowerPoint</Application>
  <PresentationFormat>Произвольный</PresentationFormat>
  <Paragraphs>422</Paragraphs>
  <Slides>13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3</vt:i4>
      </vt:variant>
    </vt:vector>
  </HeadingPairs>
  <TitlesOfParts>
    <vt:vector size="27" baseType="lpstr">
      <vt:lpstr>Arial</vt:lpstr>
      <vt:lpstr>Calibri</vt:lpstr>
      <vt:lpstr>DIN Pro Regular</vt:lpstr>
      <vt:lpstr>Etelka Light Pro</vt:lpstr>
      <vt:lpstr>Etelka Thin Pro</vt:lpstr>
      <vt:lpstr>Helvetica Neue</vt:lpstr>
      <vt:lpstr>Tahoma</vt:lpstr>
      <vt:lpstr>Times New Roman</vt:lpstr>
      <vt:lpstr>Verdana</vt:lpstr>
      <vt:lpstr>Wingdings</vt:lpstr>
      <vt:lpstr>Тема Office</vt:lpstr>
      <vt:lpstr>1_Тема Office</vt:lpstr>
      <vt:lpstr>think-cell Slide</vt:lpstr>
      <vt:lpstr>Слайд think-cell</vt:lpstr>
      <vt:lpstr>Роль ДОМ.РФ в развитии рынка зеленого строительств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Форматирование слайдов  в фирменном стиле ДОМ.РФ</dc:title>
  <dc:creator>Степанов Антон Сергеевич</dc:creator>
  <cp:lastModifiedBy>Либефорт Евгения Александровна</cp:lastModifiedBy>
  <cp:revision>1006</cp:revision>
  <cp:lastPrinted>2023-08-16T08:25:47Z</cp:lastPrinted>
  <dcterms:created xsi:type="dcterms:W3CDTF">2017-03-22T09:24:22Z</dcterms:created>
  <dcterms:modified xsi:type="dcterms:W3CDTF">2023-09-12T07:35:21Z</dcterms:modified>
</cp:coreProperties>
</file>